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" ContentType="image/tif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4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5.xml" ContentType="application/vnd.openxmlformats-officedocument.theme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6.xml" ContentType="application/vnd.openxmlformats-officedocument.theme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7.xml" ContentType="application/vnd.openxmlformats-officedocument.theme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theme/theme8.xml" ContentType="application/vnd.openxmlformats-officedocument.theme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theme/theme9.xml" ContentType="application/vnd.openxmlformats-officedocument.theme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theme/theme10.xml" ContentType="application/vnd.openxmlformats-officedocument.theme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theme/theme11.xml" ContentType="application/vnd.openxmlformats-officedocument.theme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theme/theme12.xml" ContentType="application/vnd.openxmlformats-officedocument.theme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theme/theme13.xml" ContentType="application/vnd.openxmlformats-officedocument.theme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theme/theme14.xml" ContentType="application/vnd.openxmlformats-officedocument.theme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theme/theme15.xml" ContentType="application/vnd.openxmlformats-officedocument.theme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theme/theme16.xml" ContentType="application/vnd.openxmlformats-officedocument.theme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theme/theme17.xml" ContentType="application/vnd.openxmlformats-officedocument.theme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theme/theme18.xml" ContentType="application/vnd.openxmlformats-officedocument.theme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theme/theme19.xml" ContentType="application/vnd.openxmlformats-officedocument.theme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theme/theme20.xml" ContentType="application/vnd.openxmlformats-officedocument.theme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theme/theme21.xml" ContentType="application/vnd.openxmlformats-officedocument.theme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theme/theme22.xml" ContentType="application/vnd.openxmlformats-officedocument.theme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theme/theme23.xml" ContentType="application/vnd.openxmlformats-officedocument.theme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theme/theme24.xml" ContentType="application/vnd.openxmlformats-officedocument.theme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theme/theme25.xml" ContentType="application/vnd.openxmlformats-officedocument.theme+xml"/>
  <Override PartName="/ppt/theme/theme26.xml" ContentType="application/vnd.openxmlformats-officedocument.theme+xml"/>
  <Override PartName="/ppt/theme/theme27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4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5.xml" ContentType="application/vnd.openxmlformats-officedocument.presentationml.tags+xml"/>
  <Override PartName="/ppt/notesSlides/notesSlide15.xml" ContentType="application/vnd.openxmlformats-officedocument.presentationml.notesSlide+xml"/>
  <Override PartName="/ppt/tags/tag6.xml" ContentType="application/vnd.openxmlformats-officedocument.presentationml.tags+xml"/>
  <Override PartName="/ppt/notesSlides/notesSlide16.xml" ContentType="application/vnd.openxmlformats-officedocument.presentationml.notesSlide+xml"/>
  <Override PartName="/ppt/tags/tag7.xml" ContentType="application/vnd.openxmlformats-officedocument.presentationml.tags+xml"/>
  <Override PartName="/ppt/notesSlides/notesSlide17.xml" ContentType="application/vnd.openxmlformats-officedocument.presentationml.notesSlide+xml"/>
  <Override PartName="/ppt/tags/tag8.xml" ContentType="application/vnd.openxmlformats-officedocument.presentationml.tags+xml"/>
  <Override PartName="/ppt/notesSlides/notesSlide18.xml" ContentType="application/vnd.openxmlformats-officedocument.presentationml.notesSlide+xml"/>
  <Override PartName="/ppt/tags/tag9.xml" ContentType="application/vnd.openxmlformats-officedocument.presentationml.tags+xml"/>
  <Override PartName="/ppt/notesSlides/notesSlide19.xml" ContentType="application/vnd.openxmlformats-officedocument.presentationml.notesSlide+xml"/>
  <Override PartName="/ppt/tags/tag10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11.xml" ContentType="application/vnd.openxmlformats-officedocument.presentationml.tags+xml"/>
  <Override PartName="/ppt/notesSlides/notesSlide22.xml" ContentType="application/vnd.openxmlformats-officedocument.presentationml.notesSlide+xml"/>
  <Override PartName="/ppt/tags/tag12.xml" ContentType="application/vnd.openxmlformats-officedocument.presentationml.tags+xml"/>
  <Override PartName="/ppt/notesSlides/notesSlide23.xml" ContentType="application/vnd.openxmlformats-officedocument.presentationml.notesSlide+xml"/>
  <Override PartName="/ppt/tags/tag13.xml" ContentType="application/vnd.openxmlformats-officedocument.presentationml.tags+xml"/>
  <Override PartName="/ppt/notesSlides/notesSlide24.xml" ContentType="application/vnd.openxmlformats-officedocument.presentationml.notesSlide+xml"/>
  <Override PartName="/ppt/tags/tag14.xml" ContentType="application/vnd.openxmlformats-officedocument.presentationml.tags+xml"/>
  <Override PartName="/ppt/notesSlides/notesSlide25.xml" ContentType="application/vnd.openxmlformats-officedocument.presentationml.notesSlide+xml"/>
  <Override PartName="/ppt/tags/tag15.xml" ContentType="application/vnd.openxmlformats-officedocument.presentationml.tags+xml"/>
  <Override PartName="/ppt/notesSlides/notesSlide26.xml" ContentType="application/vnd.openxmlformats-officedocument.presentationml.notesSlide+xml"/>
  <Override PartName="/ppt/theme/themeOverride1.xml" ContentType="application/vnd.openxmlformats-officedocument.themeOverride+xml"/>
  <Override PartName="/ppt/tags/tag16.xml" ContentType="application/vnd.openxmlformats-officedocument.presentationml.tags+xml"/>
  <Override PartName="/ppt/notesSlides/notesSlide27.xml" ContentType="application/vnd.openxmlformats-officedocument.presentationml.notesSlide+xml"/>
  <Override PartName="/ppt/theme/themeOverride2.xml" ContentType="application/vnd.openxmlformats-officedocument.themeOverride+xml"/>
  <Override PartName="/ppt/tags/tag17.xml" ContentType="application/vnd.openxmlformats-officedocument.presentationml.tags+xml"/>
  <Override PartName="/ppt/notesSlides/notesSlide28.xml" ContentType="application/vnd.openxmlformats-officedocument.presentationml.notesSlide+xml"/>
  <Override PartName="/ppt/tags/tag18.xml" ContentType="application/vnd.openxmlformats-officedocument.presentationml.tags+xml"/>
  <Override PartName="/ppt/notesSlides/notesSlide29.xml" ContentType="application/vnd.openxmlformats-officedocument.presentationml.notesSlide+xml"/>
  <Override PartName="/ppt/tags/tag19.xml" ContentType="application/vnd.openxmlformats-officedocument.presentationml.tags+xml"/>
  <Override PartName="/ppt/notesSlides/notesSlide30.xml" ContentType="application/vnd.openxmlformats-officedocument.presentationml.notesSlide+xml"/>
  <Override PartName="/ppt/tags/tag20.xml" ContentType="application/vnd.openxmlformats-officedocument.presentationml.tags+xml"/>
  <Override PartName="/ppt/notesSlides/notesSlide31.xml" ContentType="application/vnd.openxmlformats-officedocument.presentationml.notesSlide+xml"/>
  <Override PartName="/ppt/tags/tag21.xml" ContentType="application/vnd.openxmlformats-officedocument.presentationml.tags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tags/tag22.xml" ContentType="application/vnd.openxmlformats-officedocument.presentationml.tags+xml"/>
  <Override PartName="/ppt/notesSlides/notesSlide3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5077" r:id="rId4"/>
    <p:sldMasterId id="2147485114" r:id="rId5"/>
    <p:sldMasterId id="2147485162" r:id="rId6"/>
    <p:sldMasterId id="2147485238" r:id="rId7"/>
    <p:sldMasterId id="2147485376" r:id="rId8"/>
    <p:sldMasterId id="2147485390" r:id="rId9"/>
    <p:sldMasterId id="2147485453" r:id="rId10"/>
    <p:sldMasterId id="2147485471" r:id="rId11"/>
    <p:sldMasterId id="2147485496" r:id="rId12"/>
    <p:sldMasterId id="2147485501" r:id="rId13"/>
    <p:sldMasterId id="2147485569" r:id="rId14"/>
    <p:sldMasterId id="2147485631" r:id="rId15"/>
    <p:sldMasterId id="2147485667" r:id="rId16"/>
    <p:sldMasterId id="2147485740" r:id="rId17"/>
    <p:sldMasterId id="2147485770" r:id="rId18"/>
    <p:sldMasterId id="2147485790" r:id="rId19"/>
    <p:sldMasterId id="2147485812" r:id="rId20"/>
    <p:sldMasterId id="2147485824" r:id="rId21"/>
    <p:sldMasterId id="2147485858" r:id="rId22"/>
    <p:sldMasterId id="2147485878" r:id="rId23"/>
    <p:sldMasterId id="2147485995" r:id="rId24"/>
    <p:sldMasterId id="2147486031" r:id="rId25"/>
    <p:sldMasterId id="2147486043" r:id="rId26"/>
    <p:sldMasterId id="2147486081" r:id="rId27"/>
    <p:sldMasterId id="2147486134" r:id="rId28"/>
  </p:sldMasterIdLst>
  <p:notesMasterIdLst>
    <p:notesMasterId r:id="rId71"/>
  </p:notesMasterIdLst>
  <p:handoutMasterIdLst>
    <p:handoutMasterId r:id="rId72"/>
  </p:handoutMasterIdLst>
  <p:sldIdLst>
    <p:sldId id="10594" r:id="rId29"/>
    <p:sldId id="300" r:id="rId30"/>
    <p:sldId id="10612" r:id="rId31"/>
    <p:sldId id="597" r:id="rId32"/>
    <p:sldId id="260" r:id="rId33"/>
    <p:sldId id="258" r:id="rId34"/>
    <p:sldId id="259" r:id="rId35"/>
    <p:sldId id="257" r:id="rId36"/>
    <p:sldId id="261" r:id="rId37"/>
    <p:sldId id="2076137249" r:id="rId38"/>
    <p:sldId id="263" r:id="rId39"/>
    <p:sldId id="1671" r:id="rId40"/>
    <p:sldId id="2076137252" r:id="rId41"/>
    <p:sldId id="2076136716" r:id="rId42"/>
    <p:sldId id="2076136713" r:id="rId43"/>
    <p:sldId id="1617" r:id="rId44"/>
    <p:sldId id="1622" r:id="rId45"/>
    <p:sldId id="1564" r:id="rId46"/>
    <p:sldId id="1556" r:id="rId47"/>
    <p:sldId id="1561" r:id="rId48"/>
    <p:sldId id="1625" r:id="rId49"/>
    <p:sldId id="2076136677" r:id="rId50"/>
    <p:sldId id="2076136679" r:id="rId51"/>
    <p:sldId id="2076136682" r:id="rId52"/>
    <p:sldId id="2076136684" r:id="rId53"/>
    <p:sldId id="2076136681" r:id="rId54"/>
    <p:sldId id="2076136685" r:id="rId55"/>
    <p:sldId id="2076136686" r:id="rId56"/>
    <p:sldId id="2076136687" r:id="rId57"/>
    <p:sldId id="2076136688" r:id="rId58"/>
    <p:sldId id="2076137248" r:id="rId59"/>
    <p:sldId id="2076136689" r:id="rId60"/>
    <p:sldId id="2076136691" r:id="rId61"/>
    <p:sldId id="1670" r:id="rId62"/>
    <p:sldId id="10614" r:id="rId63"/>
    <p:sldId id="2076137254" r:id="rId64"/>
    <p:sldId id="2076137258" r:id="rId65"/>
    <p:sldId id="2076136671" r:id="rId66"/>
    <p:sldId id="2076136711" r:id="rId67"/>
    <p:sldId id="2076136670" r:id="rId68"/>
    <p:sldId id="2076136707" r:id="rId69"/>
    <p:sldId id="2076137259" r:id="rId70"/>
  </p:sldIdLst>
  <p:sldSz cx="12436475" cy="6994525"/>
  <p:notesSz cx="6858000" cy="9144000"/>
  <p:custDataLst>
    <p:tags r:id="rId73"/>
  </p:custDataLst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ku Uchikawa" initials="SU" lastIdx="11" clrIdx="0"/>
  <p:cmAuthor id="1" name="Mary Feil-Jacobs" initials="MFJ" lastIdx="43" clrIdx="1"/>
  <p:cmAuthor id="2" name="Monica Lueder" initials="ML" lastIdx="22" clrIdx="2"/>
  <p:cmAuthor id="3" name="Mary Feil-Jacobs" initials="MF" lastIdx="22" clrIdx="3"/>
  <p:cmAuthor id="4" name="Troy Waller (Adecco)" initials="TW(" lastIdx="3" clrIdx="4">
    <p:extLst>
      <p:ext uri="{19B8F6BF-5375-455C-9EA6-DF929625EA0E}">
        <p15:presenceInfo xmlns:p15="http://schemas.microsoft.com/office/powerpoint/2012/main" userId="S::a-trwall@microsoft.com::d1990b4f-6f85-41d8-ad03-dfb3e5353e7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78E8B"/>
    <a:srgbClr val="D9853C"/>
    <a:srgbClr val="000000"/>
    <a:srgbClr val="F5386F"/>
    <a:srgbClr val="0678D7"/>
    <a:srgbClr val="002050"/>
    <a:srgbClr val="07BCF2"/>
    <a:srgbClr val="FFB900"/>
    <a:srgbClr val="BAD907"/>
    <a:srgbClr val="5C2D9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50" autoAdjust="0"/>
    <p:restoredTop sz="82882" autoAdjust="0"/>
  </p:normalViewPr>
  <p:slideViewPr>
    <p:cSldViewPr snapToGrid="0">
      <p:cViewPr varScale="1">
        <p:scale>
          <a:sx n="86" d="100"/>
          <a:sy n="86" d="100"/>
        </p:scale>
        <p:origin x="1392" y="9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3780"/>
    </p:cViewPr>
  </p:sorter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Master" Target="slideMasters/slideMaster23.xml"/><Relationship Id="rId39" Type="http://schemas.openxmlformats.org/officeDocument/2006/relationships/slide" Target="slides/slide11.xml"/><Relationship Id="rId21" Type="http://schemas.openxmlformats.org/officeDocument/2006/relationships/slideMaster" Target="slideMasters/slideMaster18.xml"/><Relationship Id="rId34" Type="http://schemas.openxmlformats.org/officeDocument/2006/relationships/slide" Target="slides/slide6.xml"/><Relationship Id="rId42" Type="http://schemas.openxmlformats.org/officeDocument/2006/relationships/slide" Target="slides/slide14.xml"/><Relationship Id="rId47" Type="http://schemas.openxmlformats.org/officeDocument/2006/relationships/slide" Target="slides/slide19.xml"/><Relationship Id="rId50" Type="http://schemas.openxmlformats.org/officeDocument/2006/relationships/slide" Target="slides/slide22.xml"/><Relationship Id="rId55" Type="http://schemas.openxmlformats.org/officeDocument/2006/relationships/slide" Target="slides/slide27.xml"/><Relationship Id="rId63" Type="http://schemas.openxmlformats.org/officeDocument/2006/relationships/slide" Target="slides/slide35.xml"/><Relationship Id="rId68" Type="http://schemas.openxmlformats.org/officeDocument/2006/relationships/slide" Target="slides/slide40.xml"/><Relationship Id="rId76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71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9" Type="http://schemas.openxmlformats.org/officeDocument/2006/relationships/slide" Target="slides/slide1.xml"/><Relationship Id="rId11" Type="http://schemas.openxmlformats.org/officeDocument/2006/relationships/slideMaster" Target="slideMasters/slideMaster8.xml"/><Relationship Id="rId24" Type="http://schemas.openxmlformats.org/officeDocument/2006/relationships/slideMaster" Target="slideMasters/slideMaster21.xml"/><Relationship Id="rId32" Type="http://schemas.openxmlformats.org/officeDocument/2006/relationships/slide" Target="slides/slide4.xml"/><Relationship Id="rId37" Type="http://schemas.openxmlformats.org/officeDocument/2006/relationships/slide" Target="slides/slide9.xml"/><Relationship Id="rId40" Type="http://schemas.openxmlformats.org/officeDocument/2006/relationships/slide" Target="slides/slide12.xml"/><Relationship Id="rId45" Type="http://schemas.openxmlformats.org/officeDocument/2006/relationships/slide" Target="slides/slide17.xml"/><Relationship Id="rId53" Type="http://schemas.openxmlformats.org/officeDocument/2006/relationships/slide" Target="slides/slide25.xml"/><Relationship Id="rId58" Type="http://schemas.openxmlformats.org/officeDocument/2006/relationships/slide" Target="slides/slide30.xml"/><Relationship Id="rId66" Type="http://schemas.openxmlformats.org/officeDocument/2006/relationships/slide" Target="slides/slide38.xml"/><Relationship Id="rId74" Type="http://schemas.openxmlformats.org/officeDocument/2006/relationships/commentAuthors" Target="commentAuthors.xml"/><Relationship Id="rId79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33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3.xml"/><Relationship Id="rId44" Type="http://schemas.openxmlformats.org/officeDocument/2006/relationships/slide" Target="slides/slide16.xml"/><Relationship Id="rId52" Type="http://schemas.openxmlformats.org/officeDocument/2006/relationships/slide" Target="slides/slide24.xml"/><Relationship Id="rId60" Type="http://schemas.openxmlformats.org/officeDocument/2006/relationships/slide" Target="slides/slide32.xml"/><Relationship Id="rId65" Type="http://schemas.openxmlformats.org/officeDocument/2006/relationships/slide" Target="slides/slide37.xml"/><Relationship Id="rId73" Type="http://schemas.openxmlformats.org/officeDocument/2006/relationships/tags" Target="tags/tag1.xml"/><Relationship Id="rId78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Master" Target="slideMasters/slideMaster24.xml"/><Relationship Id="rId30" Type="http://schemas.openxmlformats.org/officeDocument/2006/relationships/slide" Target="slides/slide2.xml"/><Relationship Id="rId35" Type="http://schemas.openxmlformats.org/officeDocument/2006/relationships/slide" Target="slides/slide7.xml"/><Relationship Id="rId43" Type="http://schemas.openxmlformats.org/officeDocument/2006/relationships/slide" Target="slides/slide15.xml"/><Relationship Id="rId48" Type="http://schemas.openxmlformats.org/officeDocument/2006/relationships/slide" Target="slides/slide20.xml"/><Relationship Id="rId56" Type="http://schemas.openxmlformats.org/officeDocument/2006/relationships/slide" Target="slides/slide28.xml"/><Relationship Id="rId64" Type="http://schemas.openxmlformats.org/officeDocument/2006/relationships/slide" Target="slides/slide36.xml"/><Relationship Id="rId69" Type="http://schemas.openxmlformats.org/officeDocument/2006/relationships/slide" Target="slides/slide41.xml"/><Relationship Id="rId77" Type="http://schemas.openxmlformats.org/officeDocument/2006/relationships/theme" Target="theme/theme1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23.xml"/><Relationship Id="rId72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Master" Target="slideMasters/slideMaster22.xml"/><Relationship Id="rId33" Type="http://schemas.openxmlformats.org/officeDocument/2006/relationships/slide" Target="slides/slide5.xml"/><Relationship Id="rId38" Type="http://schemas.openxmlformats.org/officeDocument/2006/relationships/slide" Target="slides/slide10.xml"/><Relationship Id="rId46" Type="http://schemas.openxmlformats.org/officeDocument/2006/relationships/slide" Target="slides/slide18.xml"/><Relationship Id="rId59" Type="http://schemas.openxmlformats.org/officeDocument/2006/relationships/slide" Target="slides/slide31.xml"/><Relationship Id="rId67" Type="http://schemas.openxmlformats.org/officeDocument/2006/relationships/slide" Target="slides/slide39.xml"/><Relationship Id="rId20" Type="http://schemas.openxmlformats.org/officeDocument/2006/relationships/slideMaster" Target="slideMasters/slideMaster17.xml"/><Relationship Id="rId41" Type="http://schemas.openxmlformats.org/officeDocument/2006/relationships/slide" Target="slides/slide13.xml"/><Relationship Id="rId54" Type="http://schemas.openxmlformats.org/officeDocument/2006/relationships/slide" Target="slides/slide26.xml"/><Relationship Id="rId62" Type="http://schemas.openxmlformats.org/officeDocument/2006/relationships/slide" Target="slides/slide34.xml"/><Relationship Id="rId70" Type="http://schemas.openxmlformats.org/officeDocument/2006/relationships/slide" Target="slides/slide42.xml"/><Relationship Id="rId75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Master" Target="slideMasters/slideMaster25.xml"/><Relationship Id="rId36" Type="http://schemas.openxmlformats.org/officeDocument/2006/relationships/slide" Target="slides/slide8.xml"/><Relationship Id="rId49" Type="http://schemas.openxmlformats.org/officeDocument/2006/relationships/slide" Target="slides/slide21.xml"/><Relationship Id="rId57" Type="http://schemas.openxmlformats.org/officeDocument/2006/relationships/slide" Target="slides/slide29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roy Waller" userId="d1990b4f-6f85-41d8-ad03-dfb3e5353e75" providerId="ADAL" clId="{5FDAEDB9-C283-454E-BB1A-75572006D7ED}"/>
    <pc:docChg chg="undo custSel delSld modSld delMainMaster">
      <pc:chgData name="Troy Waller" userId="d1990b4f-6f85-41d8-ad03-dfb3e5353e75" providerId="ADAL" clId="{5FDAEDB9-C283-454E-BB1A-75572006D7ED}" dt="2021-05-07T05:59:20.627" v="106" actId="27636"/>
      <pc:docMkLst>
        <pc:docMk/>
      </pc:docMkLst>
      <pc:sldChg chg="modNotesTx">
        <pc:chgData name="Troy Waller" userId="d1990b4f-6f85-41d8-ad03-dfb3e5353e75" providerId="ADAL" clId="{5FDAEDB9-C283-454E-BB1A-75572006D7ED}" dt="2021-05-07T05:56:18.686" v="71" actId="6549"/>
        <pc:sldMkLst>
          <pc:docMk/>
          <pc:sldMk cId="562128088" sldId="257"/>
        </pc:sldMkLst>
      </pc:sldChg>
      <pc:sldChg chg="modNotesTx">
        <pc:chgData name="Troy Waller" userId="d1990b4f-6f85-41d8-ad03-dfb3e5353e75" providerId="ADAL" clId="{5FDAEDB9-C283-454E-BB1A-75572006D7ED}" dt="2021-05-07T05:56:07.829" v="33" actId="6549"/>
        <pc:sldMkLst>
          <pc:docMk/>
          <pc:sldMk cId="3131881213" sldId="258"/>
        </pc:sldMkLst>
      </pc:sldChg>
      <pc:sldChg chg="modNotesTx">
        <pc:chgData name="Troy Waller" userId="d1990b4f-6f85-41d8-ad03-dfb3e5353e75" providerId="ADAL" clId="{5FDAEDB9-C283-454E-BB1A-75572006D7ED}" dt="2021-05-07T05:56:12.771" v="34" actId="6549"/>
        <pc:sldMkLst>
          <pc:docMk/>
          <pc:sldMk cId="894325367" sldId="259"/>
        </pc:sldMkLst>
      </pc:sldChg>
      <pc:sldChg chg="modNotesTx">
        <pc:chgData name="Troy Waller" userId="d1990b4f-6f85-41d8-ad03-dfb3e5353e75" providerId="ADAL" clId="{5FDAEDB9-C283-454E-BB1A-75572006D7ED}" dt="2021-05-07T05:55:59.155" v="1" actId="20577"/>
        <pc:sldMkLst>
          <pc:docMk/>
          <pc:sldMk cId="3997541923" sldId="260"/>
        </pc:sldMkLst>
      </pc:sldChg>
      <pc:sldChg chg="modNotesTx">
        <pc:chgData name="Troy Waller" userId="d1990b4f-6f85-41d8-ad03-dfb3e5353e75" providerId="ADAL" clId="{5FDAEDB9-C283-454E-BB1A-75572006D7ED}" dt="2021-05-07T05:56:24.284" v="72" actId="6549"/>
        <pc:sldMkLst>
          <pc:docMk/>
          <pc:sldMk cId="581007720" sldId="261"/>
        </pc:sldMkLst>
      </pc:sldChg>
      <pc:sldChg chg="modNotesTx">
        <pc:chgData name="Troy Waller" userId="d1990b4f-6f85-41d8-ad03-dfb3e5353e75" providerId="ADAL" clId="{5FDAEDB9-C283-454E-BB1A-75572006D7ED}" dt="2021-05-07T05:56:36.262" v="74" actId="6549"/>
        <pc:sldMkLst>
          <pc:docMk/>
          <pc:sldMk cId="1822723424" sldId="263"/>
        </pc:sldMkLst>
      </pc:sldChg>
      <pc:sldChg chg="modNotesTx">
        <pc:chgData name="Troy Waller" userId="d1990b4f-6f85-41d8-ad03-dfb3e5353e75" providerId="ADAL" clId="{5FDAEDB9-C283-454E-BB1A-75572006D7ED}" dt="2021-05-07T05:55:52.650" v="0" actId="6549"/>
        <pc:sldMkLst>
          <pc:docMk/>
          <pc:sldMk cId="3454159616" sldId="300"/>
        </pc:sldMkLst>
      </pc:sldChg>
      <pc:sldChg chg="modNotesTx">
        <pc:chgData name="Troy Waller" userId="d1990b4f-6f85-41d8-ad03-dfb3e5353e75" providerId="ADAL" clId="{5FDAEDB9-C283-454E-BB1A-75572006D7ED}" dt="2021-05-07T05:57:00.354" v="79" actId="6549"/>
        <pc:sldMkLst>
          <pc:docMk/>
          <pc:sldMk cId="1318282627" sldId="1617"/>
        </pc:sldMkLst>
      </pc:sldChg>
      <pc:sldChg chg="addSp delSp modSp mod setBg setClrOvrMap">
        <pc:chgData name="Troy Waller" userId="d1990b4f-6f85-41d8-ad03-dfb3e5353e75" providerId="ADAL" clId="{5FDAEDB9-C283-454E-BB1A-75572006D7ED}" dt="2021-05-07T05:58:29.834" v="89" actId="26606"/>
        <pc:sldMkLst>
          <pc:docMk/>
          <pc:sldMk cId="4156026985" sldId="1625"/>
        </pc:sldMkLst>
        <pc:spChg chg="mod">
          <ac:chgData name="Troy Waller" userId="d1990b4f-6f85-41d8-ad03-dfb3e5353e75" providerId="ADAL" clId="{5FDAEDB9-C283-454E-BB1A-75572006D7ED}" dt="2021-05-07T05:58:29.824" v="88" actId="26606"/>
          <ac:spMkLst>
            <pc:docMk/>
            <pc:sldMk cId="4156026985" sldId="1625"/>
            <ac:spMk id="2" creationId="{2F833CDA-3708-41C9-AF65-16FA62414C58}"/>
          </ac:spMkLst>
        </pc:spChg>
        <pc:spChg chg="add del">
          <ac:chgData name="Troy Waller" userId="d1990b4f-6f85-41d8-ad03-dfb3e5353e75" providerId="ADAL" clId="{5FDAEDB9-C283-454E-BB1A-75572006D7ED}" dt="2021-05-07T05:58:28.304" v="86" actId="26606"/>
          <ac:spMkLst>
            <pc:docMk/>
            <pc:sldMk cId="4156026985" sldId="1625"/>
            <ac:spMk id="14" creationId="{0C45045A-6083-4B3E-956A-67582337527D}"/>
          </ac:spMkLst>
        </pc:spChg>
        <pc:spChg chg="add del">
          <ac:chgData name="Troy Waller" userId="d1990b4f-6f85-41d8-ad03-dfb3e5353e75" providerId="ADAL" clId="{5FDAEDB9-C283-454E-BB1A-75572006D7ED}" dt="2021-05-07T05:58:28.304" v="86" actId="26606"/>
          <ac:spMkLst>
            <pc:docMk/>
            <pc:sldMk cId="4156026985" sldId="1625"/>
            <ac:spMk id="16" creationId="{42875DDC-0225-45F8-B745-78688F2D1ADC}"/>
          </ac:spMkLst>
        </pc:spChg>
        <pc:spChg chg="add del">
          <ac:chgData name="Troy Waller" userId="d1990b4f-6f85-41d8-ad03-dfb3e5353e75" providerId="ADAL" clId="{5FDAEDB9-C283-454E-BB1A-75572006D7ED}" dt="2021-05-07T05:58:28.304" v="86" actId="26606"/>
          <ac:spMkLst>
            <pc:docMk/>
            <pc:sldMk cId="4156026985" sldId="1625"/>
            <ac:spMk id="18" creationId="{12617755-D451-4BAF-9B55-518297BFF42D}"/>
          </ac:spMkLst>
        </pc:spChg>
        <pc:spChg chg="add del">
          <ac:chgData name="Troy Waller" userId="d1990b4f-6f85-41d8-ad03-dfb3e5353e75" providerId="ADAL" clId="{5FDAEDB9-C283-454E-BB1A-75572006D7ED}" dt="2021-05-07T05:58:29.824" v="88" actId="26606"/>
          <ac:spMkLst>
            <pc:docMk/>
            <pc:sldMk cId="4156026985" sldId="1625"/>
            <ac:spMk id="20" creationId="{70155189-D96C-4527-B0EC-654B946BE615}"/>
          </ac:spMkLst>
        </pc:spChg>
        <pc:spChg chg="add">
          <ac:chgData name="Troy Waller" userId="d1990b4f-6f85-41d8-ad03-dfb3e5353e75" providerId="ADAL" clId="{5FDAEDB9-C283-454E-BB1A-75572006D7ED}" dt="2021-05-07T05:58:29.834" v="89" actId="26606"/>
          <ac:spMkLst>
            <pc:docMk/>
            <pc:sldMk cId="4156026985" sldId="1625"/>
            <ac:spMk id="22" creationId="{12617755-D451-4BAF-9B55-518297BFF42D}"/>
          </ac:spMkLst>
        </pc:spChg>
        <pc:spChg chg="add">
          <ac:chgData name="Troy Waller" userId="d1990b4f-6f85-41d8-ad03-dfb3e5353e75" providerId="ADAL" clId="{5FDAEDB9-C283-454E-BB1A-75572006D7ED}" dt="2021-05-07T05:58:29.834" v="89" actId="26606"/>
          <ac:spMkLst>
            <pc:docMk/>
            <pc:sldMk cId="4156026985" sldId="1625"/>
            <ac:spMk id="23" creationId="{0C45045A-6083-4B3E-956A-67582337527D}"/>
          </ac:spMkLst>
        </pc:spChg>
        <pc:spChg chg="add">
          <ac:chgData name="Troy Waller" userId="d1990b4f-6f85-41d8-ad03-dfb3e5353e75" providerId="ADAL" clId="{5FDAEDB9-C283-454E-BB1A-75572006D7ED}" dt="2021-05-07T05:58:29.834" v="89" actId="26606"/>
          <ac:spMkLst>
            <pc:docMk/>
            <pc:sldMk cId="4156026985" sldId="1625"/>
            <ac:spMk id="24" creationId="{86C062C2-3673-4248-BE21-B51B16E63267}"/>
          </ac:spMkLst>
        </pc:spChg>
        <pc:spChg chg="add">
          <ac:chgData name="Troy Waller" userId="d1990b4f-6f85-41d8-ad03-dfb3e5353e75" providerId="ADAL" clId="{5FDAEDB9-C283-454E-BB1A-75572006D7ED}" dt="2021-05-07T05:58:29.834" v="89" actId="26606"/>
          <ac:spMkLst>
            <pc:docMk/>
            <pc:sldMk cId="4156026985" sldId="1625"/>
            <ac:spMk id="25" creationId="{EBD2B2B2-1395-4E7B-87A0-BD34551C01B6}"/>
          </ac:spMkLst>
        </pc:spChg>
        <pc:spChg chg="add">
          <ac:chgData name="Troy Waller" userId="d1990b4f-6f85-41d8-ad03-dfb3e5353e75" providerId="ADAL" clId="{5FDAEDB9-C283-454E-BB1A-75572006D7ED}" dt="2021-05-07T05:58:29.834" v="89" actId="26606"/>
          <ac:spMkLst>
            <pc:docMk/>
            <pc:sldMk cId="4156026985" sldId="1625"/>
            <ac:spMk id="26" creationId="{42875DDC-0225-45F8-B745-78688F2D1ADC}"/>
          </ac:spMkLst>
        </pc:spChg>
        <pc:spChg chg="add">
          <ac:chgData name="Troy Waller" userId="d1990b4f-6f85-41d8-ad03-dfb3e5353e75" providerId="ADAL" clId="{5FDAEDB9-C283-454E-BB1A-75572006D7ED}" dt="2021-05-07T05:58:29.834" v="89" actId="26606"/>
          <ac:spMkLst>
            <pc:docMk/>
            <pc:sldMk cId="4156026985" sldId="1625"/>
            <ac:spMk id="27" creationId="{4F329563-0961-4426-90D2-2DF4888E5461}"/>
          </ac:spMkLst>
        </pc:spChg>
        <pc:picChg chg="mod ord">
          <ac:chgData name="Troy Waller" userId="d1990b4f-6f85-41d8-ad03-dfb3e5353e75" providerId="ADAL" clId="{5FDAEDB9-C283-454E-BB1A-75572006D7ED}" dt="2021-05-07T05:58:29.834" v="89" actId="26606"/>
          <ac:picMkLst>
            <pc:docMk/>
            <pc:sldMk cId="4156026985" sldId="1625"/>
            <ac:picMk id="3" creationId="{6948DC68-A552-4C0F-BAA3-435C09919423}"/>
          </ac:picMkLst>
        </pc:picChg>
        <pc:picChg chg="mod">
          <ac:chgData name="Troy Waller" userId="d1990b4f-6f85-41d8-ad03-dfb3e5353e75" providerId="ADAL" clId="{5FDAEDB9-C283-454E-BB1A-75572006D7ED}" dt="2021-05-07T05:58:29.834" v="89" actId="26606"/>
          <ac:picMkLst>
            <pc:docMk/>
            <pc:sldMk cId="4156026985" sldId="1625"/>
            <ac:picMk id="5" creationId="{E62E2E5A-0E5F-4175-A2E9-F1EE0FAE8AC4}"/>
          </ac:picMkLst>
        </pc:picChg>
        <pc:picChg chg="mod">
          <ac:chgData name="Troy Waller" userId="d1990b4f-6f85-41d8-ad03-dfb3e5353e75" providerId="ADAL" clId="{5FDAEDB9-C283-454E-BB1A-75572006D7ED}" dt="2021-05-07T05:58:29.834" v="89" actId="26606"/>
          <ac:picMkLst>
            <pc:docMk/>
            <pc:sldMk cId="4156026985" sldId="1625"/>
            <ac:picMk id="9" creationId="{D74632E9-2490-48C7-BB6E-25356D2E207D}"/>
          </ac:picMkLst>
        </pc:picChg>
      </pc:sldChg>
      <pc:sldChg chg="addSp modSp mod setBg">
        <pc:chgData name="Troy Waller" userId="d1990b4f-6f85-41d8-ad03-dfb3e5353e75" providerId="ADAL" clId="{5FDAEDB9-C283-454E-BB1A-75572006D7ED}" dt="2021-05-07T05:59:20.627" v="106" actId="27636"/>
        <pc:sldMkLst>
          <pc:docMk/>
          <pc:sldMk cId="1003281430" sldId="1670"/>
        </pc:sldMkLst>
        <pc:spChg chg="mod">
          <ac:chgData name="Troy Waller" userId="d1990b4f-6f85-41d8-ad03-dfb3e5353e75" providerId="ADAL" clId="{5FDAEDB9-C283-454E-BB1A-75572006D7ED}" dt="2021-05-07T05:59:20.627" v="106" actId="27636"/>
          <ac:spMkLst>
            <pc:docMk/>
            <pc:sldMk cId="1003281430" sldId="1670"/>
            <ac:spMk id="7" creationId="{F38DF3BF-B166-4A9C-A4EF-D3D7D106345D}"/>
          </ac:spMkLst>
        </pc:spChg>
        <pc:spChg chg="add">
          <ac:chgData name="Troy Waller" userId="d1990b4f-6f85-41d8-ad03-dfb3e5353e75" providerId="ADAL" clId="{5FDAEDB9-C283-454E-BB1A-75572006D7ED}" dt="2021-05-07T05:59:06.215" v="92" actId="26606"/>
          <ac:spMkLst>
            <pc:docMk/>
            <pc:sldMk cId="1003281430" sldId="1670"/>
            <ac:spMk id="9" creationId="{08373A3F-54E0-424E-A84D-3522122109F4}"/>
          </ac:spMkLst>
        </pc:spChg>
        <pc:grpChg chg="add">
          <ac:chgData name="Troy Waller" userId="d1990b4f-6f85-41d8-ad03-dfb3e5353e75" providerId="ADAL" clId="{5FDAEDB9-C283-454E-BB1A-75572006D7ED}" dt="2021-05-07T05:59:06.215" v="92" actId="26606"/>
          <ac:grpSpMkLst>
            <pc:docMk/>
            <pc:sldMk cId="1003281430" sldId="1670"/>
            <ac:grpSpMk id="10" creationId="{B7BAEF06-AB74-442C-8C30-B88233FD836C}"/>
          </ac:grpSpMkLst>
        </pc:grpChg>
        <pc:grpChg chg="add">
          <ac:chgData name="Troy Waller" userId="d1990b4f-6f85-41d8-ad03-dfb3e5353e75" providerId="ADAL" clId="{5FDAEDB9-C283-454E-BB1A-75572006D7ED}" dt="2021-05-07T05:59:06.215" v="92" actId="26606"/>
          <ac:grpSpMkLst>
            <pc:docMk/>
            <pc:sldMk cId="1003281430" sldId="1670"/>
            <ac:grpSpMk id="22" creationId="{C9829185-6353-4E3C-B082-AA7F5193916F}"/>
          </ac:grpSpMkLst>
        </pc:grpChg>
        <pc:picChg chg="mod">
          <ac:chgData name="Troy Waller" userId="d1990b4f-6f85-41d8-ad03-dfb3e5353e75" providerId="ADAL" clId="{5FDAEDB9-C283-454E-BB1A-75572006D7ED}" dt="2021-05-07T05:59:06.215" v="92" actId="26606"/>
          <ac:picMkLst>
            <pc:docMk/>
            <pc:sldMk cId="1003281430" sldId="1670"/>
            <ac:picMk id="2" creationId="{7566D45C-8258-4C7C-948C-86450BBD6788}"/>
          </ac:picMkLst>
        </pc:picChg>
        <pc:picChg chg="mod">
          <ac:chgData name="Troy Waller" userId="d1990b4f-6f85-41d8-ad03-dfb3e5353e75" providerId="ADAL" clId="{5FDAEDB9-C283-454E-BB1A-75572006D7ED}" dt="2021-05-07T05:59:06.215" v="92" actId="26606"/>
          <ac:picMkLst>
            <pc:docMk/>
            <pc:sldMk cId="1003281430" sldId="1670"/>
            <ac:picMk id="4" creationId="{E73A7ECE-081A-4A1A-80B7-0511E5B1B913}"/>
          </ac:picMkLst>
        </pc:picChg>
      </pc:sldChg>
      <pc:sldChg chg="modNotesTx">
        <pc:chgData name="Troy Waller" userId="d1990b4f-6f85-41d8-ad03-dfb3e5353e75" providerId="ADAL" clId="{5FDAEDB9-C283-454E-BB1A-75572006D7ED}" dt="2021-05-07T05:56:40.129" v="75" actId="6549"/>
        <pc:sldMkLst>
          <pc:docMk/>
          <pc:sldMk cId="3843988750" sldId="1671"/>
        </pc:sldMkLst>
      </pc:sldChg>
      <pc:sldChg chg="del">
        <pc:chgData name="Troy Waller" userId="d1990b4f-6f85-41d8-ad03-dfb3e5353e75" providerId="ADAL" clId="{5FDAEDB9-C283-454E-BB1A-75572006D7ED}" dt="2021-05-07T05:56:52.070" v="77" actId="47"/>
        <pc:sldMkLst>
          <pc:docMk/>
          <pc:sldMk cId="4070293464" sldId="2076136674"/>
        </pc:sldMkLst>
      </pc:sldChg>
      <pc:sldChg chg="modNotesTx">
        <pc:chgData name="Troy Waller" userId="d1990b4f-6f85-41d8-ad03-dfb3e5353e75" providerId="ADAL" clId="{5FDAEDB9-C283-454E-BB1A-75572006D7ED}" dt="2021-05-07T05:57:13.112" v="80" actId="6549"/>
        <pc:sldMkLst>
          <pc:docMk/>
          <pc:sldMk cId="1404548971" sldId="2076136677"/>
        </pc:sldMkLst>
      </pc:sldChg>
      <pc:sldChg chg="addSp modSp mod">
        <pc:chgData name="Troy Waller" userId="d1990b4f-6f85-41d8-ad03-dfb3e5353e75" providerId="ADAL" clId="{5FDAEDB9-C283-454E-BB1A-75572006D7ED}" dt="2021-05-07T05:58:38.867" v="90" actId="26606"/>
        <pc:sldMkLst>
          <pc:docMk/>
          <pc:sldMk cId="1702283298" sldId="2076136679"/>
        </pc:sldMkLst>
        <pc:spChg chg="mod">
          <ac:chgData name="Troy Waller" userId="d1990b4f-6f85-41d8-ad03-dfb3e5353e75" providerId="ADAL" clId="{5FDAEDB9-C283-454E-BB1A-75572006D7ED}" dt="2021-05-07T05:58:38.867" v="90" actId="26606"/>
          <ac:spMkLst>
            <pc:docMk/>
            <pc:sldMk cId="1702283298" sldId="2076136679"/>
            <ac:spMk id="2" creationId="{2F833CDA-3708-41C9-AF65-16FA62414C58}"/>
          </ac:spMkLst>
        </pc:spChg>
        <pc:spChg chg="add">
          <ac:chgData name="Troy Waller" userId="d1990b4f-6f85-41d8-ad03-dfb3e5353e75" providerId="ADAL" clId="{5FDAEDB9-C283-454E-BB1A-75572006D7ED}" dt="2021-05-07T05:58:38.867" v="90" actId="26606"/>
          <ac:spMkLst>
            <pc:docMk/>
            <pc:sldMk cId="1702283298" sldId="2076136679"/>
            <ac:spMk id="19" creationId="{60B21A5C-062F-46C2-8389-53D40F46AA26}"/>
          </ac:spMkLst>
        </pc:spChg>
        <pc:spChg chg="add">
          <ac:chgData name="Troy Waller" userId="d1990b4f-6f85-41d8-ad03-dfb3e5353e75" providerId="ADAL" clId="{5FDAEDB9-C283-454E-BB1A-75572006D7ED}" dt="2021-05-07T05:58:38.867" v="90" actId="26606"/>
          <ac:spMkLst>
            <pc:docMk/>
            <pc:sldMk cId="1702283298" sldId="2076136679"/>
            <ac:spMk id="21" creationId="{8A177BCC-4208-4795-8572-4D623BA1E2A0}"/>
          </ac:spMkLst>
        </pc:spChg>
        <pc:picChg chg="mod ord">
          <ac:chgData name="Troy Waller" userId="d1990b4f-6f85-41d8-ad03-dfb3e5353e75" providerId="ADAL" clId="{5FDAEDB9-C283-454E-BB1A-75572006D7ED}" dt="2021-05-07T05:58:38.867" v="90" actId="26606"/>
          <ac:picMkLst>
            <pc:docMk/>
            <pc:sldMk cId="1702283298" sldId="2076136679"/>
            <ac:picMk id="7" creationId="{BFCB0EE9-07AF-4EE2-98F3-36160512D03C}"/>
          </ac:picMkLst>
        </pc:picChg>
        <pc:picChg chg="mod">
          <ac:chgData name="Troy Waller" userId="d1990b4f-6f85-41d8-ad03-dfb3e5353e75" providerId="ADAL" clId="{5FDAEDB9-C283-454E-BB1A-75572006D7ED}" dt="2021-05-07T05:58:38.867" v="90" actId="26606"/>
          <ac:picMkLst>
            <pc:docMk/>
            <pc:sldMk cId="1702283298" sldId="2076136679"/>
            <ac:picMk id="14" creationId="{664DC1A1-A132-4A76-BEDB-4043DDFA4847}"/>
          </ac:picMkLst>
        </pc:picChg>
      </pc:sldChg>
      <pc:sldChg chg="modNotesTx">
        <pc:chgData name="Troy Waller" userId="d1990b4f-6f85-41d8-ad03-dfb3e5353e75" providerId="ADAL" clId="{5FDAEDB9-C283-454E-BB1A-75572006D7ED}" dt="2021-05-07T05:57:25.812" v="81" actId="6549"/>
        <pc:sldMkLst>
          <pc:docMk/>
          <pc:sldMk cId="2773010620" sldId="2076136681"/>
        </pc:sldMkLst>
      </pc:sldChg>
      <pc:sldChg chg="addSp modSp mod setBg setClrOvrMap">
        <pc:chgData name="Troy Waller" userId="d1990b4f-6f85-41d8-ad03-dfb3e5353e75" providerId="ADAL" clId="{5FDAEDB9-C283-454E-BB1A-75572006D7ED}" dt="2021-05-07T05:58:55.894" v="91" actId="26606"/>
        <pc:sldMkLst>
          <pc:docMk/>
          <pc:sldMk cId="1104508310" sldId="2076136691"/>
        </pc:sldMkLst>
        <pc:spChg chg="add">
          <ac:chgData name="Troy Waller" userId="d1990b4f-6f85-41d8-ad03-dfb3e5353e75" providerId="ADAL" clId="{5FDAEDB9-C283-454E-BB1A-75572006D7ED}" dt="2021-05-07T05:58:55.894" v="91" actId="26606"/>
          <ac:spMkLst>
            <pc:docMk/>
            <pc:sldMk cId="1104508310" sldId="2076136691"/>
            <ac:spMk id="27" creationId="{F6E384F5-137A-40B1-97F0-694CC6ECD59C}"/>
          </ac:spMkLst>
        </pc:spChg>
        <pc:spChg chg="add">
          <ac:chgData name="Troy Waller" userId="d1990b4f-6f85-41d8-ad03-dfb3e5353e75" providerId="ADAL" clId="{5FDAEDB9-C283-454E-BB1A-75572006D7ED}" dt="2021-05-07T05:58:55.894" v="91" actId="26606"/>
          <ac:spMkLst>
            <pc:docMk/>
            <pc:sldMk cId="1104508310" sldId="2076136691"/>
            <ac:spMk id="29" creationId="{9DBC4630-03DA-474F-BBCB-BA3AE6B317A4}"/>
          </ac:spMkLst>
        </pc:spChg>
        <pc:spChg chg="add">
          <ac:chgData name="Troy Waller" userId="d1990b4f-6f85-41d8-ad03-dfb3e5353e75" providerId="ADAL" clId="{5FDAEDB9-C283-454E-BB1A-75572006D7ED}" dt="2021-05-07T05:58:55.894" v="91" actId="26606"/>
          <ac:spMkLst>
            <pc:docMk/>
            <pc:sldMk cId="1104508310" sldId="2076136691"/>
            <ac:spMk id="31" creationId="{78418A25-6EAC-4140-BFE6-284E1925B5EE}"/>
          </ac:spMkLst>
        </pc:spChg>
        <pc:spChg chg="add">
          <ac:chgData name="Troy Waller" userId="d1990b4f-6f85-41d8-ad03-dfb3e5353e75" providerId="ADAL" clId="{5FDAEDB9-C283-454E-BB1A-75572006D7ED}" dt="2021-05-07T05:58:55.894" v="91" actId="26606"/>
          <ac:spMkLst>
            <pc:docMk/>
            <pc:sldMk cId="1104508310" sldId="2076136691"/>
            <ac:spMk id="33" creationId="{6B9D64DB-4D5C-4A91-B45F-F301E3174F9F}"/>
          </ac:spMkLst>
        </pc:spChg>
        <pc:spChg chg="add">
          <ac:chgData name="Troy Waller" userId="d1990b4f-6f85-41d8-ad03-dfb3e5353e75" providerId="ADAL" clId="{5FDAEDB9-C283-454E-BB1A-75572006D7ED}" dt="2021-05-07T05:58:55.894" v="91" actId="26606"/>
          <ac:spMkLst>
            <pc:docMk/>
            <pc:sldMk cId="1104508310" sldId="2076136691"/>
            <ac:spMk id="35" creationId="{CB14CE1B-4BC5-4EF2-BE3D-05E4F580B3DB}"/>
          </ac:spMkLst>
        </pc:spChg>
        <pc:picChg chg="mod ord">
          <ac:chgData name="Troy Waller" userId="d1990b4f-6f85-41d8-ad03-dfb3e5353e75" providerId="ADAL" clId="{5FDAEDB9-C283-454E-BB1A-75572006D7ED}" dt="2021-05-07T05:58:55.894" v="91" actId="26606"/>
          <ac:picMkLst>
            <pc:docMk/>
            <pc:sldMk cId="1104508310" sldId="2076136691"/>
            <ac:picMk id="3" creationId="{99DBC6F4-3004-499C-8F85-80AF3B1EEB43}"/>
          </ac:picMkLst>
        </pc:picChg>
        <pc:picChg chg="mod">
          <ac:chgData name="Troy Waller" userId="d1990b4f-6f85-41d8-ad03-dfb3e5353e75" providerId="ADAL" clId="{5FDAEDB9-C283-454E-BB1A-75572006D7ED}" dt="2021-05-07T05:58:55.894" v="91" actId="26606"/>
          <ac:picMkLst>
            <pc:docMk/>
            <pc:sldMk cId="1104508310" sldId="2076136691"/>
            <ac:picMk id="9" creationId="{DD6A3DE5-B6B9-4DD6-8C44-2883EEA61BE8}"/>
          </ac:picMkLst>
        </pc:picChg>
        <pc:picChg chg="mod ord">
          <ac:chgData name="Troy Waller" userId="d1990b4f-6f85-41d8-ad03-dfb3e5353e75" providerId="ADAL" clId="{5FDAEDB9-C283-454E-BB1A-75572006D7ED}" dt="2021-05-07T05:58:55.894" v="91" actId="26606"/>
          <ac:picMkLst>
            <pc:docMk/>
            <pc:sldMk cId="1104508310" sldId="2076136691"/>
            <ac:picMk id="18" creationId="{701C8D09-BA98-45DA-9A3D-E6699B7EBC15}"/>
          </ac:picMkLst>
        </pc:picChg>
        <pc:picChg chg="mod ord">
          <ac:chgData name="Troy Waller" userId="d1990b4f-6f85-41d8-ad03-dfb3e5353e75" providerId="ADAL" clId="{5FDAEDB9-C283-454E-BB1A-75572006D7ED}" dt="2021-05-07T05:58:55.894" v="91" actId="26606"/>
          <ac:picMkLst>
            <pc:docMk/>
            <pc:sldMk cId="1104508310" sldId="2076136691"/>
            <ac:picMk id="20" creationId="{5D383319-B9A8-4B06-85CA-6B6ADF5F7D4C}"/>
          </ac:picMkLst>
        </pc:picChg>
        <pc:picChg chg="mod">
          <ac:chgData name="Troy Waller" userId="d1990b4f-6f85-41d8-ad03-dfb3e5353e75" providerId="ADAL" clId="{5FDAEDB9-C283-454E-BB1A-75572006D7ED}" dt="2021-05-07T05:58:55.894" v="91" actId="26606"/>
          <ac:picMkLst>
            <pc:docMk/>
            <pc:sldMk cId="1104508310" sldId="2076136691"/>
            <ac:picMk id="22" creationId="{127E07DB-4F53-483A-BCF3-D9EE7E8ACC8F}"/>
          </ac:picMkLst>
        </pc:picChg>
      </pc:sldChg>
      <pc:sldChg chg="modNotesTx">
        <pc:chgData name="Troy Waller" userId="d1990b4f-6f85-41d8-ad03-dfb3e5353e75" providerId="ADAL" clId="{5FDAEDB9-C283-454E-BB1A-75572006D7ED}" dt="2021-05-07T05:57:50.522" v="84" actId="6549"/>
        <pc:sldMkLst>
          <pc:docMk/>
          <pc:sldMk cId="862806626" sldId="2076136707"/>
        </pc:sldMkLst>
      </pc:sldChg>
      <pc:sldChg chg="modNotesTx">
        <pc:chgData name="Troy Waller" userId="d1990b4f-6f85-41d8-ad03-dfb3e5353e75" providerId="ADAL" clId="{5FDAEDB9-C283-454E-BB1A-75572006D7ED}" dt="2021-05-07T05:56:55.087" v="78" actId="6549"/>
        <pc:sldMkLst>
          <pc:docMk/>
          <pc:sldMk cId="2320576889" sldId="2076136713"/>
        </pc:sldMkLst>
      </pc:sldChg>
      <pc:sldChg chg="modNotesTx">
        <pc:chgData name="Troy Waller" userId="d1990b4f-6f85-41d8-ad03-dfb3e5353e75" providerId="ADAL" clId="{5FDAEDB9-C283-454E-BB1A-75572006D7ED}" dt="2021-05-07T05:56:30.538" v="73" actId="20577"/>
        <pc:sldMkLst>
          <pc:docMk/>
          <pc:sldMk cId="81930757" sldId="2076137249"/>
        </pc:sldMkLst>
      </pc:sldChg>
      <pc:sldChg chg="modNotesTx">
        <pc:chgData name="Troy Waller" userId="d1990b4f-6f85-41d8-ad03-dfb3e5353e75" providerId="ADAL" clId="{5FDAEDB9-C283-454E-BB1A-75572006D7ED}" dt="2021-05-07T05:56:44.061" v="76" actId="6549"/>
        <pc:sldMkLst>
          <pc:docMk/>
          <pc:sldMk cId="3019711956" sldId="2076137252"/>
        </pc:sldMkLst>
      </pc:sldChg>
      <pc:sldChg chg="modNotesTx">
        <pc:chgData name="Troy Waller" userId="d1990b4f-6f85-41d8-ad03-dfb3e5353e75" providerId="ADAL" clId="{5FDAEDB9-C283-454E-BB1A-75572006D7ED}" dt="2021-05-07T05:57:39.238" v="82" actId="6549"/>
        <pc:sldMkLst>
          <pc:docMk/>
          <pc:sldMk cId="3701760400" sldId="2076137254"/>
        </pc:sldMkLst>
      </pc:sldChg>
      <pc:sldChg chg="modNotesTx">
        <pc:chgData name="Troy Waller" userId="d1990b4f-6f85-41d8-ad03-dfb3e5353e75" providerId="ADAL" clId="{5FDAEDB9-C283-454E-BB1A-75572006D7ED}" dt="2021-05-07T05:57:43.308" v="83" actId="6549"/>
        <pc:sldMkLst>
          <pc:docMk/>
          <pc:sldMk cId="1211618806" sldId="2076137258"/>
        </pc:sldMkLst>
      </pc:sldChg>
      <pc:sldMasterChg chg="del delSldLayout">
        <pc:chgData name="Troy Waller" userId="d1990b4f-6f85-41d8-ad03-dfb3e5353e75" providerId="ADAL" clId="{5FDAEDB9-C283-454E-BB1A-75572006D7ED}" dt="2021-05-07T05:56:52.070" v="77" actId="47"/>
        <pc:sldMasterMkLst>
          <pc:docMk/>
          <pc:sldMasterMk cId="2978180410" sldId="2147485699"/>
        </pc:sldMasterMkLst>
        <pc:sldLayoutChg chg="del">
          <pc:chgData name="Troy Waller" userId="d1990b4f-6f85-41d8-ad03-dfb3e5353e75" providerId="ADAL" clId="{5FDAEDB9-C283-454E-BB1A-75572006D7ED}" dt="2021-05-07T05:56:52.070" v="77" actId="47"/>
          <pc:sldLayoutMkLst>
            <pc:docMk/>
            <pc:sldMasterMk cId="2978180410" sldId="2147485699"/>
            <pc:sldLayoutMk cId="1749254978" sldId="2147485700"/>
          </pc:sldLayoutMkLst>
        </pc:sldLayoutChg>
        <pc:sldLayoutChg chg="del">
          <pc:chgData name="Troy Waller" userId="d1990b4f-6f85-41d8-ad03-dfb3e5353e75" providerId="ADAL" clId="{5FDAEDB9-C283-454E-BB1A-75572006D7ED}" dt="2021-05-07T05:56:52.070" v="77" actId="47"/>
          <pc:sldLayoutMkLst>
            <pc:docMk/>
            <pc:sldMasterMk cId="2978180410" sldId="2147485699"/>
            <pc:sldLayoutMk cId="1204089278" sldId="2147485701"/>
          </pc:sldLayoutMkLst>
        </pc:sldLayoutChg>
        <pc:sldLayoutChg chg="del">
          <pc:chgData name="Troy Waller" userId="d1990b4f-6f85-41d8-ad03-dfb3e5353e75" providerId="ADAL" clId="{5FDAEDB9-C283-454E-BB1A-75572006D7ED}" dt="2021-05-07T05:56:52.070" v="77" actId="47"/>
          <pc:sldLayoutMkLst>
            <pc:docMk/>
            <pc:sldMasterMk cId="2978180410" sldId="2147485699"/>
            <pc:sldLayoutMk cId="2533202761" sldId="2147485702"/>
          </pc:sldLayoutMkLst>
        </pc:sldLayoutChg>
        <pc:sldLayoutChg chg="del">
          <pc:chgData name="Troy Waller" userId="d1990b4f-6f85-41d8-ad03-dfb3e5353e75" providerId="ADAL" clId="{5FDAEDB9-C283-454E-BB1A-75572006D7ED}" dt="2021-05-07T05:56:52.070" v="77" actId="47"/>
          <pc:sldLayoutMkLst>
            <pc:docMk/>
            <pc:sldMasterMk cId="2978180410" sldId="2147485699"/>
            <pc:sldLayoutMk cId="609375794" sldId="2147485703"/>
          </pc:sldLayoutMkLst>
        </pc:sldLayoutChg>
        <pc:sldLayoutChg chg="del">
          <pc:chgData name="Troy Waller" userId="d1990b4f-6f85-41d8-ad03-dfb3e5353e75" providerId="ADAL" clId="{5FDAEDB9-C283-454E-BB1A-75572006D7ED}" dt="2021-05-07T05:56:52.070" v="77" actId="47"/>
          <pc:sldLayoutMkLst>
            <pc:docMk/>
            <pc:sldMasterMk cId="2978180410" sldId="2147485699"/>
            <pc:sldLayoutMk cId="1235058854" sldId="2147485704"/>
          </pc:sldLayoutMkLst>
        </pc:sldLayoutChg>
        <pc:sldLayoutChg chg="del">
          <pc:chgData name="Troy Waller" userId="d1990b4f-6f85-41d8-ad03-dfb3e5353e75" providerId="ADAL" clId="{5FDAEDB9-C283-454E-BB1A-75572006D7ED}" dt="2021-05-07T05:56:52.070" v="77" actId="47"/>
          <pc:sldLayoutMkLst>
            <pc:docMk/>
            <pc:sldMasterMk cId="2978180410" sldId="2147485699"/>
            <pc:sldLayoutMk cId="1213465274" sldId="2147485705"/>
          </pc:sldLayoutMkLst>
        </pc:sldLayoutChg>
        <pc:sldLayoutChg chg="del">
          <pc:chgData name="Troy Waller" userId="d1990b4f-6f85-41d8-ad03-dfb3e5353e75" providerId="ADAL" clId="{5FDAEDB9-C283-454E-BB1A-75572006D7ED}" dt="2021-05-07T05:56:52.070" v="77" actId="47"/>
          <pc:sldLayoutMkLst>
            <pc:docMk/>
            <pc:sldMasterMk cId="2978180410" sldId="2147485699"/>
            <pc:sldLayoutMk cId="2542720041" sldId="2147485706"/>
          </pc:sldLayoutMkLst>
        </pc:sldLayoutChg>
        <pc:sldLayoutChg chg="del">
          <pc:chgData name="Troy Waller" userId="d1990b4f-6f85-41d8-ad03-dfb3e5353e75" providerId="ADAL" clId="{5FDAEDB9-C283-454E-BB1A-75572006D7ED}" dt="2021-05-07T05:56:52.070" v="77" actId="47"/>
          <pc:sldLayoutMkLst>
            <pc:docMk/>
            <pc:sldMasterMk cId="2978180410" sldId="2147485699"/>
            <pc:sldLayoutMk cId="860421494" sldId="2147485707"/>
          </pc:sldLayoutMkLst>
        </pc:sldLayoutChg>
        <pc:sldLayoutChg chg="del">
          <pc:chgData name="Troy Waller" userId="d1990b4f-6f85-41d8-ad03-dfb3e5353e75" providerId="ADAL" clId="{5FDAEDB9-C283-454E-BB1A-75572006D7ED}" dt="2021-05-07T05:56:52.070" v="77" actId="47"/>
          <pc:sldLayoutMkLst>
            <pc:docMk/>
            <pc:sldMasterMk cId="2978180410" sldId="2147485699"/>
            <pc:sldLayoutMk cId="3368314461" sldId="2147485708"/>
          </pc:sldLayoutMkLst>
        </pc:sldLayoutChg>
        <pc:sldLayoutChg chg="del">
          <pc:chgData name="Troy Waller" userId="d1990b4f-6f85-41d8-ad03-dfb3e5353e75" providerId="ADAL" clId="{5FDAEDB9-C283-454E-BB1A-75572006D7ED}" dt="2021-05-07T05:56:52.070" v="77" actId="47"/>
          <pc:sldLayoutMkLst>
            <pc:docMk/>
            <pc:sldMasterMk cId="2978180410" sldId="2147485699"/>
            <pc:sldLayoutMk cId="368103382" sldId="2147485709"/>
          </pc:sldLayoutMkLst>
        </pc:sldLayoutChg>
        <pc:sldLayoutChg chg="del">
          <pc:chgData name="Troy Waller" userId="d1990b4f-6f85-41d8-ad03-dfb3e5353e75" providerId="ADAL" clId="{5FDAEDB9-C283-454E-BB1A-75572006D7ED}" dt="2021-05-07T05:56:52.070" v="77" actId="47"/>
          <pc:sldLayoutMkLst>
            <pc:docMk/>
            <pc:sldMasterMk cId="2978180410" sldId="2147485699"/>
            <pc:sldLayoutMk cId="2681645928" sldId="2147485710"/>
          </pc:sldLayoutMkLst>
        </pc:sldLayoutChg>
        <pc:sldLayoutChg chg="del">
          <pc:chgData name="Troy Waller" userId="d1990b4f-6f85-41d8-ad03-dfb3e5353e75" providerId="ADAL" clId="{5FDAEDB9-C283-454E-BB1A-75572006D7ED}" dt="2021-05-07T05:56:52.070" v="77" actId="47"/>
          <pc:sldLayoutMkLst>
            <pc:docMk/>
            <pc:sldMasterMk cId="2978180410" sldId="2147485699"/>
            <pc:sldLayoutMk cId="1561913957" sldId="2147485712"/>
          </pc:sldLayoutMkLst>
        </pc:sldLayoutChg>
        <pc:sldLayoutChg chg="del">
          <pc:chgData name="Troy Waller" userId="d1990b4f-6f85-41d8-ad03-dfb3e5353e75" providerId="ADAL" clId="{5FDAEDB9-C283-454E-BB1A-75572006D7ED}" dt="2021-05-07T05:56:52.070" v="77" actId="47"/>
          <pc:sldLayoutMkLst>
            <pc:docMk/>
            <pc:sldMasterMk cId="2978180410" sldId="2147485699"/>
            <pc:sldLayoutMk cId="2366358493" sldId="2147485713"/>
          </pc:sldLayoutMkLst>
        </pc:sldLayoutChg>
        <pc:sldLayoutChg chg="del">
          <pc:chgData name="Troy Waller" userId="d1990b4f-6f85-41d8-ad03-dfb3e5353e75" providerId="ADAL" clId="{5FDAEDB9-C283-454E-BB1A-75572006D7ED}" dt="2021-05-07T05:56:52.070" v="77" actId="47"/>
          <pc:sldLayoutMkLst>
            <pc:docMk/>
            <pc:sldMasterMk cId="2978180410" sldId="2147485699"/>
            <pc:sldLayoutMk cId="1600684916" sldId="2147485714"/>
          </pc:sldLayoutMkLst>
        </pc:sldLayoutChg>
        <pc:sldLayoutChg chg="del">
          <pc:chgData name="Troy Waller" userId="d1990b4f-6f85-41d8-ad03-dfb3e5353e75" providerId="ADAL" clId="{5FDAEDB9-C283-454E-BB1A-75572006D7ED}" dt="2021-05-07T05:56:52.070" v="77" actId="47"/>
          <pc:sldLayoutMkLst>
            <pc:docMk/>
            <pc:sldMasterMk cId="2978180410" sldId="2147485699"/>
            <pc:sldLayoutMk cId="4162926126" sldId="2147485715"/>
          </pc:sldLayoutMkLst>
        </pc:sldLayoutChg>
        <pc:sldLayoutChg chg="del">
          <pc:chgData name="Troy Waller" userId="d1990b4f-6f85-41d8-ad03-dfb3e5353e75" providerId="ADAL" clId="{5FDAEDB9-C283-454E-BB1A-75572006D7ED}" dt="2021-05-07T05:56:52.070" v="77" actId="47"/>
          <pc:sldLayoutMkLst>
            <pc:docMk/>
            <pc:sldMasterMk cId="2978180410" sldId="2147485699"/>
            <pc:sldLayoutMk cId="4067515995" sldId="2147485716"/>
          </pc:sldLayoutMkLst>
        </pc:sldLayoutChg>
        <pc:sldLayoutChg chg="del">
          <pc:chgData name="Troy Waller" userId="d1990b4f-6f85-41d8-ad03-dfb3e5353e75" providerId="ADAL" clId="{5FDAEDB9-C283-454E-BB1A-75572006D7ED}" dt="2021-05-07T05:56:52.070" v="77" actId="47"/>
          <pc:sldLayoutMkLst>
            <pc:docMk/>
            <pc:sldMasterMk cId="2978180410" sldId="2147485699"/>
            <pc:sldLayoutMk cId="1619960458" sldId="2147485717"/>
          </pc:sldLayoutMkLst>
        </pc:sldLayoutChg>
        <pc:sldLayoutChg chg="del">
          <pc:chgData name="Troy Waller" userId="d1990b4f-6f85-41d8-ad03-dfb3e5353e75" providerId="ADAL" clId="{5FDAEDB9-C283-454E-BB1A-75572006D7ED}" dt="2021-05-07T05:56:52.070" v="77" actId="47"/>
          <pc:sldLayoutMkLst>
            <pc:docMk/>
            <pc:sldMasterMk cId="2978180410" sldId="2147485699"/>
            <pc:sldLayoutMk cId="1600892262" sldId="2147485718"/>
          </pc:sldLayoutMkLst>
        </pc:sldLayoutChg>
        <pc:sldLayoutChg chg="del">
          <pc:chgData name="Troy Waller" userId="d1990b4f-6f85-41d8-ad03-dfb3e5353e75" providerId="ADAL" clId="{5FDAEDB9-C283-454E-BB1A-75572006D7ED}" dt="2021-05-07T05:56:52.070" v="77" actId="47"/>
          <pc:sldLayoutMkLst>
            <pc:docMk/>
            <pc:sldMasterMk cId="2978180410" sldId="2147485699"/>
            <pc:sldLayoutMk cId="2944864431" sldId="2147485719"/>
          </pc:sldLayoutMkLst>
        </pc:sldLayoutChg>
        <pc:sldLayoutChg chg="del">
          <pc:chgData name="Troy Waller" userId="d1990b4f-6f85-41d8-ad03-dfb3e5353e75" providerId="ADAL" clId="{5FDAEDB9-C283-454E-BB1A-75572006D7ED}" dt="2021-05-07T05:56:52.070" v="77" actId="47"/>
          <pc:sldLayoutMkLst>
            <pc:docMk/>
            <pc:sldMasterMk cId="2978180410" sldId="2147485699"/>
            <pc:sldLayoutMk cId="2514508392" sldId="2147485720"/>
          </pc:sldLayoutMkLst>
        </pc:sldLayoutChg>
        <pc:sldLayoutChg chg="del">
          <pc:chgData name="Troy Waller" userId="d1990b4f-6f85-41d8-ad03-dfb3e5353e75" providerId="ADAL" clId="{5FDAEDB9-C283-454E-BB1A-75572006D7ED}" dt="2021-05-07T05:56:52.070" v="77" actId="47"/>
          <pc:sldLayoutMkLst>
            <pc:docMk/>
            <pc:sldMasterMk cId="2978180410" sldId="2147485699"/>
            <pc:sldLayoutMk cId="4192048815" sldId="2147485721"/>
          </pc:sldLayoutMkLst>
        </pc:sldLayoutChg>
        <pc:sldLayoutChg chg="del">
          <pc:chgData name="Troy Waller" userId="d1990b4f-6f85-41d8-ad03-dfb3e5353e75" providerId="ADAL" clId="{5FDAEDB9-C283-454E-BB1A-75572006D7ED}" dt="2021-05-07T05:56:52.070" v="77" actId="47"/>
          <pc:sldLayoutMkLst>
            <pc:docMk/>
            <pc:sldMasterMk cId="2978180410" sldId="2147485699"/>
            <pc:sldLayoutMk cId="280027273" sldId="2147485722"/>
          </pc:sldLayoutMkLst>
        </pc:sldLayoutChg>
        <pc:sldLayoutChg chg="del">
          <pc:chgData name="Troy Waller" userId="d1990b4f-6f85-41d8-ad03-dfb3e5353e75" providerId="ADAL" clId="{5FDAEDB9-C283-454E-BB1A-75572006D7ED}" dt="2021-05-07T05:56:52.070" v="77" actId="47"/>
          <pc:sldLayoutMkLst>
            <pc:docMk/>
            <pc:sldMasterMk cId="2978180410" sldId="2147485699"/>
            <pc:sldLayoutMk cId="776608494" sldId="2147485723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Segoe UI" pitchFamily="34" charset="0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D0CB2F-F0BF-435A-A27A-2EC15087F634}" type="datetime8">
              <a:rPr lang="en-US" smtClean="0">
                <a:latin typeface="Segoe UI" pitchFamily="34" charset="0"/>
              </a:rPr>
              <a:t>5/7/2021 9:26 PM</a:t>
            </a:fld>
            <a:endParaRPr lang="en-US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17-10-18T04:15:05.216"/>
    </inkml:context>
    <inkml:brush xml:id="br0">
      <inkml:brushProperty name="width" value="0.01667" units="cm"/>
      <inkml:brushProperty name="height" value="0.01667" units="cm"/>
      <inkml:brushProperty name="color" value="#EB3C00"/>
      <inkml:brushProperty name="ignorePressure" value="1"/>
    </inkml:brush>
  </inkml:definitions>
  <inkml:trace contextRef="#ctx0" brushRef="#br0">33690 9349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17-10-18T04:15:07.736"/>
    </inkml:context>
    <inkml:brush xml:id="br0">
      <inkml:brushProperty name="width" value="0.01667" units="cm"/>
      <inkml:brushProperty name="height" value="0.01667" units="cm"/>
      <inkml:brushProperty name="color" value="#EB3C00"/>
      <inkml:brushProperty name="ignorePressure" value="1"/>
    </inkml:brush>
  </inkml:definitions>
  <inkml:trace contextRef="#ctx0" brushRef="#br0">32491 9349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D18B56EA-E28F-4F92-9F16-7A6F2501B303}" type="datetime8">
              <a:rPr lang="en-US" smtClean="0"/>
              <a:t>5/7/2021 9:26 PM</a:t>
            </a:fld>
            <a:endParaRPr lang="en-US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32742" rtl="0" eaLnBrk="1" latinLnBrk="0" hangingPunct="1">
      <a:lnSpc>
        <a:spcPct val="90000"/>
      </a:lnSpc>
      <a:spcAft>
        <a:spcPts val="340"/>
      </a:spcAft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defTabSz="958206">
              <a:defRPr/>
            </a:pPr>
            <a:endParaRPr lang="en-US">
              <a:solidFill>
                <a:prstClr val="black"/>
              </a:solidFill>
              <a:latin typeface="Segoe UI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87102" defTabSz="939054" eaLnBrk="0" hangingPunct="0">
              <a:defRPr/>
            </a:pPr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defTabSz="958206">
              <a:defRPr/>
            </a:pPr>
            <a:fld id="{C1C3D530-3419-45A5-AB8A-2242E8FDFF4E}" type="datetime8">
              <a:rPr lang="en-US">
                <a:solidFill>
                  <a:prstClr val="black"/>
                </a:solidFill>
                <a:latin typeface="Segoe UI" pitchFamily="34" charset="0"/>
              </a:rPr>
              <a:pPr defTabSz="958206">
                <a:defRPr/>
              </a:pPr>
              <a:t>5/7/2021 9:26 PM</a:t>
            </a:fld>
            <a:endParaRPr lang="en-US">
              <a:solidFill>
                <a:prstClr val="black"/>
              </a:solidFill>
              <a:latin typeface="Segoe UI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958206">
              <a:defRPr/>
            </a:pPr>
            <a:fld id="{B4008EB6-D09E-4580-8CD6-DDB14511944F}" type="slidenum">
              <a:rPr lang="en-US">
                <a:solidFill>
                  <a:prstClr val="black"/>
                </a:solidFill>
                <a:latin typeface="Segoe UI" pitchFamily="34" charset="0"/>
              </a:rPr>
              <a:pPr defTabSz="958206">
                <a:defRPr/>
              </a:pPr>
              <a:t>1</a:t>
            </a:fld>
            <a:endParaRPr lang="en-US">
              <a:solidFill>
                <a:prstClr val="black"/>
              </a:solidFill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683844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3A7C8C-AD71-4902-ACC1-F3AB14F5F65E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165413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3A7C8C-AD71-4902-ACC1-F3AB14F5F65E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466966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5/7/2021 9:26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801764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7F603A-779F-4101-9B83-C34650C566A7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7/2021 9:26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613903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9601B3-49AE-43BE-AD47-463DF7F3A5C6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355215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altLang="en-US" sz="900" b="0" i="0" u="none" strike="noStrike" cap="none" normalizeH="0" baseline="0" dirty="0">
              <a:ln>
                <a:noFill/>
              </a:ln>
              <a:effectLst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5/7/2021 9:26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515073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894429-BD9C-49C8-A26A-BC2A0FB02A6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56226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894429-BD9C-49C8-A26A-BC2A0FB02A6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706461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642613-CD12-40DF-BF40-F7EFA3C383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691952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C4200F-F7C4-4BE6-BCF1-FE556AF2C9C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22876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8A57F9-F8B2-4AF1-BB1A-9C083FB5119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230797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5/7/2021 9:26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033719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9601B3-49AE-43BE-AD47-463DF7F3A5C6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547893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7/2021 9:26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442539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7/2021 9:26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970997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7/2021 9:26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13278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7/2021 9:26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501096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7/2021 9:26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458842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ADEA25-C3EE-4EEA-917E-E81046084698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7/2021 9:26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2466047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ADEA25-C3EE-4EEA-917E-E81046084698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7/2021 9:26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0027384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7/2021 9:26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59918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504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406034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504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B0BD91-A332-4638-9D55-E1550E13BA63}" type="datetime8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504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7/2021 9:26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504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504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577990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7/2021 9:26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383767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571500" marR="0" lvl="0" indent="0" algn="l" defTabSz="914099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B56EA-E28F-4F92-9F16-7A6F2501B303}" type="datetime8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7/2021 9:26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071066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642613-CD12-40DF-BF40-F7EFA3C383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576817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0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171450" indent="-171450"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n-US" altLang="en-US" dirty="0"/>
          </a:p>
          <a:p>
            <a:pPr marL="171450" indent="-171450"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n-US" altLang="en-US" dirty="0"/>
          </a:p>
          <a:p>
            <a:pPr marL="628650" lvl="1" indent="-171450"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n-US" altLang="en-US" dirty="0"/>
          </a:p>
          <a:p>
            <a:pPr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5120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653053" indent="-251174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004697" indent="-200939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406576" indent="-200939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1808455" indent="-200939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210333" indent="-2009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612212" indent="-2009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014091" indent="-2009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415970" indent="-2009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45D9D32-CED9-468E-8330-F68119B547E4}" type="slidenum">
              <a:rPr kumimoji="0" lang="en-US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134331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D18B56EA-E28F-4F92-9F16-7A6F2501B303}" type="datetime8">
              <a:rPr lang="en-US" smtClean="0"/>
              <a:t>5/7/2021 9:26 PM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5866528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9601B3-49AE-43BE-AD47-463DF7F3A5C6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7934671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0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171450" indent="-171450"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n-US" altLang="en-US" dirty="0"/>
          </a:p>
          <a:p>
            <a:pPr marL="171450" indent="-171450"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n-US" altLang="en-US" dirty="0"/>
          </a:p>
          <a:p>
            <a:pPr marL="628650" lvl="1" indent="-171450"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n-US" altLang="en-US" dirty="0"/>
          </a:p>
          <a:p>
            <a:pPr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5120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1pPr>
            <a:lvl2pPr marL="653053" indent="-251174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2pPr>
            <a:lvl3pPr marL="1004697" indent="-200939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3pPr>
            <a:lvl4pPr marL="1406576" indent="-200939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4pPr>
            <a:lvl5pPr marL="1808455" indent="-200939"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5pPr>
            <a:lvl6pPr marL="2210333" indent="-2009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6pPr>
            <a:lvl7pPr marL="2612212" indent="-2009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7pPr>
            <a:lvl8pPr marL="3014091" indent="-2009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8pPr>
            <a:lvl9pPr marL="3415970" indent="-200939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45D9D32-CED9-468E-8330-F68119B547E4}" type="slidenum">
              <a:rPr kumimoji="0" lang="en-US" altLang="en-US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-US" alt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59175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504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406034" marR="0" lvl="0" indent="0" algn="l" defTabSz="93146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Microsoft Corporation. All rights reserved. 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algn="r" defTabSz="9504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B0BD91-A332-4638-9D55-E1550E13BA63}" type="datetime8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504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7/2021 9:26 PM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r" defTabSz="9504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 pitchFamily="34" charset="0"/>
                <a:ea typeface="+mn-ea"/>
                <a:cs typeface="+mn-cs"/>
              </a:rPr>
              <a:pPr marL="0" marR="0" lvl="0" indent="0" algn="r" defTabSz="95046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93184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3A7C8C-AD71-4902-ACC1-F3AB14F5F65E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620062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3A7C8C-AD71-4902-ACC1-F3AB14F5F65E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01459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3A7C8C-AD71-4902-ACC1-F3AB14F5F65E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0219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3A7C8C-AD71-4902-ACC1-F3AB14F5F65E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593787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3A7C8C-AD71-4902-ACC1-F3AB14F5F65E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17471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emf"/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emf"/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6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emf"/><Relationship Id="rId1" Type="http://schemas.openxmlformats.org/officeDocument/2006/relationships/slideMaster" Target="../slideMasters/slideMaster7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35.png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8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g"/><Relationship Id="rId1" Type="http://schemas.openxmlformats.org/officeDocument/2006/relationships/slideMaster" Target="../slideMasters/slideMaster8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g"/><Relationship Id="rId1" Type="http://schemas.openxmlformats.org/officeDocument/2006/relationships/slideMaster" Target="../slideMasters/slideMaster8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8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emf"/><Relationship Id="rId1" Type="http://schemas.openxmlformats.org/officeDocument/2006/relationships/slideMaster" Target="../slideMasters/slideMaster8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0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10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10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10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jpg"/><Relationship Id="rId1" Type="http://schemas.openxmlformats.org/officeDocument/2006/relationships/slideMaster" Target="../slideMasters/slideMaster1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6.jpg"/><Relationship Id="rId1" Type="http://schemas.openxmlformats.org/officeDocument/2006/relationships/slideMaster" Target="../slideMasters/slideMaster11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g"/><Relationship Id="rId1" Type="http://schemas.openxmlformats.org/officeDocument/2006/relationships/slideMaster" Target="../slideMasters/slideMaster11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tif"/><Relationship Id="rId1" Type="http://schemas.openxmlformats.org/officeDocument/2006/relationships/slideMaster" Target="../slideMasters/slideMaster11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g"/><Relationship Id="rId1" Type="http://schemas.openxmlformats.org/officeDocument/2006/relationships/slideMaster" Target="../slideMasters/slideMaster11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g"/><Relationship Id="rId1" Type="http://schemas.openxmlformats.org/officeDocument/2006/relationships/slideMaster" Target="../slideMasters/slideMaster11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g"/><Relationship Id="rId1" Type="http://schemas.openxmlformats.org/officeDocument/2006/relationships/slideMaster" Target="../slideMasters/slideMaster11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g"/><Relationship Id="rId1" Type="http://schemas.openxmlformats.org/officeDocument/2006/relationships/slideMaster" Target="../slideMasters/slideMaster11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g"/><Relationship Id="rId1" Type="http://schemas.openxmlformats.org/officeDocument/2006/relationships/slideMaster" Target="../slideMasters/slideMaster11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g"/><Relationship Id="rId1" Type="http://schemas.openxmlformats.org/officeDocument/2006/relationships/slideMaster" Target="../slideMasters/slideMaster11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g"/><Relationship Id="rId1" Type="http://schemas.openxmlformats.org/officeDocument/2006/relationships/slideMaster" Target="../slideMasters/slideMaster11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g"/><Relationship Id="rId1" Type="http://schemas.openxmlformats.org/officeDocument/2006/relationships/slideMaster" Target="../slideMasters/slideMaster11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jpg"/><Relationship Id="rId1" Type="http://schemas.openxmlformats.org/officeDocument/2006/relationships/slideMaster" Target="../slideMasters/slideMaster11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jpg"/><Relationship Id="rId1" Type="http://schemas.openxmlformats.org/officeDocument/2006/relationships/slideMaster" Target="../slideMasters/slideMaster11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g"/><Relationship Id="rId1" Type="http://schemas.openxmlformats.org/officeDocument/2006/relationships/slideMaster" Target="../slideMasters/slideMaster11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35.png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2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g"/><Relationship Id="rId1" Type="http://schemas.openxmlformats.org/officeDocument/2006/relationships/slideMaster" Target="../slideMasters/slideMaster12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g"/><Relationship Id="rId1" Type="http://schemas.openxmlformats.org/officeDocument/2006/relationships/slideMaster" Target="../slideMasters/slideMaster12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2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13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3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3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3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4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35.png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6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g"/><Relationship Id="rId1" Type="http://schemas.openxmlformats.org/officeDocument/2006/relationships/slideMaster" Target="../slideMasters/slideMaster1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g"/><Relationship Id="rId1" Type="http://schemas.openxmlformats.org/officeDocument/2006/relationships/slideMaster" Target="../slideMasters/slideMaster16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6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emf"/><Relationship Id="rId1" Type="http://schemas.openxmlformats.org/officeDocument/2006/relationships/slideMaster" Target="../slideMasters/slideMaster16.xml"/></Relationships>
</file>

<file path=ppt/slideLayouts/_rels/slideLayout3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17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7.xml"/></Relationships>
</file>

<file path=ppt/slideLayouts/_rels/slideLayout3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7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jpg"/><Relationship Id="rId1" Type="http://schemas.openxmlformats.org/officeDocument/2006/relationships/slideMaster" Target="../slideMasters/slideMaster18.xml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6.jpg"/><Relationship Id="rId1" Type="http://schemas.openxmlformats.org/officeDocument/2006/relationships/slideMaster" Target="../slideMasters/slideMaster18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g"/><Relationship Id="rId1" Type="http://schemas.openxmlformats.org/officeDocument/2006/relationships/slideMaster" Target="../slideMasters/slideMaster18.xml"/></Relationships>
</file>

<file path=ppt/slideLayouts/_rels/slideLayout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tif"/><Relationship Id="rId1" Type="http://schemas.openxmlformats.org/officeDocument/2006/relationships/slideMaster" Target="../slideMasters/slideMaster18.xml"/></Relationships>
</file>

<file path=ppt/slideLayouts/_rels/slideLayout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g"/><Relationship Id="rId1" Type="http://schemas.openxmlformats.org/officeDocument/2006/relationships/slideMaster" Target="../slideMasters/slideMaster18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g"/><Relationship Id="rId1" Type="http://schemas.openxmlformats.org/officeDocument/2006/relationships/slideMaster" Target="../slideMasters/slideMaster18.xml"/></Relationships>
</file>

<file path=ppt/slideLayouts/_rels/slideLayout3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g"/><Relationship Id="rId1" Type="http://schemas.openxmlformats.org/officeDocument/2006/relationships/slideMaster" Target="../slideMasters/slideMaster18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g"/><Relationship Id="rId1" Type="http://schemas.openxmlformats.org/officeDocument/2006/relationships/slideMaster" Target="../slideMasters/slideMaster18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g"/><Relationship Id="rId1" Type="http://schemas.openxmlformats.org/officeDocument/2006/relationships/slideMaster" Target="../slideMasters/slideMaster18.xml"/></Relationships>
</file>

<file path=ppt/slideLayouts/_rels/slideLayout3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g"/><Relationship Id="rId1" Type="http://schemas.openxmlformats.org/officeDocument/2006/relationships/slideMaster" Target="../slideMasters/slideMaster18.xml"/></Relationships>
</file>

<file path=ppt/slideLayouts/_rels/slideLayout3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g"/><Relationship Id="rId1" Type="http://schemas.openxmlformats.org/officeDocument/2006/relationships/slideMaster" Target="../slideMasters/slideMaster18.xml"/></Relationships>
</file>

<file path=ppt/slideLayouts/_rels/slideLayout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g"/><Relationship Id="rId1" Type="http://schemas.openxmlformats.org/officeDocument/2006/relationships/slideMaster" Target="../slideMasters/slideMaster18.xml"/></Relationships>
</file>

<file path=ppt/slideLayouts/_rels/slideLayout3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jpg"/><Relationship Id="rId1" Type="http://schemas.openxmlformats.org/officeDocument/2006/relationships/slideMaster" Target="../slideMasters/slideMaster18.xml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jpg"/><Relationship Id="rId1" Type="http://schemas.openxmlformats.org/officeDocument/2006/relationships/slideMaster" Target="../slideMasters/slideMaster18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g"/><Relationship Id="rId1" Type="http://schemas.openxmlformats.org/officeDocument/2006/relationships/slideMaster" Target="../slideMasters/slideMaster18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g"/><Relationship Id="rId2" Type="http://schemas.openxmlformats.org/officeDocument/2006/relationships/image" Target="../media/image60.emf"/><Relationship Id="rId1" Type="http://schemas.openxmlformats.org/officeDocument/2006/relationships/slideMaster" Target="../slideMasters/slideMaster19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emf"/><Relationship Id="rId1" Type="http://schemas.openxmlformats.org/officeDocument/2006/relationships/slideMaster" Target="../slideMasters/slideMaster19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9.xml"/></Relationships>
</file>

<file path=ppt/slideLayouts/_rels/slideLayout3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emf"/><Relationship Id="rId2" Type="http://schemas.openxmlformats.org/officeDocument/2006/relationships/image" Target="../media/image63.jpeg"/><Relationship Id="rId1" Type="http://schemas.openxmlformats.org/officeDocument/2006/relationships/slideMaster" Target="../slideMasters/slideMaster20.xml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emf"/><Relationship Id="rId2" Type="http://schemas.openxmlformats.org/officeDocument/2006/relationships/image" Target="../media/image63.jpeg"/><Relationship Id="rId1" Type="http://schemas.openxmlformats.org/officeDocument/2006/relationships/slideMaster" Target="../slideMasters/slideMaster20.xml"/><Relationship Id="rId4" Type="http://schemas.openxmlformats.org/officeDocument/2006/relationships/image" Target="../media/image64.png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image" Target="../media/image60.emf"/><Relationship Id="rId1" Type="http://schemas.openxmlformats.org/officeDocument/2006/relationships/slideMaster" Target="../slideMasters/slideMaster20.xml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emf"/><Relationship Id="rId1" Type="http://schemas.openxmlformats.org/officeDocument/2006/relationships/slideMaster" Target="../slideMasters/slideMaster20.xml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emf"/><Relationship Id="rId1" Type="http://schemas.openxmlformats.org/officeDocument/2006/relationships/slideMaster" Target="../slideMasters/slideMaster20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jpeg"/><Relationship Id="rId1" Type="http://schemas.openxmlformats.org/officeDocument/2006/relationships/slideMaster" Target="../slideMasters/slideMaster20.xml"/></Relationships>
</file>

<file path=ppt/slideLayouts/_rels/slideLayout3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jpeg"/><Relationship Id="rId1" Type="http://schemas.openxmlformats.org/officeDocument/2006/relationships/slideMaster" Target="../slideMasters/slideMaster20.xml"/></Relationships>
</file>

<file path=ppt/slideLayouts/_rels/slideLayout3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jpeg"/><Relationship Id="rId1" Type="http://schemas.openxmlformats.org/officeDocument/2006/relationships/slideMaster" Target="../slideMasters/slideMaster20.xml"/></Relationships>
</file>

<file path=ppt/slideLayouts/_rels/slideLayout3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jpeg"/><Relationship Id="rId1" Type="http://schemas.openxmlformats.org/officeDocument/2006/relationships/slideMaster" Target="../slideMasters/slideMaster20.xml"/></Relationships>
</file>

<file path=ppt/slideLayouts/_rels/slideLayout3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jpeg"/><Relationship Id="rId1" Type="http://schemas.openxmlformats.org/officeDocument/2006/relationships/slideMaster" Target="../slideMasters/slideMaster20.xml"/></Relationships>
</file>

<file path=ppt/slideLayouts/_rels/slideLayout3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jpeg"/><Relationship Id="rId1" Type="http://schemas.openxmlformats.org/officeDocument/2006/relationships/slideMaster" Target="../slideMasters/slideMaster20.xml"/></Relationships>
</file>

<file path=ppt/slideLayouts/_rels/slideLayout3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jpeg"/><Relationship Id="rId1" Type="http://schemas.openxmlformats.org/officeDocument/2006/relationships/slideMaster" Target="../slideMasters/slideMaster20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jpeg"/><Relationship Id="rId1" Type="http://schemas.openxmlformats.org/officeDocument/2006/relationships/slideMaster" Target="../slideMasters/slideMaster20.xml"/></Relationships>
</file>

<file path=ppt/slideLayouts/_rels/slideLayout3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jpeg"/><Relationship Id="rId1" Type="http://schemas.openxmlformats.org/officeDocument/2006/relationships/slideMaster" Target="../slideMasters/slideMaster20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emf"/><Relationship Id="rId1" Type="http://schemas.openxmlformats.org/officeDocument/2006/relationships/slideMaster" Target="../slideMasters/slideMaster20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20.xml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3.xml"/></Relationships>
</file>

<file path=ppt/slideLayouts/_rels/slideLayout4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emf"/><Relationship Id="rId1" Type="http://schemas.openxmlformats.org/officeDocument/2006/relationships/slideMaster" Target="../slideMasters/slideMaster20.xml"/></Relationships>
</file>

<file path=ppt/slideLayouts/_rels/slideLayout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20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jpeg"/><Relationship Id="rId1" Type="http://schemas.openxmlformats.org/officeDocument/2006/relationships/slideMaster" Target="../slideMasters/slideMaster20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1.xml"/></Relationships>
</file>

<file path=ppt/slideLayouts/_rels/slideLayout4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21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21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1.xml"/></Relationships>
</file>

<file path=ppt/slideLayouts/_rels/slideLayout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4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3.xml"/></Relationships>
</file>

<file path=ppt/slideLayouts/_rels/slideLayout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3.xml"/></Relationships>
</file>

<file path=ppt/slideLayouts/_rels/slideLayout4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23.xml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3.xml"/></Relationships>
</file>

<file path=ppt/slideLayouts/_rels/slideLayout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3.xml"/></Relationships>
</file>

<file path=ppt/slideLayouts/_rels/slideLayout4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23.xml"/></Relationships>
</file>

<file path=ppt/slideLayouts/_rels/slideLayout4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3.xml"/></Relationships>
</file>

<file path=ppt/slideLayouts/_rels/slideLayout4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3.xml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3.xml"/></Relationships>
</file>

<file path=ppt/slideLayouts/_rels/slideLayout4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jpg"/><Relationship Id="rId1" Type="http://schemas.openxmlformats.org/officeDocument/2006/relationships/slideMaster" Target="../slideMasters/slideMaster24.xml"/></Relationships>
</file>

<file path=ppt/slideLayouts/_rels/slideLayout4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6.jpg"/><Relationship Id="rId1" Type="http://schemas.openxmlformats.org/officeDocument/2006/relationships/slideMaster" Target="../slideMasters/slideMaster24.xml"/></Relationships>
</file>

<file path=ppt/slideLayouts/_rels/slideLayout4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g"/><Relationship Id="rId1" Type="http://schemas.openxmlformats.org/officeDocument/2006/relationships/slideMaster" Target="../slideMasters/slideMaster24.xml"/></Relationships>
</file>

<file path=ppt/slideLayouts/_rels/slideLayout4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jpeg"/><Relationship Id="rId1" Type="http://schemas.openxmlformats.org/officeDocument/2006/relationships/slideMaster" Target="../slideMasters/slideMaster2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5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g"/><Relationship Id="rId1" Type="http://schemas.openxmlformats.org/officeDocument/2006/relationships/slideMaster" Target="../slideMasters/slideMaster24.xml"/></Relationships>
</file>

<file path=ppt/slideLayouts/_rels/slideLayout5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g"/><Relationship Id="rId1" Type="http://schemas.openxmlformats.org/officeDocument/2006/relationships/slideMaster" Target="../slideMasters/slideMaster24.xml"/></Relationships>
</file>

<file path=ppt/slideLayouts/_rels/slideLayout5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g"/><Relationship Id="rId1" Type="http://schemas.openxmlformats.org/officeDocument/2006/relationships/slideMaster" Target="../slideMasters/slideMaster24.xml"/></Relationships>
</file>

<file path=ppt/slideLayouts/_rels/slideLayout5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g"/><Relationship Id="rId1" Type="http://schemas.openxmlformats.org/officeDocument/2006/relationships/slideMaster" Target="../slideMasters/slideMaster24.xml"/></Relationships>
</file>

<file path=ppt/slideLayouts/_rels/slideLayout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g"/><Relationship Id="rId1" Type="http://schemas.openxmlformats.org/officeDocument/2006/relationships/slideMaster" Target="../slideMasters/slideMaster24.xml"/></Relationships>
</file>

<file path=ppt/slideLayouts/_rels/slideLayout5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g"/><Relationship Id="rId1" Type="http://schemas.openxmlformats.org/officeDocument/2006/relationships/slideMaster" Target="../slideMasters/slideMaster2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5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g"/><Relationship Id="rId1" Type="http://schemas.openxmlformats.org/officeDocument/2006/relationships/slideMaster" Target="../slideMasters/slideMaster24.xml"/></Relationships>
</file>

<file path=ppt/slideLayouts/_rels/slideLayout5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g"/><Relationship Id="rId1" Type="http://schemas.openxmlformats.org/officeDocument/2006/relationships/slideMaster" Target="../slideMasters/slideMaster24.xml"/></Relationships>
</file>

<file path=ppt/slideLayouts/_rels/slideLayout5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jpg"/><Relationship Id="rId1" Type="http://schemas.openxmlformats.org/officeDocument/2006/relationships/slideMaster" Target="../slideMasters/slideMaster24.xml"/></Relationships>
</file>

<file path=ppt/slideLayouts/_rels/slideLayout5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jpg"/><Relationship Id="rId1" Type="http://schemas.openxmlformats.org/officeDocument/2006/relationships/slideMaster" Target="../slideMasters/slideMaster24.xml"/></Relationships>
</file>

<file path=ppt/slideLayouts/_rels/slideLayout5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g"/><Relationship Id="rId1" Type="http://schemas.openxmlformats.org/officeDocument/2006/relationships/slideMaster" Target="../slideMasters/slideMaster24.xml"/></Relationships>
</file>

<file path=ppt/slideLayouts/_rels/slideLayout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3.xml"/></Relationships>
</file>

<file path=ppt/slideLayouts/_rels/slideLayout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5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.bin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A5469D-1714-453C-8BAA-F633A91AF97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54560" y="1144706"/>
            <a:ext cx="9327356" cy="2435131"/>
          </a:xfrm>
        </p:spPr>
        <p:txBody>
          <a:bodyPr anchor="b"/>
          <a:lstStyle>
            <a:lvl1pPr algn="ctr">
              <a:defRPr sz="6119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866B26F-BDE5-46CF-9864-EDE6381FFA4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54560" y="3673745"/>
            <a:ext cx="9327356" cy="1688724"/>
          </a:xfrm>
        </p:spPr>
        <p:txBody>
          <a:bodyPr/>
          <a:lstStyle>
            <a:lvl1pPr marL="0" indent="0" algn="ctr">
              <a:buNone/>
              <a:defRPr sz="2448"/>
            </a:lvl1pPr>
            <a:lvl2pPr marL="466298" indent="0" algn="ctr">
              <a:buNone/>
              <a:defRPr sz="2040"/>
            </a:lvl2pPr>
            <a:lvl3pPr marL="932597" indent="0" algn="ctr">
              <a:buNone/>
              <a:defRPr sz="1836"/>
            </a:lvl3pPr>
            <a:lvl4pPr marL="1398895" indent="0" algn="ctr">
              <a:buNone/>
              <a:defRPr sz="1632"/>
            </a:lvl4pPr>
            <a:lvl5pPr marL="1865193" indent="0" algn="ctr">
              <a:buNone/>
              <a:defRPr sz="1632"/>
            </a:lvl5pPr>
            <a:lvl6pPr marL="2331491" indent="0" algn="ctr">
              <a:buNone/>
              <a:defRPr sz="1632"/>
            </a:lvl6pPr>
            <a:lvl7pPr marL="2797790" indent="0" algn="ctr">
              <a:buNone/>
              <a:defRPr sz="1632"/>
            </a:lvl7pPr>
            <a:lvl8pPr marL="3264088" indent="0" algn="ctr">
              <a:buNone/>
              <a:defRPr sz="1632"/>
            </a:lvl8pPr>
            <a:lvl9pPr marL="3730386" indent="0" algn="ctr">
              <a:buNone/>
              <a:defRPr sz="1632"/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56942F-EE69-4377-A004-8F0A7719C9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47F7F1-0E89-4D7B-8516-36A4AC75346A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FDBFB7-12E6-4EF3-A4F3-F6122EBC20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D3B331-B8FE-46A5-9D42-DF1DEE8083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792400-19F6-4B13-9EA1-2A330825251F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084698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E0B1D6-C723-4BA3-80C4-0E3D6239FF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365B064-D0F8-44F0-8BBF-EBE3CEA189E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E34D6C-215E-4109-92C5-4C3B4B9012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47F7F1-0E89-4D7B-8516-36A4AC75346A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1974F4-704B-438F-B65D-977E1E857D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55A9DD-263D-4654-AD7B-D6E47712F2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792400-19F6-4B13-9EA1-2A330825251F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62393613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7"/>
          <p:cNvSpPr txBox="1"/>
          <p:nvPr userDrawn="1"/>
        </p:nvSpPr>
        <p:spPr bwMode="white">
          <a:xfrm>
            <a:off x="4419577" y="6696086"/>
            <a:ext cx="3597322" cy="16466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49" spc="150">
                <a:gradFill>
                  <a:gsLst>
                    <a:gs pos="0">
                      <a:srgbClr val="353535">
                        <a:alpha val="50000"/>
                      </a:srgbClr>
                    </a:gs>
                    <a:gs pos="86000">
                      <a:srgbClr val="353535">
                        <a:alpha val="5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4236056002"/>
      </p:ext>
    </p:extLst>
  </p:cSld>
  <p:clrMapOvr>
    <a:masterClrMapping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50"/>
            <a:ext cx="5486399" cy="1985506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50"/>
            <a:ext cx="5486399" cy="1985506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7"/>
          <p:cNvSpPr txBox="1"/>
          <p:nvPr userDrawn="1"/>
        </p:nvSpPr>
        <p:spPr bwMode="white">
          <a:xfrm>
            <a:off x="4419577" y="6696086"/>
            <a:ext cx="3597322" cy="16466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49" spc="150">
                <a:gradFill>
                  <a:gsLst>
                    <a:gs pos="0">
                      <a:srgbClr val="353535">
                        <a:alpha val="50000"/>
                      </a:srgbClr>
                    </a:gs>
                    <a:gs pos="86000">
                      <a:srgbClr val="353535">
                        <a:alpha val="5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60889088"/>
      </p:ext>
    </p:extLst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55821200"/>
      </p:ext>
    </p:extLst>
  </p:cSld>
  <p:clrMapOvr>
    <a:masterClrMapping/>
  </p:clrMapOvr>
  <p:transition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77"/>
            <a:ext cx="7315200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40" y="3954463"/>
            <a:ext cx="7315200" cy="738664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4" name="TextBox 7"/>
          <p:cNvSpPr txBox="1"/>
          <p:nvPr userDrawn="1"/>
        </p:nvSpPr>
        <p:spPr bwMode="white">
          <a:xfrm>
            <a:off x="4419577" y="6696086"/>
            <a:ext cx="3597322" cy="16466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49" spc="15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757448" y="304193"/>
            <a:ext cx="4409440" cy="640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598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77"/>
            <a:ext cx="7315199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lang="en-US" sz="7198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419577" y="6696086"/>
            <a:ext cx="3597322" cy="16466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49" spc="15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36" y="3410197"/>
            <a:ext cx="12435840" cy="3104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75069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480471496"/>
      </p:ext>
    </p:extLst>
  </p:cSld>
  <p:clrMapOvr>
    <a:masterClrMapping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419577" y="6696086"/>
            <a:ext cx="3597322" cy="16466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49" spc="15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8342285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40" y="3072531"/>
            <a:ext cx="5486399" cy="849463"/>
          </a:xfrm>
        </p:spPr>
        <p:txBody>
          <a:bodyPr anchor="ctr">
            <a:spAutoFit/>
          </a:bodyPr>
          <a:lstStyle>
            <a:lvl1pPr>
              <a:defRPr sz="479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9825" y="0"/>
            <a:ext cx="6216650" cy="6992587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99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3283705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917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740132"/>
            <a:ext cx="4892040" cy="1514261"/>
          </a:xfrm>
        </p:spPr>
        <p:txBody>
          <a:bodyPr wrap="square" anchor="ctr">
            <a:spAutoFit/>
          </a:bodyPr>
          <a:lstStyle>
            <a:lvl1pPr>
              <a:defRPr sz="479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5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441315" y="0"/>
            <a:ext cx="6995160" cy="69925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99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41315" y="1"/>
            <a:ext cx="6995160" cy="6995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070886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16791930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00FE524-76D9-457C-B08F-1BE5C5F785E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899852" y="372394"/>
            <a:ext cx="2681615" cy="5927537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FA51B31-3A7D-4877-921B-E642790238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55008" y="372394"/>
            <a:ext cx="7889389" cy="5927537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8956FA-D9E8-445E-9F3A-5DAF190FD8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47F7F1-0E89-4D7B-8516-36A4AC75346A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F5B981-59C3-4D0E-8480-51BFB25F77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16F941-4B3D-413B-83BD-7768BA13DB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792400-19F6-4B13-9EA1-2A330825251F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4541201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/>
          <p:nvPr userDrawn="1"/>
        </p:nvSpPr>
        <p:spPr bwMode="white">
          <a:xfrm>
            <a:off x="4419577" y="6696086"/>
            <a:ext cx="3597322" cy="16466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49" spc="15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6065343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2" tIns="46632" rIns="46632" bIns="46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en-US" sz="18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8"/>
            <a:ext cx="11887199" cy="1995931"/>
          </a:xfrm>
        </p:spPr>
        <p:txBody>
          <a:bodyPr/>
          <a:lstStyle>
            <a:lvl1pPr marL="0" indent="0">
              <a:buNone/>
              <a:defRPr sz="3299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8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94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40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795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9798499"/>
      </p:ext>
    </p:extLst>
  </p:cSld>
  <p:clrMapOvr>
    <a:masterClrMapping/>
  </p:clrMapOvr>
  <p:transition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>
            <a:grpSpLocks noChangeAspect="1"/>
          </p:cNvGrpSpPr>
          <p:nvPr userDrawn="1"/>
        </p:nvGrpSpPr>
        <p:grpSpPr bwMode="black">
          <a:xfrm>
            <a:off x="468308" y="479425"/>
            <a:ext cx="1448129" cy="310896"/>
            <a:chOff x="457200" y="1643393"/>
            <a:chExt cx="4492753" cy="964540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7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597"/>
              <a:endParaRPr lang="en-US" sz="1800">
                <a:solidFill>
                  <a:srgbClr val="FFFFFF"/>
                </a:solidFill>
              </a:endParaRPr>
            </a:p>
          </p:txBody>
        </p:sp>
      </p:grpSp>
      <p:sp>
        <p:nvSpPr>
          <p:cNvPr id="8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82854" rIns="182854" bIns="182854" numCol="1" anchor="t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22014227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191418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40" y="1212852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13" indent="0">
              <a:buNone/>
              <a:defRPr/>
            </a:lvl3pPr>
            <a:lvl4pPr marL="457024" indent="0">
              <a:buNone/>
              <a:defRPr/>
            </a:lvl4pPr>
            <a:lvl5pPr marL="685537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Box 7"/>
          <p:cNvSpPr txBox="1"/>
          <p:nvPr userDrawn="1"/>
        </p:nvSpPr>
        <p:spPr bwMode="white">
          <a:xfrm>
            <a:off x="4422030" y="6696184"/>
            <a:ext cx="3592417" cy="16447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48" spc="150">
                <a:gradFill>
                  <a:gsLst>
                    <a:gs pos="0">
                      <a:srgbClr val="353535">
                        <a:alpha val="50000"/>
                      </a:srgbClr>
                    </a:gs>
                    <a:gs pos="86000">
                      <a:srgbClr val="353535">
                        <a:alpha val="5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114700537"/>
      </p:ext>
    </p:extLst>
  </p:cSld>
  <p:clrMapOvr>
    <a:masterClrMapping/>
  </p:clrMapOvr>
  <p:transition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40" y="1212852"/>
            <a:ext cx="11887200" cy="202517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0" indent="0">
              <a:buFontTx/>
              <a:buNone/>
              <a:defRPr sz="2000">
                <a:solidFill>
                  <a:schemeClr val="bg1"/>
                </a:solidFill>
              </a:defRPr>
            </a:lvl2pPr>
            <a:lvl3pPr marL="228513" indent="0">
              <a:buNone/>
              <a:defRPr>
                <a:solidFill>
                  <a:schemeClr val="bg1"/>
                </a:solidFill>
              </a:defRPr>
            </a:lvl3pPr>
            <a:lvl4pPr marL="457024" indent="0">
              <a:buNone/>
              <a:defRPr>
                <a:solidFill>
                  <a:schemeClr val="bg1"/>
                </a:solidFill>
              </a:defRPr>
            </a:lvl4pPr>
            <a:lvl5pPr marL="68553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Box 7"/>
          <p:cNvSpPr txBox="1"/>
          <p:nvPr userDrawn="1"/>
        </p:nvSpPr>
        <p:spPr bwMode="white">
          <a:xfrm>
            <a:off x="4422030" y="6696184"/>
            <a:ext cx="3592417" cy="16447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48" spc="150">
                <a:gradFill>
                  <a:gsLst>
                    <a:gs pos="0">
                      <a:srgbClr val="353535">
                        <a:alpha val="50000"/>
                      </a:srgbClr>
                    </a:gs>
                    <a:gs pos="86000">
                      <a:srgbClr val="353535">
                        <a:alpha val="5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489114424"/>
      </p:ext>
    </p:extLst>
  </p:cSld>
  <p:clrMapOvr>
    <a:masterClrMapping/>
  </p:clrMapOvr>
  <p:transition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50"/>
            <a:ext cx="11887200" cy="2092881"/>
          </a:xfrm>
        </p:spPr>
        <p:txBody>
          <a:bodyPr>
            <a:spAutoFit/>
          </a:bodyPr>
          <a:lstStyle>
            <a:lvl1pPr>
              <a:defRPr sz="3998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Box 7"/>
          <p:cNvSpPr txBox="1"/>
          <p:nvPr userDrawn="1"/>
        </p:nvSpPr>
        <p:spPr bwMode="white">
          <a:xfrm>
            <a:off x="4422030" y="6696184"/>
            <a:ext cx="3592417" cy="16447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48" spc="150">
                <a:gradFill>
                  <a:gsLst>
                    <a:gs pos="0">
                      <a:srgbClr val="353535">
                        <a:alpha val="50000"/>
                      </a:srgbClr>
                    </a:gs>
                    <a:gs pos="86000">
                      <a:srgbClr val="353535">
                        <a:alpha val="5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612692534"/>
      </p:ext>
    </p:extLst>
  </p:cSld>
  <p:clrMapOvr>
    <a:masterClrMapping/>
  </p:clrMapOvr>
  <p:transition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1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8"/>
            </a:lvl1pPr>
            <a:lvl2pPr marL="0" indent="0">
              <a:buNone/>
              <a:defRPr sz="2000"/>
            </a:lvl2pPr>
            <a:lvl3pPr marL="231686" indent="0">
              <a:buNone/>
              <a:tabLst/>
              <a:defRPr sz="2000"/>
            </a:lvl3pPr>
            <a:lvl4pPr marL="460198" indent="0">
              <a:buNone/>
              <a:defRPr/>
            </a:lvl4pPr>
            <a:lvl5pPr marL="685537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8"/>
            </a:lvl1pPr>
            <a:lvl2pPr marL="0" indent="0">
              <a:buNone/>
              <a:defRPr sz="2000"/>
            </a:lvl2pPr>
            <a:lvl3pPr marL="231686" indent="0">
              <a:buNone/>
              <a:tabLst/>
              <a:defRPr sz="2000"/>
            </a:lvl3pPr>
            <a:lvl4pPr marL="460198" indent="0">
              <a:buNone/>
              <a:defRPr/>
            </a:lvl4pPr>
            <a:lvl5pPr marL="685537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7"/>
          <p:cNvSpPr txBox="1"/>
          <p:nvPr userDrawn="1"/>
        </p:nvSpPr>
        <p:spPr bwMode="white">
          <a:xfrm>
            <a:off x="4422030" y="6696184"/>
            <a:ext cx="3592417" cy="16447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48" spc="150">
                <a:gradFill>
                  <a:gsLst>
                    <a:gs pos="0">
                      <a:srgbClr val="353535">
                        <a:alpha val="50000"/>
                      </a:srgbClr>
                    </a:gs>
                    <a:gs pos="86000">
                      <a:srgbClr val="353535">
                        <a:alpha val="5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477819103"/>
      </p:ext>
    </p:extLst>
  </p:cSld>
  <p:clrMapOvr>
    <a:masterClrMapping/>
  </p:clrMapOvr>
  <p:transition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1" y="1212851"/>
            <a:ext cx="5486399" cy="1985506"/>
          </a:xfrm>
        </p:spPr>
        <p:txBody>
          <a:bodyPr wrap="square">
            <a:spAutoFit/>
          </a:bodyPr>
          <a:lstStyle>
            <a:lvl1pPr marL="287227" indent="-287227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8"/>
            </a:lvl1pPr>
            <a:lvl2pPr marL="530962" indent="-233105">
              <a:defRPr sz="2400"/>
            </a:lvl2pPr>
            <a:lvl3pPr marL="699316" indent="-168355">
              <a:tabLst/>
              <a:defRPr sz="2000"/>
            </a:lvl3pPr>
            <a:lvl4pPr marL="880619" indent="-181305">
              <a:defRPr/>
            </a:lvl4pPr>
            <a:lvl5pPr marL="1048973" indent="-168355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51"/>
            <a:ext cx="5486399" cy="1985506"/>
          </a:xfrm>
        </p:spPr>
        <p:txBody>
          <a:bodyPr wrap="square">
            <a:spAutoFit/>
          </a:bodyPr>
          <a:lstStyle>
            <a:lvl1pPr marL="287227" indent="-287227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8"/>
            </a:lvl1pPr>
            <a:lvl2pPr marL="530962" indent="-233105">
              <a:defRPr sz="2400"/>
            </a:lvl2pPr>
            <a:lvl3pPr marL="699316" indent="-168355">
              <a:tabLst/>
              <a:defRPr sz="2000"/>
            </a:lvl3pPr>
            <a:lvl4pPr marL="880619" indent="-181305">
              <a:defRPr/>
            </a:lvl4pPr>
            <a:lvl5pPr marL="1048973" indent="-168355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7"/>
          <p:cNvSpPr txBox="1"/>
          <p:nvPr userDrawn="1"/>
        </p:nvSpPr>
        <p:spPr bwMode="white">
          <a:xfrm>
            <a:off x="4422030" y="6696184"/>
            <a:ext cx="3592417" cy="16447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48" spc="150">
                <a:gradFill>
                  <a:gsLst>
                    <a:gs pos="0">
                      <a:srgbClr val="353535">
                        <a:alpha val="50000"/>
                      </a:srgbClr>
                    </a:gs>
                    <a:gs pos="86000">
                      <a:srgbClr val="353535">
                        <a:alpha val="5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792345234"/>
      </p:ext>
    </p:extLst>
  </p:cSld>
  <p:clrMapOvr>
    <a:masterClrMapping/>
  </p:clrMapOvr>
  <p:transition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422030" y="6696184"/>
            <a:ext cx="3592417" cy="16447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48" spc="150">
                <a:gradFill>
                  <a:gsLst>
                    <a:gs pos="0">
                      <a:srgbClr val="353535">
                        <a:alpha val="50000"/>
                      </a:srgbClr>
                    </a:gs>
                    <a:gs pos="86000">
                      <a:srgbClr val="353535">
                        <a:alpha val="5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217394216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89715" y="0"/>
            <a:ext cx="7646761" cy="6994525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 bwMode="auto">
          <a:xfrm>
            <a:off x="4787823" y="-9335"/>
            <a:ext cx="7339408" cy="7013195"/>
          </a:xfrm>
          <a:prstGeom prst="rect">
            <a:avLst/>
          </a:prstGeom>
          <a:solidFill>
            <a:srgbClr val="000000">
              <a:alpha val="1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4787822" y="1"/>
            <a:ext cx="5870935" cy="7003860"/>
          </a:xfrm>
          <a:prstGeom prst="rect">
            <a:avLst/>
          </a:prstGeom>
          <a:gradFill>
            <a:gsLst>
              <a:gs pos="18000">
                <a:srgbClr val="505050">
                  <a:lumMod val="50000"/>
                  <a:alpha val="54000"/>
                </a:srgbClr>
              </a:gs>
              <a:gs pos="100000">
                <a:srgbClr val="505050">
                  <a:lumMod val="50000"/>
                  <a:alpha val="0"/>
                </a:srgbClr>
              </a:gs>
            </a:gsLst>
            <a:lin ang="0" scaled="0"/>
          </a:gra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3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612" y="6213400"/>
            <a:ext cx="1556447" cy="572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42541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40" y="2125677"/>
            <a:ext cx="7315200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196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41" y="3954463"/>
            <a:ext cx="7315200" cy="738664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98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4" name="TextBox 7"/>
          <p:cNvSpPr txBox="1"/>
          <p:nvPr userDrawn="1"/>
        </p:nvSpPr>
        <p:spPr bwMode="white">
          <a:xfrm>
            <a:off x="4422030" y="6696184"/>
            <a:ext cx="3592417" cy="16447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48" spc="15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757448" y="304193"/>
            <a:ext cx="4409440" cy="640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90577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77"/>
            <a:ext cx="7315199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lang="en-US" sz="7196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422030" y="6696184"/>
            <a:ext cx="3592417" cy="16447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48" spc="15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37" y="3410198"/>
            <a:ext cx="12435840" cy="3104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60146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40" y="2125664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6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422030" y="6696184"/>
            <a:ext cx="3592417" cy="16447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48" spc="150">
                <a:gradFill>
                  <a:gsLst>
                    <a:gs pos="0">
                      <a:srgbClr val="353535">
                        <a:alpha val="50000"/>
                      </a:srgbClr>
                    </a:gs>
                    <a:gs pos="86000">
                      <a:srgbClr val="353535">
                        <a:alpha val="5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471728043"/>
      </p:ext>
    </p:extLst>
  </p:cSld>
  <p:clrMapOvr>
    <a:masterClrMapping/>
  </p:clrMapOvr>
  <p:transition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40" y="2125664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6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3" name="TextBox 7"/>
          <p:cNvSpPr txBox="1"/>
          <p:nvPr userDrawn="1"/>
        </p:nvSpPr>
        <p:spPr bwMode="white">
          <a:xfrm>
            <a:off x="4422030" y="6696184"/>
            <a:ext cx="3592417" cy="16447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48" spc="15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2614434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41" y="3072531"/>
            <a:ext cx="5486399" cy="849463"/>
          </a:xfrm>
        </p:spPr>
        <p:txBody>
          <a:bodyPr anchor="ctr">
            <a:spAutoFit/>
          </a:bodyPr>
          <a:lstStyle>
            <a:lvl1pPr>
              <a:defRPr sz="4798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9825" y="0"/>
            <a:ext cx="6216650" cy="6992587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9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2203939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917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9825" y="0"/>
            <a:ext cx="6216650" cy="6992587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9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74640" y="295274"/>
            <a:ext cx="5486399" cy="162005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74640" y="1915328"/>
            <a:ext cx="5486399" cy="1985506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Tx/>
              <a:buNone/>
              <a:defRPr sz="3198">
                <a:solidFill>
                  <a:schemeClr val="bg1"/>
                </a:solidFill>
              </a:defRPr>
            </a:lvl1pPr>
            <a:lvl2pPr marL="297857" indent="0">
              <a:buFontTx/>
              <a:buNone/>
              <a:defRPr sz="2400">
                <a:solidFill>
                  <a:schemeClr val="bg1"/>
                </a:solidFill>
              </a:defRPr>
            </a:lvl2pPr>
            <a:lvl3pPr marL="530962" indent="0">
              <a:buFontTx/>
              <a:buNone/>
              <a:tabLst/>
              <a:defRPr sz="2000">
                <a:solidFill>
                  <a:schemeClr val="bg1"/>
                </a:solidFill>
              </a:defRPr>
            </a:lvl3pPr>
            <a:lvl4pPr marL="699315" indent="0">
              <a:buFontTx/>
              <a:buNone/>
              <a:defRPr>
                <a:solidFill>
                  <a:schemeClr val="bg1"/>
                </a:solidFill>
              </a:defRPr>
            </a:lvl4pPr>
            <a:lvl5pPr marL="880619" indent="0">
              <a:buFontTx/>
              <a:buNone/>
              <a:tabLst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2460875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917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740132"/>
            <a:ext cx="4892040" cy="1514261"/>
          </a:xfrm>
        </p:spPr>
        <p:txBody>
          <a:bodyPr wrap="square" anchor="ctr">
            <a:spAutoFit/>
          </a:bodyPr>
          <a:lstStyle>
            <a:lvl1pPr>
              <a:defRPr sz="4798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5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441315" y="0"/>
            <a:ext cx="6995160" cy="69925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98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41315" y="2"/>
            <a:ext cx="6995160" cy="6995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448461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/>
          <p:nvPr userDrawn="1"/>
        </p:nvSpPr>
        <p:spPr bwMode="white">
          <a:xfrm>
            <a:off x="4422030" y="6696184"/>
            <a:ext cx="3592417" cy="16447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48" spc="150">
                <a:gradFill>
                  <a:gsLst>
                    <a:gs pos="0">
                      <a:srgbClr val="353535">
                        <a:alpha val="50000"/>
                      </a:srgbClr>
                    </a:gs>
                    <a:gs pos="86000">
                      <a:srgbClr val="353535">
                        <a:alpha val="5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862406977"/>
      </p:ext>
    </p:extLst>
  </p:cSld>
  <p:clrMapOvr>
    <a:masterClrMapping/>
  </p:clrMapOvr>
  <p:transition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7"/>
          <p:cNvSpPr txBox="1"/>
          <p:nvPr userDrawn="1"/>
        </p:nvSpPr>
        <p:spPr bwMode="white">
          <a:xfrm>
            <a:off x="4422030" y="6696184"/>
            <a:ext cx="3592417" cy="16447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48" spc="15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13837176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5" tIns="46625" rIns="46625" bIns="4662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spcBef>
                <a:spcPct val="0"/>
              </a:spcBef>
              <a:spcAft>
                <a:spcPct val="0"/>
              </a:spcAft>
            </a:pPr>
            <a:endParaRPr lang="en-US" sz="18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9"/>
            <a:ext cx="11887199" cy="1995931"/>
          </a:xfrm>
        </p:spPr>
        <p:txBody>
          <a:bodyPr/>
          <a:lstStyle>
            <a:lvl1pPr marL="0" indent="0">
              <a:buNone/>
              <a:defRPr sz="3298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20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381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249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59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74978196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&amp; Text Spli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7" y="1526643"/>
            <a:ext cx="3855307" cy="5471273"/>
          </a:xfrm>
          <a:solidFill>
            <a:schemeClr val="bg2">
              <a:lumMod val="8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Drag picture to placeholder or click icon to add 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4272730" y="3318348"/>
            <a:ext cx="7664994" cy="357850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sz="2448" dirty="0" smtClean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-1" y="0"/>
            <a:ext cx="3855307" cy="1616512"/>
          </a:xfrm>
          <a:prstGeom prst="rect">
            <a:avLst/>
          </a:prstGeom>
          <a:solidFill>
            <a:srgbClr val="2127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3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209327" y="233152"/>
            <a:ext cx="3410796" cy="772204"/>
          </a:xfrm>
        </p:spPr>
        <p:txBody>
          <a:bodyPr/>
          <a:lstStyle>
            <a:lvl1pPr>
              <a:lnSpc>
                <a:spcPct val="90000"/>
              </a:lnSpc>
              <a:defRPr sz="3806" spc="-136" baseline="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81022188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>
            <a:grpSpLocks noChangeAspect="1"/>
          </p:cNvGrpSpPr>
          <p:nvPr userDrawn="1"/>
        </p:nvGrpSpPr>
        <p:grpSpPr bwMode="black">
          <a:xfrm>
            <a:off x="468308" y="479425"/>
            <a:ext cx="1448129" cy="310896"/>
            <a:chOff x="457200" y="1643393"/>
            <a:chExt cx="4492753" cy="964540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7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597"/>
              <a:endParaRPr lang="en-US" sz="1800">
                <a:solidFill>
                  <a:srgbClr val="FFFFFF"/>
                </a:solidFill>
              </a:endParaRPr>
            </a:p>
          </p:txBody>
        </p:sp>
      </p:grpSp>
      <p:sp>
        <p:nvSpPr>
          <p:cNvPr id="8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28" tIns="182828" rIns="182828" bIns="182828" numCol="1" anchor="t" anchorCtr="0" compatLnSpc="1">
            <a:prstTxWarp prst="textNoShape">
              <a:avLst/>
            </a:prstTxWarp>
            <a:spAutoFit/>
          </a:bodyPr>
          <a:lstStyle/>
          <a:p>
            <a:pPr defTabSz="931932" eaLnBrk="0" hangingPunct="0"/>
            <a:r>
              <a:rPr lang="en-US" sz="7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40682990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ck Note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40" y="1212852"/>
            <a:ext cx="11887200" cy="2443746"/>
          </a:xfrm>
          <a:prstGeom prst="rect">
            <a:avLst/>
          </a:prstGeom>
        </p:spPr>
        <p:txBody>
          <a:bodyPr/>
          <a:lstStyle>
            <a:lvl1pPr marL="290401" indent="-290401">
              <a:buClr>
                <a:schemeClr val="tx1"/>
              </a:buClr>
              <a:buSzPct val="90000"/>
              <a:buFont typeface="Arial" pitchFamily="34" charset="0"/>
              <a:buChar char="•"/>
              <a:defRPr sz="359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281" indent="-280881">
              <a:buClr>
                <a:schemeClr val="tx1"/>
              </a:buClr>
              <a:buSzPct val="90000"/>
              <a:buFont typeface="Arial" pitchFamily="34" charset="0"/>
              <a:buChar char="•"/>
              <a:defRPr sz="3198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682" indent="-290401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195" indent="-228513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706" indent="-228513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8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077567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07278" y="0"/>
            <a:ext cx="11192829" cy="854886"/>
          </a:xfrm>
        </p:spPr>
        <p:txBody>
          <a:bodyPr anchor="t">
            <a:noAutofit/>
          </a:bodyPr>
          <a:lstStyle>
            <a:lvl1pPr algn="l">
              <a:tabLst/>
              <a:defRPr sz="3672" baseline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310912" y="1787492"/>
            <a:ext cx="11711014" cy="2805896"/>
          </a:xfrm>
        </p:spPr>
        <p:txBody>
          <a:bodyPr/>
          <a:lstStyle>
            <a:lvl1pPr marL="349522" indent="-349522">
              <a:buSzPct val="67000"/>
              <a:buFontTx/>
              <a:buBlip>
                <a:blip r:embed="rId2"/>
              </a:buBlip>
              <a:defRPr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640791" indent="-289653">
              <a:buSzPct val="67000"/>
              <a:buFontTx/>
              <a:buBlip>
                <a:blip r:embed="rId2"/>
              </a:buBlip>
              <a:defRPr sz="2958"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932060" indent="-291268">
              <a:buSzPct val="67000"/>
              <a:buFontTx/>
              <a:buBlip>
                <a:blip r:embed="rId2"/>
              </a:buBlip>
              <a:defRPr sz="2652"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223328" indent="-291268">
              <a:buSzPct val="67000"/>
              <a:buFontTx/>
              <a:buBlip>
                <a:blip r:embed="rId2"/>
              </a:buBlip>
              <a:defRPr sz="2346"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453106" indent="-229778">
              <a:buSzPct val="67000"/>
              <a:buFontTx/>
              <a:buBlip>
                <a:blip r:embed="rId2"/>
              </a:buBlip>
              <a:defRPr sz="2142"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  <a:lvl6pPr marL="1634340" indent="-181234">
              <a:buSzPct val="67000"/>
              <a:buFontTx/>
              <a:buBlip>
                <a:blip r:embed="rId2"/>
              </a:buBlip>
              <a:defRPr sz="1938">
                <a:latin typeface="Segoe UI" pitchFamily="34" charset="0"/>
                <a:ea typeface="Segoe UI" pitchFamily="34" charset="0"/>
                <a:cs typeface="Segoe UI" pitchFamily="34" charset="0"/>
              </a:defRPr>
            </a:lvl6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1824" y="6482894"/>
            <a:ext cx="2901844" cy="372394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defTabSz="932060">
              <a:defRPr/>
            </a:pPr>
            <a:fld id="{CBAF81EE-1466-4A36-AFA8-EF49791ECF76}" type="datetime1">
              <a:rPr lang="en-US" smtClean="0">
                <a:solidFill>
                  <a:srgbClr val="505050"/>
                </a:solidFill>
              </a:rPr>
              <a:pPr defTabSz="932060">
                <a:defRPr/>
              </a:pPr>
              <a:t>5/7/2021</a:t>
            </a:fld>
            <a:endParaRPr lang="en-US">
              <a:solidFill>
                <a:srgbClr val="50505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249130" y="6482894"/>
            <a:ext cx="3938217" cy="372394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defTabSz="932060">
              <a:defRPr/>
            </a:pPr>
            <a:endParaRPr lang="en-US">
              <a:solidFill>
                <a:srgbClr val="50505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27357" y="6544420"/>
            <a:ext cx="2901844" cy="37239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4">
                    <a:lumMod val="40000"/>
                    <a:lumOff val="6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32060">
              <a:defRPr/>
            </a:pPr>
            <a:fld id="{A8D3BC05-5762-4FDE-9E23-6E6C609B133E}" type="slidenum">
              <a:rPr lang="en-US" smtClean="0">
                <a:solidFill>
                  <a:srgbClr val="00188F">
                    <a:lumMod val="40000"/>
                    <a:lumOff val="60000"/>
                  </a:srgbClr>
                </a:solidFill>
              </a:rPr>
              <a:pPr defTabSz="932060">
                <a:defRPr/>
              </a:pPr>
              <a:t>‹#›</a:t>
            </a:fld>
            <a:endParaRPr lang="en-US">
              <a:solidFill>
                <a:srgbClr val="00188F">
                  <a:lumMod val="40000"/>
                  <a:lumOff val="6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9286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E7958C-06B3-4E6B-AFD0-27B0DE66BFD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54560" y="1144706"/>
            <a:ext cx="9327356" cy="2435131"/>
          </a:xfrm>
        </p:spPr>
        <p:txBody>
          <a:bodyPr anchor="b"/>
          <a:lstStyle>
            <a:lvl1pPr algn="ctr">
              <a:defRPr sz="611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B5EF62E-04B0-47C1-A897-096B47BDF13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54560" y="3673745"/>
            <a:ext cx="9327356" cy="523733"/>
          </a:xfrm>
        </p:spPr>
        <p:txBody>
          <a:bodyPr/>
          <a:lstStyle>
            <a:lvl1pPr marL="0" indent="0" algn="ctr">
              <a:buNone/>
              <a:defRPr sz="2448"/>
            </a:lvl1pPr>
            <a:lvl2pPr marL="466298" indent="0" algn="ctr">
              <a:buNone/>
              <a:defRPr sz="2040"/>
            </a:lvl2pPr>
            <a:lvl3pPr marL="932597" indent="0" algn="ctr">
              <a:buNone/>
              <a:defRPr sz="1836"/>
            </a:lvl3pPr>
            <a:lvl4pPr marL="1398895" indent="0" algn="ctr">
              <a:buNone/>
              <a:defRPr sz="1632"/>
            </a:lvl4pPr>
            <a:lvl5pPr marL="1865193" indent="0" algn="ctr">
              <a:buNone/>
              <a:defRPr sz="1632"/>
            </a:lvl5pPr>
            <a:lvl6pPr marL="2331491" indent="0" algn="ctr">
              <a:buNone/>
              <a:defRPr sz="1632"/>
            </a:lvl6pPr>
            <a:lvl7pPr marL="2797790" indent="0" algn="ctr">
              <a:buNone/>
              <a:defRPr sz="1632"/>
            </a:lvl7pPr>
            <a:lvl8pPr marL="3264088" indent="0" algn="ctr">
              <a:buNone/>
              <a:defRPr sz="1632"/>
            </a:lvl8pPr>
            <a:lvl9pPr marL="3730386" indent="0" algn="ctr">
              <a:buNone/>
              <a:defRPr sz="1632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B08E98-2B98-4BDF-A90A-4314306CF6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32597"/>
            <a:fld id="{B46A6212-E42A-46FB-BD67-911F6E43E34C}" type="datetimeFigureOut">
              <a:rPr lang="en-US" smtClean="0">
                <a:solidFill>
                  <a:srgbClr val="353535"/>
                </a:solidFill>
              </a:rPr>
              <a:pPr defTabSz="932597"/>
              <a:t>5/7/2021</a:t>
            </a:fld>
            <a:endParaRPr lang="en-US">
              <a:solidFill>
                <a:srgbClr val="353535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DF7A67-99B5-48EB-B222-3EAF36B0E3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32597"/>
            <a:endParaRPr lang="en-US">
              <a:solidFill>
                <a:srgbClr val="353535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114D1AD-D858-4DDE-A62A-FC92F6EBF0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32597"/>
            <a:fld id="{A5BE97FF-7446-4C7A-8633-A0E0CDBA011D}" type="slidenum">
              <a:rPr lang="en-US" smtClean="0">
                <a:solidFill>
                  <a:srgbClr val="353535"/>
                </a:solidFill>
              </a:rPr>
              <a:pPr defTabSz="932597"/>
              <a:t>‹#›</a:t>
            </a:fld>
            <a:endParaRPr lang="en-US">
              <a:solidFill>
                <a:srgbClr val="35353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38395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52"/>
            <a:ext cx="11887200" cy="2025170"/>
          </a:xfrm>
        </p:spPr>
        <p:txBody>
          <a:bodyPr>
            <a:spAutoFit/>
          </a:bodyPr>
          <a:lstStyle>
            <a:lvl1pPr>
              <a:defRPr sz="3598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97439912"/>
      </p:ext>
    </p:extLst>
  </p:cSld>
  <p:clrMapOvr>
    <a:masterClrMapping/>
  </p:clrMapOvr>
  <p:transition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51E5E4-E6A9-4173-BC2E-E142DF75E6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9CE844-F1E6-423A-96F4-D0D6B331CD9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55008" y="1861968"/>
            <a:ext cx="5285502" cy="20926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C013DB9-D39D-4E7D-99C8-7CE93C4366E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5965" y="1861968"/>
            <a:ext cx="5285502" cy="20926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E0A6B52-0503-4261-9705-335CBE4B47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32597"/>
            <a:fld id="{B46A6212-E42A-46FB-BD67-911F6E43E34C}" type="datetimeFigureOut">
              <a:rPr lang="en-US" smtClean="0">
                <a:solidFill>
                  <a:srgbClr val="353535"/>
                </a:solidFill>
              </a:rPr>
              <a:pPr defTabSz="932597"/>
              <a:t>5/7/2021</a:t>
            </a:fld>
            <a:endParaRPr lang="en-US">
              <a:solidFill>
                <a:srgbClr val="353535"/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1C4123-0E46-4656-9E37-2052EE9889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32597"/>
            <a:endParaRPr lang="en-US">
              <a:solidFill>
                <a:srgbClr val="353535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E04AFC4-7063-47B6-9783-4AEC264EE1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32597"/>
            <a:fld id="{A5BE97FF-7446-4C7A-8633-A0E0CDBA011D}" type="slidenum">
              <a:rPr lang="en-US" smtClean="0">
                <a:solidFill>
                  <a:srgbClr val="353535"/>
                </a:solidFill>
              </a:rPr>
              <a:pPr defTabSz="932597"/>
              <a:t>‹#›</a:t>
            </a:fld>
            <a:endParaRPr lang="en-US">
              <a:solidFill>
                <a:srgbClr val="35353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4852761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7E03CA-9C86-4AAD-8288-ABFDBC89BB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54560" y="1144706"/>
            <a:ext cx="9327356" cy="2435131"/>
          </a:xfrm>
        </p:spPr>
        <p:txBody>
          <a:bodyPr anchor="b"/>
          <a:lstStyle>
            <a:lvl1pPr algn="ctr">
              <a:defRPr sz="6119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A58248F-EF22-4EEA-871F-19E2063C896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54560" y="3673745"/>
            <a:ext cx="9327356" cy="1688724"/>
          </a:xfrm>
        </p:spPr>
        <p:txBody>
          <a:bodyPr/>
          <a:lstStyle>
            <a:lvl1pPr marL="0" indent="0" algn="ctr">
              <a:buNone/>
              <a:defRPr sz="2448"/>
            </a:lvl1pPr>
            <a:lvl2pPr marL="466298" indent="0" algn="ctr">
              <a:buNone/>
              <a:defRPr sz="2040"/>
            </a:lvl2pPr>
            <a:lvl3pPr marL="932597" indent="0" algn="ctr">
              <a:buNone/>
              <a:defRPr sz="1836"/>
            </a:lvl3pPr>
            <a:lvl4pPr marL="1398895" indent="0" algn="ctr">
              <a:buNone/>
              <a:defRPr sz="1632"/>
            </a:lvl4pPr>
            <a:lvl5pPr marL="1865193" indent="0" algn="ctr">
              <a:buNone/>
              <a:defRPr sz="1632"/>
            </a:lvl5pPr>
            <a:lvl6pPr marL="2331491" indent="0" algn="ctr">
              <a:buNone/>
              <a:defRPr sz="1632"/>
            </a:lvl6pPr>
            <a:lvl7pPr marL="2797790" indent="0" algn="ctr">
              <a:buNone/>
              <a:defRPr sz="1632"/>
            </a:lvl7pPr>
            <a:lvl8pPr marL="3264088" indent="0" algn="ctr">
              <a:buNone/>
              <a:defRPr sz="1632"/>
            </a:lvl8pPr>
            <a:lvl9pPr marL="3730386" indent="0" algn="ctr">
              <a:buNone/>
              <a:defRPr sz="1632"/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D17025-97D1-4671-9D0B-5DE3C8D912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FDBAD4-3189-41EB-9AF6-F76065F2104E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E5CC21-8590-4481-A259-204C694D94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FFC6318-22C7-44A0-AC4F-AF7152D96A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2E0C4-5B8C-4F8F-BDB9-A952EB01EADD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90419893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FD2713-F151-48DF-A4AD-B80ABD36DD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6D099A-D7F6-472F-9FF5-5612220DE8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F14493-23DF-4441-B556-3893C98CD8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FDBAD4-3189-41EB-9AF6-F76065F2104E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469C45-1355-4FB6-A134-36D724DF36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850208-18BB-4332-9661-7E58DEC01E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2E0C4-5B8C-4F8F-BDB9-A952EB01EADD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654821001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B68B63-D0EF-45F0-85D4-E877C4F250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8530" y="1743775"/>
            <a:ext cx="10726460" cy="2909528"/>
          </a:xfrm>
        </p:spPr>
        <p:txBody>
          <a:bodyPr anchor="b"/>
          <a:lstStyle>
            <a:lvl1pPr>
              <a:defRPr sz="6119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3725635-AC65-4BBC-98F9-36D5C4DECB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8530" y="4680828"/>
            <a:ext cx="10726460" cy="1530052"/>
          </a:xfrm>
        </p:spPr>
        <p:txBody>
          <a:bodyPr/>
          <a:lstStyle>
            <a:lvl1pPr marL="0" indent="0">
              <a:buNone/>
              <a:defRPr sz="2448">
                <a:solidFill>
                  <a:schemeClr val="tx1">
                    <a:tint val="75000"/>
                  </a:schemeClr>
                </a:solidFill>
              </a:defRPr>
            </a:lvl1pPr>
            <a:lvl2pPr marL="466298" indent="0">
              <a:buNone/>
              <a:defRPr sz="2040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7DC2C82-4DE2-43E4-8844-B9D9F03679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FDBAD4-3189-41EB-9AF6-F76065F2104E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6C9158-B48E-400E-868E-F787A87BC5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89E6AF-45FB-417C-BC0D-9F34C2FACE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2E0C4-5B8C-4F8F-BDB9-A952EB01EADD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95393400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350F8D-5606-483D-BD1D-C91225C08C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6B2A58-17CD-4F94-A34F-8946CC85C10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55008" y="1861968"/>
            <a:ext cx="5285502" cy="44379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241AE7D-E073-4CF2-9BCA-FBDA6494C9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5965" y="1861968"/>
            <a:ext cx="5285502" cy="44379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1FBE854-0410-4824-BF2B-022F103AAD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5022018-E38F-4FC2-B83E-DC6982E5F6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#MicrosoftEDU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FEA1687-BF35-406C-A38E-CF708C511B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2462F0-19B4-4B2F-A163-7E6F435EAA5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20520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pictur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88713" y="1166837"/>
            <a:ext cx="10571004" cy="1592117"/>
          </a:xfrm>
        </p:spPr>
        <p:txBody>
          <a:bodyPr/>
          <a:lstStyle>
            <a:lvl1pPr>
              <a:defRPr sz="4896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84244" y="2758954"/>
            <a:ext cx="10572723" cy="887269"/>
          </a:xfrm>
        </p:spPr>
        <p:txBody>
          <a:bodyPr>
            <a:normAutofit/>
          </a:bodyPr>
          <a:lstStyle>
            <a:lvl1pPr marL="0" indent="0" algn="l">
              <a:buNone/>
              <a:defRPr sz="3398">
                <a:solidFill>
                  <a:srgbClr val="4D4D4D"/>
                </a:solidFill>
              </a:defRPr>
            </a:lvl1pPr>
            <a:lvl2pPr marL="6215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431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64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863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1079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7295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351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9727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1791" y="6592441"/>
            <a:ext cx="3618195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96">
                <a:solidFill>
                  <a:schemeClr val="bg1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932563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714975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FD0390-F577-42F8-BA2E-563DA01CC3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627" y="372394"/>
            <a:ext cx="10726460" cy="135195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6BF1A4-4854-4226-A9A5-DDC4A71261D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56628" y="1714631"/>
            <a:ext cx="5261211" cy="840314"/>
          </a:xfrm>
        </p:spPr>
        <p:txBody>
          <a:bodyPr anchor="b"/>
          <a:lstStyle>
            <a:lvl1pPr marL="0" indent="0">
              <a:buNone/>
              <a:defRPr sz="2448" b="1"/>
            </a:lvl1pPr>
            <a:lvl2pPr marL="466298" indent="0">
              <a:buNone/>
              <a:defRPr sz="2040" b="1"/>
            </a:lvl2pPr>
            <a:lvl3pPr marL="932597" indent="0">
              <a:buNone/>
              <a:defRPr sz="1836" b="1"/>
            </a:lvl3pPr>
            <a:lvl4pPr marL="1398895" indent="0">
              <a:buNone/>
              <a:defRPr sz="1632" b="1"/>
            </a:lvl4pPr>
            <a:lvl5pPr marL="1865193" indent="0">
              <a:buNone/>
              <a:defRPr sz="1632" b="1"/>
            </a:lvl5pPr>
            <a:lvl6pPr marL="2331491" indent="0">
              <a:buNone/>
              <a:defRPr sz="1632" b="1"/>
            </a:lvl6pPr>
            <a:lvl7pPr marL="2797790" indent="0">
              <a:buNone/>
              <a:defRPr sz="1632" b="1"/>
            </a:lvl7pPr>
            <a:lvl8pPr marL="3264088" indent="0">
              <a:buNone/>
              <a:defRPr sz="1632" b="1"/>
            </a:lvl8pPr>
            <a:lvl9pPr marL="3730386" indent="0">
              <a:buNone/>
              <a:defRPr sz="1632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E9C2170-28F4-4C8C-A1D9-9B517A023E1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56628" y="2554944"/>
            <a:ext cx="5261211" cy="37579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A3DBBE6-4AC3-405F-944B-41F9CDDE145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95965" y="1714631"/>
            <a:ext cx="5287122" cy="840314"/>
          </a:xfrm>
        </p:spPr>
        <p:txBody>
          <a:bodyPr anchor="b"/>
          <a:lstStyle>
            <a:lvl1pPr marL="0" indent="0">
              <a:buNone/>
              <a:defRPr sz="2448" b="1"/>
            </a:lvl1pPr>
            <a:lvl2pPr marL="466298" indent="0">
              <a:buNone/>
              <a:defRPr sz="2040" b="1"/>
            </a:lvl2pPr>
            <a:lvl3pPr marL="932597" indent="0">
              <a:buNone/>
              <a:defRPr sz="1836" b="1"/>
            </a:lvl3pPr>
            <a:lvl4pPr marL="1398895" indent="0">
              <a:buNone/>
              <a:defRPr sz="1632" b="1"/>
            </a:lvl4pPr>
            <a:lvl5pPr marL="1865193" indent="0">
              <a:buNone/>
              <a:defRPr sz="1632" b="1"/>
            </a:lvl5pPr>
            <a:lvl6pPr marL="2331491" indent="0">
              <a:buNone/>
              <a:defRPr sz="1632" b="1"/>
            </a:lvl6pPr>
            <a:lvl7pPr marL="2797790" indent="0">
              <a:buNone/>
              <a:defRPr sz="1632" b="1"/>
            </a:lvl7pPr>
            <a:lvl8pPr marL="3264088" indent="0">
              <a:buNone/>
              <a:defRPr sz="1632" b="1"/>
            </a:lvl8pPr>
            <a:lvl9pPr marL="3730386" indent="0">
              <a:buNone/>
              <a:defRPr sz="1632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D8E23E5-10EF-4A0F-A60A-901814144F1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95965" y="2554944"/>
            <a:ext cx="5287122" cy="37579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8F4C3D6-9CA1-4434-BD1B-9E088DB209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FDBAD4-3189-41EB-9AF6-F76065F2104E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AE0F88B-6906-458D-BDB1-57D71D0B67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F961D9A-41EF-4BE8-A52B-26706303A4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2E0C4-5B8C-4F8F-BDB9-A952EB01EADD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97492835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6D51F8-855F-4DC7-BD65-FFF27A65E5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60188D2-E2D8-42B9-A058-8ACA227EE2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FDBAD4-3189-41EB-9AF6-F76065F2104E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CDA9D2D-850D-458C-853A-04CF92D795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621D814-6684-437F-BF42-FBE7A26E91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2E0C4-5B8C-4F8F-BDB9-A952EB01EADD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202216603"/>
      </p:ext>
    </p:extLst>
  </p:cSld>
  <p:clrMapOvr>
    <a:masterClrMapping/>
  </p:clrMapOvr>
  <p:transition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5F1BD9F-859A-4FF8-B1D4-DBC56F04DB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FDBAD4-3189-41EB-9AF6-F76065F2104E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D23A2-8789-4FF4-811F-455B753E13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62B012-DC52-42FC-8E48-38287322DF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2E0C4-5B8C-4F8F-BDB9-A952EB01EADD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18972117"/>
      </p:ext>
    </p:extLst>
  </p:cSld>
  <p:clrMapOvr>
    <a:masterClrMapping/>
  </p:clrMapOvr>
  <p:transition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5C1B3E-3EAE-4475-942F-88C4575C71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628" y="466302"/>
            <a:ext cx="4011087" cy="1632056"/>
          </a:xfrm>
        </p:spPr>
        <p:txBody>
          <a:bodyPr anchor="b"/>
          <a:lstStyle>
            <a:lvl1pPr>
              <a:defRPr sz="3264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ED62568-BB66-4B33-A8A9-3AD155E8B9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87122" y="1007083"/>
            <a:ext cx="6295965" cy="4970646"/>
          </a:xfrm>
        </p:spPr>
        <p:txBody>
          <a:bodyPr/>
          <a:lstStyle>
            <a:lvl1pPr>
              <a:defRPr sz="3264"/>
            </a:lvl1pPr>
            <a:lvl2pPr>
              <a:defRPr sz="2856"/>
            </a:lvl2pPr>
            <a:lvl3pPr>
              <a:defRPr sz="2448"/>
            </a:lvl3pPr>
            <a:lvl4pPr>
              <a:defRPr sz="2040"/>
            </a:lvl4pPr>
            <a:lvl5pPr>
              <a:defRPr sz="2040"/>
            </a:lvl5pPr>
            <a:lvl6pPr>
              <a:defRPr sz="2040"/>
            </a:lvl6pPr>
            <a:lvl7pPr>
              <a:defRPr sz="2040"/>
            </a:lvl7pPr>
            <a:lvl8pPr>
              <a:defRPr sz="2040"/>
            </a:lvl8pPr>
            <a:lvl9pPr>
              <a:defRPr sz="204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6239593-5B70-47F8-8EEA-BC603AFFEB5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56628" y="2098357"/>
            <a:ext cx="4011087" cy="3887467"/>
          </a:xfrm>
        </p:spPr>
        <p:txBody>
          <a:bodyPr/>
          <a:lstStyle>
            <a:lvl1pPr marL="0" indent="0">
              <a:buNone/>
              <a:defRPr sz="1632"/>
            </a:lvl1pPr>
            <a:lvl2pPr marL="466298" indent="0">
              <a:buNone/>
              <a:defRPr sz="1428"/>
            </a:lvl2pPr>
            <a:lvl3pPr marL="932597" indent="0">
              <a:buNone/>
              <a:defRPr sz="1224"/>
            </a:lvl3pPr>
            <a:lvl4pPr marL="1398895" indent="0">
              <a:buNone/>
              <a:defRPr sz="1020"/>
            </a:lvl4pPr>
            <a:lvl5pPr marL="1865193" indent="0">
              <a:buNone/>
              <a:defRPr sz="1020"/>
            </a:lvl5pPr>
            <a:lvl6pPr marL="2331491" indent="0">
              <a:buNone/>
              <a:defRPr sz="1020"/>
            </a:lvl6pPr>
            <a:lvl7pPr marL="2797790" indent="0">
              <a:buNone/>
              <a:defRPr sz="1020"/>
            </a:lvl7pPr>
            <a:lvl8pPr marL="3264088" indent="0">
              <a:buNone/>
              <a:defRPr sz="1020"/>
            </a:lvl8pPr>
            <a:lvl9pPr marL="3730386" indent="0">
              <a:buNone/>
              <a:defRPr sz="102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6EE2A9-9E26-4A62-92CE-BD717B7749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FDBAD4-3189-41EB-9AF6-F76065F2104E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F9A48A8-F44E-460F-882A-E489A6B847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0CFC16-2D98-448B-A14B-A1F258454E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2E0C4-5B8C-4F8F-BDB9-A952EB01EADD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65668570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AB4F14-0F36-4941-B811-156B41CB16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628" y="466302"/>
            <a:ext cx="4011087" cy="1632056"/>
          </a:xfrm>
        </p:spPr>
        <p:txBody>
          <a:bodyPr anchor="b"/>
          <a:lstStyle>
            <a:lvl1pPr>
              <a:defRPr sz="3264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F7D1703-40D6-446D-AB13-C54E531A89C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287122" y="1007083"/>
            <a:ext cx="6295965" cy="4970646"/>
          </a:xfrm>
        </p:spPr>
        <p:txBody>
          <a:bodyPr/>
          <a:lstStyle>
            <a:lvl1pPr marL="0" indent="0">
              <a:buNone/>
              <a:defRPr sz="3264"/>
            </a:lvl1pPr>
            <a:lvl2pPr marL="466298" indent="0">
              <a:buNone/>
              <a:defRPr sz="2856"/>
            </a:lvl2pPr>
            <a:lvl3pPr marL="932597" indent="0">
              <a:buNone/>
              <a:defRPr sz="2448"/>
            </a:lvl3pPr>
            <a:lvl4pPr marL="1398895" indent="0">
              <a:buNone/>
              <a:defRPr sz="2040"/>
            </a:lvl4pPr>
            <a:lvl5pPr marL="1865193" indent="0">
              <a:buNone/>
              <a:defRPr sz="2040"/>
            </a:lvl5pPr>
            <a:lvl6pPr marL="2331491" indent="0">
              <a:buNone/>
              <a:defRPr sz="2040"/>
            </a:lvl6pPr>
            <a:lvl7pPr marL="2797790" indent="0">
              <a:buNone/>
              <a:defRPr sz="2040"/>
            </a:lvl7pPr>
            <a:lvl8pPr marL="3264088" indent="0">
              <a:buNone/>
              <a:defRPr sz="2040"/>
            </a:lvl8pPr>
            <a:lvl9pPr marL="3730386" indent="0">
              <a:buNone/>
              <a:defRPr sz="2040"/>
            </a:lvl9pPr>
          </a:lstStyle>
          <a:p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C33AA22-FCF4-49A2-A10F-31185333DBC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56628" y="2098357"/>
            <a:ext cx="4011087" cy="3887467"/>
          </a:xfrm>
        </p:spPr>
        <p:txBody>
          <a:bodyPr/>
          <a:lstStyle>
            <a:lvl1pPr marL="0" indent="0">
              <a:buNone/>
              <a:defRPr sz="1632"/>
            </a:lvl1pPr>
            <a:lvl2pPr marL="466298" indent="0">
              <a:buNone/>
              <a:defRPr sz="1428"/>
            </a:lvl2pPr>
            <a:lvl3pPr marL="932597" indent="0">
              <a:buNone/>
              <a:defRPr sz="1224"/>
            </a:lvl3pPr>
            <a:lvl4pPr marL="1398895" indent="0">
              <a:buNone/>
              <a:defRPr sz="1020"/>
            </a:lvl4pPr>
            <a:lvl5pPr marL="1865193" indent="0">
              <a:buNone/>
              <a:defRPr sz="1020"/>
            </a:lvl5pPr>
            <a:lvl6pPr marL="2331491" indent="0">
              <a:buNone/>
              <a:defRPr sz="1020"/>
            </a:lvl6pPr>
            <a:lvl7pPr marL="2797790" indent="0">
              <a:buNone/>
              <a:defRPr sz="1020"/>
            </a:lvl7pPr>
            <a:lvl8pPr marL="3264088" indent="0">
              <a:buNone/>
              <a:defRPr sz="1020"/>
            </a:lvl8pPr>
            <a:lvl9pPr marL="3730386" indent="0">
              <a:buNone/>
              <a:defRPr sz="102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134CC49-C1D6-4B8A-A967-E739303F3D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FDBAD4-3189-41EB-9AF6-F76065F2104E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C0983F3-FE7E-4DB4-B111-CCB987B869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038EF1B-7324-4AC0-8A23-1670C187BE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2E0C4-5B8C-4F8F-BDB9-A952EB01EADD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80111554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4CD4A9-56F6-4FEF-97AB-75C7A6F835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B66FFAC-428E-42BE-8F54-08004BEB807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E433A2-B330-4EFF-8CB9-CF69AEF79D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FDBAD4-3189-41EB-9AF6-F76065F2104E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559B7E-DA90-448B-A402-17BBCA679A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92B9D7-5CD7-4FA0-830A-B0DCE6E0F4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2E0C4-5B8C-4F8F-BDB9-A952EB01EADD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94445268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906507D-6102-436F-9020-E94366D64D4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899852" y="372394"/>
            <a:ext cx="2681615" cy="5927537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5A6335A-6E99-42C2-9056-21FE01F17DE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55008" y="372394"/>
            <a:ext cx="7889389" cy="5927537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B2DFDB-C977-4FAD-8EFC-642CE2AB33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FDBAD4-3189-41EB-9AF6-F76065F2104E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7B15EA-0D5F-43E4-A2F8-A32DB4076D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89969B-B0B9-4980-AB2D-017E3985C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2E0C4-5B8C-4F8F-BDB9-A952EB01EADD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881499350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65137" y="3036319"/>
            <a:ext cx="8229599" cy="1828800"/>
          </a:xfrm>
          <a:noFill/>
        </p:spPr>
        <p:txBody>
          <a:bodyPr lIns="0" tIns="91440" rIns="146304" bIns="91440" anchor="b" anchorCtr="0"/>
          <a:lstStyle>
            <a:lvl1pPr>
              <a:defRPr sz="5400" strike="noStrike" spc="-147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Office 365 presentation title or 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72032" y="4830765"/>
            <a:ext cx="8527440" cy="730183"/>
          </a:xfrm>
          <a:noFill/>
        </p:spPr>
        <p:txBody>
          <a:bodyPr lIns="0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2000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Autahor</a:t>
            </a:r>
            <a:r>
              <a:rPr lang="en-US"/>
              <a:t>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64" name="MS logo gray - E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65141" y="449267"/>
            <a:ext cx="1206257" cy="258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47023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mo slide">
    <p:bg>
      <p:bgPr>
        <a:solidFill>
          <a:srgbClr val="06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10058401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8337591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Section Title Accent Color 1">
    <p:bg>
      <p:bgPr>
        <a:solidFill>
          <a:srgbClr val="4423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80571" y="1346590"/>
            <a:ext cx="12128721" cy="1859280"/>
          </a:xfrm>
          <a:noFill/>
        </p:spPr>
        <p:txBody>
          <a:bodyPr lIns="137160" tIns="137160" rIns="137160" bIns="137160" anchor="t" anchorCtr="0"/>
          <a:lstStyle>
            <a:lvl1pPr>
              <a:defRPr sz="8769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5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434775" y="2894799"/>
            <a:ext cx="6064361" cy="2642376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4181" indent="-194181">
              <a:lnSpc>
                <a:spcPct val="80000"/>
              </a:lnSpc>
              <a:buNone/>
              <a:defRPr lang="en-US" sz="204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10954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672537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88713" y="1166837"/>
            <a:ext cx="10571004" cy="1592117"/>
          </a:xfrm>
        </p:spPr>
        <p:txBody>
          <a:bodyPr/>
          <a:lstStyle>
            <a:lvl1pPr>
              <a:defRPr lang="en-US" sz="4896" kern="1200" smtClean="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84244" y="2758955"/>
            <a:ext cx="10572723" cy="887267"/>
          </a:xfrm>
        </p:spPr>
        <p:txBody>
          <a:bodyPr>
            <a:normAutofit/>
          </a:bodyPr>
          <a:lstStyle>
            <a:lvl1pPr marL="0" indent="0" algn="l">
              <a:buNone/>
              <a:defRPr lang="en-US" sz="3398" kern="1200" smtClean="0">
                <a:solidFill>
                  <a:srgbClr val="4D4D4D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  <a:lvl2pPr marL="6215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431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64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863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1079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7295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3511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9727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1791" y="6592441"/>
            <a:ext cx="3618195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96">
                <a:solidFill>
                  <a:schemeClr val="bg1"/>
                </a:solidFill>
                <a:latin typeface="Segoe UI Light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defTabSz="932563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994619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1220567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1" y="3050675"/>
            <a:ext cx="7315137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0" y="5758901"/>
            <a:ext cx="12435840" cy="1235624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3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62280" y="6209084"/>
            <a:ext cx="1456418" cy="310896"/>
          </a:xfrm>
          <a:prstGeom prst="rect">
            <a:avLst/>
          </a:prstGeom>
        </p:spPr>
      </p:pic>
      <p:pic>
        <p:nvPicPr>
          <p:cNvPr id="6" name="Picture 5" descr="Decorative: Picture of Peter Frem">
            <a:extLst>
              <a:ext uri="{FF2B5EF4-FFF2-40B4-BE49-F238E27FC236}">
                <a16:creationId xmlns:a16="http://schemas.microsoft.com/office/drawing/2014/main" id="{75372531-CDFA-4955-875D-C7798A11E76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68350" y="3192462"/>
            <a:ext cx="1371600" cy="1371600"/>
          </a:xfrm>
          <a:prstGeom prst="rect">
            <a:avLst/>
          </a:prstGeom>
        </p:spPr>
      </p:pic>
      <p:pic>
        <p:nvPicPr>
          <p:cNvPr id="10" name="Picture 9" descr="Decorative: Picture of Karen McCall">
            <a:extLst>
              <a:ext uri="{FF2B5EF4-FFF2-40B4-BE49-F238E27FC236}">
                <a16:creationId xmlns:a16="http://schemas.microsoft.com/office/drawing/2014/main" id="{FAAC9C0B-BC91-4FEC-A0C8-984ACD21053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192225" y="3192462"/>
            <a:ext cx="1371600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8778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8787" cy="2308324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06734786"/>
      </p:ext>
    </p:extLst>
  </p:cSld>
  <p:clrMapOvr>
    <a:masterClrMapping/>
  </p:clrMapOvr>
  <p:transition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702" y="1211287"/>
            <a:ext cx="11888787" cy="54848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76987510"/>
      </p:ext>
    </p:extLst>
  </p:cSld>
  <p:clrMapOvr>
    <a:masterClrMapping/>
  </p:clrMapOvr>
  <p:transition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3000" b="0">
                <a:latin typeface="+mn-lt"/>
              </a:defRPr>
            </a:lvl1pPr>
            <a:lvl2pPr marL="255588" indent="0">
              <a:buFont typeface="Wingdings" panose="05000000000000000000" pitchFamily="2" charset="2"/>
              <a:buNone/>
              <a:defRPr sz="2400" b="0"/>
            </a:lvl2pPr>
            <a:lvl3pPr marL="450850" indent="0">
              <a:buFont typeface="Wingdings" panose="05000000000000000000" pitchFamily="2" charset="2"/>
              <a:buNone/>
              <a:tabLst/>
              <a:defRPr sz="2200" b="0"/>
            </a:lvl3pPr>
            <a:lvl4pPr marL="652462" indent="0">
              <a:buFont typeface="Wingdings" panose="05000000000000000000" pitchFamily="2" charset="2"/>
              <a:buNone/>
              <a:defRPr sz="2200" b="0"/>
            </a:lvl4pPr>
            <a:lvl5pPr marL="854075" indent="0">
              <a:buFont typeface="Wingdings" panose="05000000000000000000" pitchFamily="2" charset="2"/>
              <a:buNone/>
              <a:tabLst/>
              <a:defRPr sz="22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5588" indent="0">
              <a:buFont typeface="Arial" panose="020B0604020202020204" pitchFamily="34" charset="0"/>
              <a:buNone/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0850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52462" indent="0">
              <a:buFont typeface="Arial" panose="020B0604020202020204" pitchFamily="34" charset="0"/>
              <a:buNone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54075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14350" marR="0" lvl="0" indent="-514350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Click to edit Master text styles</a:t>
            </a:r>
          </a:p>
          <a:p>
            <a:pPr marL="712788" marR="0" lvl="1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/>
              <a:t>Second level</a:t>
            </a:r>
          </a:p>
          <a:p>
            <a:pPr marL="908050" marR="0" lvl="2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/>
              <a:t>Third level</a:t>
            </a:r>
          </a:p>
          <a:p>
            <a:pPr marL="1109662" marR="0" lvl="3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/>
              <a:t>Fourth level</a:t>
            </a:r>
          </a:p>
          <a:p>
            <a:pPr marL="1311275" marR="0" lvl="4" indent="-4572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7011772"/>
      </p:ext>
    </p:extLst>
  </p:cSld>
  <p:clrMapOvr>
    <a:masterClrMapping/>
  </p:clrMapOvr>
  <p:transition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1287"/>
            <a:ext cx="5486399" cy="2157514"/>
          </a:xfrm>
        </p:spPr>
        <p:txBody>
          <a:bodyPr wrap="square">
            <a:spAutoFit/>
          </a:bodyPr>
          <a:lstStyle>
            <a:lvl1pPr marL="231775" indent="-231775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3000" b="0">
                <a:latin typeface="+mn-lt"/>
              </a:defRPr>
            </a:lvl1pPr>
            <a:lvl2pPr marL="427038" indent="-171450">
              <a:buFont typeface="Wingdings" panose="05000000000000000000" pitchFamily="2" charset="2"/>
              <a:buChar char=""/>
              <a:defRPr sz="2400" b="0"/>
            </a:lvl2pPr>
            <a:lvl3pPr marL="639763" indent="-188913">
              <a:buFont typeface="Wingdings" panose="05000000000000000000" pitchFamily="2" charset="2"/>
              <a:buChar char=""/>
              <a:tabLst/>
              <a:defRPr sz="2200" b="0"/>
            </a:lvl3pPr>
            <a:lvl4pPr marL="828675" indent="-176213">
              <a:buFont typeface="Wingdings" panose="05000000000000000000" pitchFamily="2" charset="2"/>
              <a:buChar char=""/>
              <a:defRPr sz="2200" b="0"/>
            </a:lvl4pPr>
            <a:lvl5pPr marL="1023938" indent="-169863">
              <a:buFont typeface="Wingdings" panose="05000000000000000000" pitchFamily="2" charset="2"/>
              <a:buChar char=""/>
              <a:tabLst/>
              <a:defRPr sz="22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23658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98488" indent="-342900"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93750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95362" indent="-342900"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96975" indent="-342900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31775" marR="0" lvl="0" indent="-231775" algn="l" defTabSz="932742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Click to edit Master text styles</a:t>
            </a:r>
          </a:p>
          <a:p>
            <a:pPr marL="427038" marR="0" lvl="1" indent="-17145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639763" marR="0" lvl="2" indent="-18891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828675" marR="0" lvl="3" indent="-17621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1023938" marR="0" lvl="4" indent="-169863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79516866"/>
      </p:ext>
    </p:extLst>
  </p:cSld>
  <p:clrMapOvr>
    <a:masterClrMapping/>
  </p:clrMapOvr>
  <p:transition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47983409"/>
      </p:ext>
    </p:extLst>
  </p:cSld>
  <p:clrMapOvr>
    <a:masterClrMapping/>
  </p:clrMapOvr>
  <p:transition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Evidenc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gradFill>
                  <a:gsLst>
                    <a:gs pos="18584">
                      <a:schemeClr val="tx2"/>
                    </a:gs>
                    <a:gs pos="57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ustomer evidence slid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 bwMode="gray">
          <a:xfrm>
            <a:off x="274638" y="1434069"/>
            <a:ext cx="5486400" cy="1827214"/>
          </a:xfrm>
          <a:blipFill>
            <a:blip r:embed="rId2"/>
            <a:stretch>
              <a:fillRect/>
            </a:stretch>
          </a:blipFill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lang="en-US" sz="2400" kern="1200" spc="0" baseline="0" dirty="0">
                <a:noFill/>
                <a:latin typeface="+mn-lt"/>
                <a:ea typeface="+mn-ea"/>
                <a:cs typeface="+mn-cs"/>
              </a:defRPr>
            </a:lvl1pPr>
            <a:lvl2pPr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endParaRPr lang="en-US"/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6218237" y="4868863"/>
            <a:ext cx="5945966" cy="182880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82880" tIns="146304" rIns="182880" bIns="146304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</a:endParaRP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218237" y="1434069"/>
            <a:ext cx="5943601" cy="3433208"/>
          </a:xfrm>
          <a:blipFill>
            <a:blip r:embed="rId3"/>
            <a:stretch>
              <a:fillRect/>
            </a:stretch>
          </a:blipFill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algn="ctr"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Your image her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989638" y="1836883"/>
            <a:ext cx="0" cy="4754828"/>
          </a:xfrm>
          <a:prstGeom prst="line">
            <a:avLst/>
          </a:prstGeom>
          <a:ln w="3175">
            <a:solidFill>
              <a:schemeClr val="tx1">
                <a:alpha val="2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274638" y="3260725"/>
            <a:ext cx="5486400" cy="3436938"/>
          </a:xfrm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sz="2400"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6218238" y="4868863"/>
            <a:ext cx="5943600" cy="1827214"/>
          </a:xfrm>
        </p:spPr>
        <p:txBody>
          <a:bodyPr lIns="182880" tIns="146304" rIns="182880" bIns="146304" anchor="ctr">
            <a:noAutofit/>
          </a:bodyPr>
          <a:lstStyle>
            <a:lvl1pPr marL="0" indent="0" algn="ctr">
              <a:buNone/>
              <a:defRPr sz="3200">
                <a:gradFill>
                  <a:gsLst>
                    <a:gs pos="27434">
                      <a:srgbClr val="FFFFFF"/>
                    </a:gs>
                    <a:gs pos="54000">
                      <a:srgbClr val="FFFFFF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160194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10058401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15055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200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6515011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850191131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M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53535" y="207247"/>
            <a:ext cx="11513455" cy="550901"/>
          </a:xfrm>
        </p:spPr>
        <p:txBody>
          <a:bodyPr/>
          <a:lstStyle>
            <a:lvl1pPr algn="l">
              <a:defRPr sz="5302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53550" y="1321195"/>
            <a:ext cx="11525858" cy="443220"/>
          </a:xfrm>
          <a:prstGeom prst="rect">
            <a:avLst/>
          </a:prstGeom>
        </p:spPr>
        <p:txBody>
          <a:bodyPr vert="horz" lIns="0" tIns="50083" rIns="0" bIns="50083"/>
          <a:lstStyle>
            <a:lvl1pPr marL="0" indent="0">
              <a:lnSpc>
                <a:spcPts val="3533"/>
              </a:lnSpc>
              <a:spcBef>
                <a:spcPts val="0"/>
              </a:spcBef>
              <a:spcAft>
                <a:spcPts val="3264"/>
              </a:spcAft>
              <a:buFontTx/>
              <a:buNone/>
              <a:defRPr sz="3264" b="0" spc="-109" baseline="0">
                <a:solidFill>
                  <a:schemeClr val="tx2"/>
                </a:solidFill>
                <a:latin typeface="Arial"/>
              </a:defRPr>
            </a:lvl1pPr>
            <a:lvl2pPr marL="407699" indent="0">
              <a:lnSpc>
                <a:spcPts val="2448"/>
              </a:lnSpc>
              <a:spcBef>
                <a:spcPts val="0"/>
              </a:spcBef>
              <a:spcAft>
                <a:spcPts val="1632"/>
              </a:spcAft>
              <a:buFont typeface="Arial"/>
              <a:buNone/>
              <a:defRPr sz="2174" b="0" spc="-162">
                <a:solidFill>
                  <a:schemeClr val="tx2"/>
                </a:solidFill>
                <a:latin typeface="Arial"/>
              </a:defRPr>
            </a:lvl2pPr>
            <a:lvl3pPr marL="813239" indent="0">
              <a:lnSpc>
                <a:spcPts val="2990"/>
              </a:lnSpc>
              <a:spcBef>
                <a:spcPts val="0"/>
              </a:spcBef>
              <a:spcAft>
                <a:spcPts val="1632"/>
              </a:spcAft>
              <a:buFont typeface="Arial"/>
              <a:buNone/>
              <a:defRPr sz="2719" b="0" spc="-162">
                <a:solidFill>
                  <a:schemeClr val="tx2"/>
                </a:solidFill>
                <a:latin typeface="Arial"/>
              </a:defRPr>
            </a:lvl3pPr>
            <a:lvl4pPr marL="1220921" indent="0">
              <a:lnSpc>
                <a:spcPts val="2990"/>
              </a:lnSpc>
              <a:spcBef>
                <a:spcPts val="0"/>
              </a:spcBef>
              <a:spcAft>
                <a:spcPts val="1632"/>
              </a:spcAft>
              <a:buFont typeface="Arial"/>
              <a:buNone/>
              <a:defRPr sz="2719" b="0" spc="-162">
                <a:solidFill>
                  <a:schemeClr val="tx2"/>
                </a:solidFill>
                <a:latin typeface="Arial"/>
              </a:defRPr>
            </a:lvl4pPr>
            <a:lvl5pPr marL="1626453" indent="0">
              <a:lnSpc>
                <a:spcPts val="2990"/>
              </a:lnSpc>
              <a:spcBef>
                <a:spcPts val="0"/>
              </a:spcBef>
              <a:spcAft>
                <a:spcPts val="1632"/>
              </a:spcAft>
              <a:buFont typeface="Arial"/>
              <a:buNone/>
              <a:defRPr sz="2719" b="0" spc="-162">
                <a:solidFill>
                  <a:schemeClr val="tx2"/>
                </a:solidFill>
                <a:latin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>
          <a:xfrm>
            <a:off x="5093" y="6592441"/>
            <a:ext cx="3618195" cy="372394"/>
          </a:xfrm>
          <a:prstGeom prst="rect">
            <a:avLst/>
          </a:prstGeom>
        </p:spPr>
        <p:txBody>
          <a:bodyPr/>
          <a:lstStyle>
            <a:lvl1pPr>
              <a:defRPr b="1"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defTabSz="932563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3310593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7729053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740132"/>
            <a:ext cx="4892040" cy="1514261"/>
          </a:xfrm>
        </p:spPr>
        <p:txBody>
          <a:bodyPr wrap="square" anchor="ctr">
            <a:spAutoFit/>
          </a:bodyPr>
          <a:lstStyle>
            <a:lvl1pPr>
              <a:defRPr sz="48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441315" y="0"/>
            <a:ext cx="6995160" cy="69925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0725557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alu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20969" y="295274"/>
            <a:ext cx="7043233" cy="917575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120970" y="4868863"/>
            <a:ext cx="7042456" cy="1828800"/>
          </a:xfrm>
        </p:spPr>
        <p:txBody>
          <a:bodyPr wrap="square">
            <a:noAutofit/>
          </a:bodyPr>
          <a:lstStyle>
            <a:lvl1pPr marL="0" indent="0">
              <a:spcBef>
                <a:spcPts val="1800"/>
              </a:spcBef>
              <a:buNone/>
              <a:defRPr sz="2000">
                <a:latin typeface="+mn-lt"/>
              </a:defRPr>
            </a:lvl1pPr>
            <a:lvl2pPr marL="2286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5" name="Picture 4" descr="Image of Ignite app on a Windows Device." title="Ignite event image">
            <a:extLst>
              <a:ext uri="{FF2B5EF4-FFF2-40B4-BE49-F238E27FC236}">
                <a16:creationId xmlns:a16="http://schemas.microsoft.com/office/drawing/2014/main" id="{E803C22C-E970-4ADA-A60C-5127C1C2C1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7119" r="5881"/>
          <a:stretch/>
        </p:blipFill>
        <p:spPr>
          <a:xfrm>
            <a:off x="0" y="-1"/>
            <a:ext cx="4925696" cy="6995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6167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65830294"/>
      </p:ext>
    </p:extLst>
  </p:cSld>
  <p:clrMapOvr>
    <a:masterClrMapping/>
  </p:clrMapOvr>
  <p:transition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73379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71376531"/>
      </p:ext>
    </p:extLst>
  </p:cSld>
  <p:clrMapOvr>
    <a:masterClrMapping/>
  </p:clrMapOvr>
  <p:transition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82880" rIns="182880" bIns="182880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invGray">
          <a:xfrm>
            <a:off x="464013" y="479425"/>
            <a:ext cx="1436313" cy="306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82179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60986865"/>
      </p:ext>
    </p:extLst>
  </p:cSld>
  <p:clrMapOvr>
    <a:masterClrMapping/>
  </p:clrMapOvr>
  <p:transition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A121271-FA95-4DD0-9359-064F0EC092C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92967" y="1363662"/>
            <a:ext cx="11871236" cy="1058751"/>
          </a:xfrm>
        </p:spPr>
        <p:txBody>
          <a:bodyPr/>
          <a:lstStyle>
            <a:lvl1pPr>
              <a:defRPr sz="2400">
                <a:solidFill>
                  <a:schemeClr val="tx1">
                    <a:lumMod val="7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75000"/>
                  </a:schemeClr>
                </a:solidFill>
              </a:defRPr>
            </a:lvl2pPr>
            <a:lvl3pPr>
              <a:defRPr sz="1400">
                <a:solidFill>
                  <a:schemeClr val="tx1">
                    <a:lumMod val="75000"/>
                  </a:schemeClr>
                </a:solidFill>
              </a:defRPr>
            </a:lvl3pPr>
            <a:lvl4pPr>
              <a:defRPr sz="1400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400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073937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hapte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7" y="0"/>
            <a:ext cx="12436488" cy="699452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362325" y="1561932"/>
            <a:ext cx="5711825" cy="139223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en-US" sz="5400" b="0" kern="1200" cap="none" spc="20" baseline="0" dirty="0">
                <a:ln w="3175">
                  <a:noFill/>
                </a:ln>
                <a:solidFill>
                  <a:schemeClr val="bg1"/>
                </a:solidFill>
                <a:effectLst/>
                <a:latin typeface="Segoe UI Light" charset="0"/>
                <a:ea typeface="Segoe UI Light" charset="0"/>
                <a:cs typeface="Segoe UI Light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3362325" y="3133726"/>
            <a:ext cx="5711825" cy="36353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en-US" sz="2000" kern="1200" spc="0" dirty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907738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91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524816" y="6622133"/>
            <a:ext cx="2798207" cy="372394"/>
          </a:xfrm>
          <a:prstGeom prst="rect">
            <a:avLst/>
          </a:prstGeom>
        </p:spPr>
        <p:txBody>
          <a:bodyPr/>
          <a:lstStyle/>
          <a:p>
            <a:pPr defTabSz="932563">
              <a:defRPr/>
            </a:pPr>
            <a:fld id="{237D5375-2D30-4F19-958F-72D350882BE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32563"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6105800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+imag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034348" y="4756092"/>
            <a:ext cx="3582987" cy="10937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4200" b="0" kern="1200" cap="none" spc="20" baseline="0">
                <a:ln w="3175">
                  <a:noFill/>
                </a:ln>
                <a:solidFill>
                  <a:srgbClr val="2D75BD"/>
                </a:solidFill>
                <a:effectLst/>
                <a:latin typeface="Segoe UI Light" charset="0"/>
                <a:ea typeface="Segoe UI Light" charset="0"/>
                <a:cs typeface="Segoe UI Light" charset="0"/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104099" y="4516444"/>
            <a:ext cx="3103198" cy="18129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160"/>
              </a:lnSpc>
              <a:buNone/>
              <a:defRPr lang="en-US" sz="1300" kern="1200" dirty="0" smtClean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466298" indent="0">
              <a:buNone/>
              <a:defRPr lang="en-US" sz="1300" kern="1200" dirty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436475" cy="377983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8499188" y="4516444"/>
            <a:ext cx="3103198" cy="18129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160"/>
              </a:lnSpc>
              <a:buNone/>
              <a:defRPr lang="en-US" sz="1300" kern="1200" dirty="0" smtClean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466298" indent="0">
              <a:buNone/>
              <a:defRPr lang="en-US" sz="1300" kern="1200" dirty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56777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41">
          <p15:clr>
            <a:srgbClr val="FBAE40"/>
          </p15:clr>
        </p15:guide>
        <p15:guide id="3" pos="4017">
          <p15:clr>
            <a:srgbClr val="FBAE40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+imag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-14063" y="0"/>
            <a:ext cx="6823076" cy="69945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7548563" y="821601"/>
            <a:ext cx="4029075" cy="11239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4440"/>
              </a:lnSpc>
              <a:buNone/>
              <a:defRPr lang="en-US" sz="4200" b="1" kern="1200" cap="none" spc="20" baseline="0">
                <a:ln w="3175">
                  <a:noFill/>
                </a:ln>
                <a:solidFill>
                  <a:srgbClr val="2E75BC"/>
                </a:solidFill>
                <a:effectLst/>
                <a:latin typeface="Segoe UI Light" charset="0"/>
                <a:ea typeface="Segoe UI Light" charset="0"/>
                <a:cs typeface="Segoe UI Light" charset="0"/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/>
          </p:nvPr>
        </p:nvSpPr>
        <p:spPr>
          <a:xfrm>
            <a:off x="7548562" y="2312988"/>
            <a:ext cx="4029075" cy="39379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lang="en-US" sz="1300" kern="1200" dirty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 sz="1300">
              <a:solidFill>
                <a:schemeClr val="tx1"/>
              </a:solidFill>
              <a:latin typeface="Segoe UI Light" charset="0"/>
              <a:ea typeface="Segoe UI Light" charset="0"/>
              <a:cs typeface="Segoe UI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4682757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+imag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327645" y="821601"/>
            <a:ext cx="4029075" cy="11239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4440"/>
              </a:lnSpc>
              <a:buNone/>
              <a:defRPr lang="en-US" sz="4200" b="1" kern="1200" cap="none" spc="20" baseline="0">
                <a:ln w="3175">
                  <a:noFill/>
                </a:ln>
                <a:solidFill>
                  <a:srgbClr val="2E75BC"/>
                </a:solidFill>
                <a:effectLst/>
                <a:latin typeface="Segoe UI Light" charset="0"/>
                <a:ea typeface="Segoe UI Light" charset="0"/>
                <a:cs typeface="Segoe UI Light" charset="0"/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4" name="Text Placeholder 12"/>
          <p:cNvSpPr>
            <a:spLocks noGrp="1"/>
          </p:cNvSpPr>
          <p:nvPr>
            <p:ph type="body" sz="quarter" idx="12"/>
          </p:nvPr>
        </p:nvSpPr>
        <p:spPr>
          <a:xfrm>
            <a:off x="1327644" y="2312988"/>
            <a:ext cx="4029075" cy="39379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lang="en-US" sz="1300" kern="1200" dirty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 sz="1300">
              <a:solidFill>
                <a:schemeClr val="tx1"/>
              </a:solidFill>
              <a:latin typeface="Segoe UI Light" charset="0"/>
              <a:ea typeface="Segoe UI Light" charset="0"/>
              <a:cs typeface="Segoe UI Light" charset="0"/>
            </a:endParaRP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6509905" y="742950"/>
            <a:ext cx="2670175" cy="1336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6509904" y="2160588"/>
            <a:ext cx="2670175" cy="24368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5"/>
          </p:nvPr>
        </p:nvSpPr>
        <p:spPr>
          <a:xfrm>
            <a:off x="6509903" y="4692650"/>
            <a:ext cx="2670175" cy="17811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6" name="Picture Placeholder 14"/>
          <p:cNvSpPr>
            <a:spLocks noGrp="1"/>
          </p:cNvSpPr>
          <p:nvPr>
            <p:ph type="pic" sz="quarter" idx="16"/>
          </p:nvPr>
        </p:nvSpPr>
        <p:spPr>
          <a:xfrm>
            <a:off x="9283346" y="4692650"/>
            <a:ext cx="2515629" cy="17811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7" name="Picture Placeholder 14"/>
          <p:cNvSpPr>
            <a:spLocks noGrp="1"/>
          </p:cNvSpPr>
          <p:nvPr>
            <p:ph type="pic" sz="quarter" idx="17"/>
          </p:nvPr>
        </p:nvSpPr>
        <p:spPr>
          <a:xfrm>
            <a:off x="9283346" y="742951"/>
            <a:ext cx="2515629" cy="3853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9540558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+image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5366479" y="0"/>
            <a:ext cx="7069995" cy="69945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2"/>
          </p:nvPr>
        </p:nvSpPr>
        <p:spPr>
          <a:xfrm>
            <a:off x="675404" y="2477880"/>
            <a:ext cx="4029075" cy="39379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lang="en-US" sz="1300" kern="1200" dirty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 sz="1300">
              <a:solidFill>
                <a:schemeClr val="tx1"/>
              </a:solidFill>
              <a:latin typeface="Segoe UI Light" charset="0"/>
              <a:ea typeface="Segoe UI Light" charset="0"/>
              <a:cs typeface="Segoe UI Light" charset="0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74688" y="739790"/>
            <a:ext cx="4029075" cy="15446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3200" b="0" kern="1200" cap="none" spc="20" baseline="0">
                <a:ln w="3175">
                  <a:noFill/>
                </a:ln>
                <a:solidFill>
                  <a:srgbClr val="2D75BD"/>
                </a:solidFill>
                <a:effectLst/>
                <a:latin typeface="Segoe UI Light" charset="0"/>
                <a:ea typeface="Segoe UI Light" charset="0"/>
                <a:cs typeface="Segoe UI Light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65125488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3"/>
            <a:ext cx="12434704" cy="6994520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74638" y="2119164"/>
            <a:ext cx="6400800" cy="3664099"/>
          </a:xfrm>
          <a:prstGeom prst="rect">
            <a:avLst/>
          </a:prstGeom>
          <a:solidFill>
            <a:srgbClr val="002050">
              <a:alpha val="9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2" y="2119178"/>
            <a:ext cx="6402388" cy="1828800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6402388" cy="1828800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99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 bwMode="gray">
          <a:xfrm>
            <a:off x="457519" y="495482"/>
            <a:ext cx="1681413" cy="360979"/>
            <a:chOff x="457200" y="1643393"/>
            <a:chExt cx="4492753" cy="964540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 bwMode="gray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1" name="Freeform 12"/>
            <p:cNvSpPr>
              <a:spLocks noEditPoints="1"/>
            </p:cNvSpPr>
            <p:nvPr/>
          </p:nvSpPr>
          <p:spPr bwMode="gray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76767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3240116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2" y="3955786"/>
            <a:ext cx="7315137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 bwMode="gray">
          <a:xfrm>
            <a:off x="457519" y="6154122"/>
            <a:ext cx="1681413" cy="360979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 bwMode="gray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gray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2829303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6877625"/>
      </p:ext>
    </p:extLst>
  </p:cSld>
  <p:clrMapOvr>
    <a:masterClrMapping/>
  </p:clrMapOvr>
  <p:transition>
    <p:fad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>
            <a:spAutoFit/>
          </a:bodyPr>
          <a:lstStyle>
            <a:lvl1pPr>
              <a:defRPr sz="3599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53328294"/>
      </p:ext>
    </p:extLst>
  </p:cSld>
  <p:clrMapOvr>
    <a:masterClrMapping/>
  </p:clrMapOvr>
  <p:transition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46033315"/>
      </p:ext>
    </p:extLst>
  </p:cSld>
  <p:clrMapOvr>
    <a:masterClrMapping/>
  </p:clrMapOvr>
  <p:transition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55516990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2">
    <p:bg>
      <p:bgPr>
        <a:solidFill>
          <a:srgbClr val="0020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>
          <a:xfrm>
            <a:off x="1036377" y="2668285"/>
            <a:ext cx="11125464" cy="1544128"/>
          </a:xfrm>
          <a:noFill/>
        </p:spPr>
        <p:txBody>
          <a:bodyPr tIns="91432" bIns="91432" anchor="t" anchorCtr="0"/>
          <a:lstStyle>
            <a:lvl1pPr>
              <a:defRPr sz="9787" spc="-136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0059579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87903674"/>
      </p:ext>
    </p:extLst>
  </p:cSld>
  <p:clrMapOvr>
    <a:masterClrMapping/>
  </p:clrMapOvr>
  <p:transition>
    <p:fad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4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9" y="3954463"/>
            <a:ext cx="10058401" cy="7940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59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44429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4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198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130043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135116905"/>
      </p:ext>
    </p:extLst>
  </p:cSld>
  <p:clrMapOvr>
    <a:masterClrMapping/>
  </p:clrMapOvr>
  <p:transition>
    <p:fad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546416920"/>
      </p:ext>
    </p:extLst>
  </p:cSld>
  <p:clrMapOvr>
    <a:masterClrMapping/>
  </p:clrMapOvr>
  <p:transition>
    <p:fad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161624773"/>
      </p:ext>
    </p:extLst>
  </p:cSld>
  <p:clrMapOvr>
    <a:masterClrMapping/>
  </p:clrMapOvr>
  <p:transition>
    <p:fade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392398180"/>
      </p:ext>
    </p:extLst>
  </p:cSld>
  <p:clrMapOvr>
    <a:masterClrMapping/>
  </p:clrMapOvr>
  <p:transition>
    <p:fad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40" y="1241426"/>
            <a:ext cx="5486399" cy="2012859"/>
          </a:xfrm>
        </p:spPr>
        <p:txBody>
          <a:bodyPr>
            <a:spAutoFit/>
          </a:bodyPr>
          <a:lstStyle>
            <a:lvl1pPr>
              <a:defRPr sz="659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9825" y="0"/>
            <a:ext cx="6216650" cy="6992587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99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15960416"/>
      </p:ext>
    </p:extLst>
  </p:cSld>
  <p:clrMapOvr>
    <a:masterClrMapping/>
  </p:clrMapOvr>
  <p:transition>
    <p:fade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33156035"/>
      </p:ext>
    </p:extLst>
  </p:cSld>
  <p:clrMapOvr>
    <a:masterClrMapping/>
  </p:clrMapOvr>
  <p:transition>
    <p:fade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35984448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hoto &amp; Text Spli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7" y="1526645"/>
            <a:ext cx="3855307" cy="2400657"/>
          </a:xfrm>
          <a:solidFill>
            <a:schemeClr val="bg2">
              <a:lumMod val="85000"/>
            </a:schemeClr>
          </a:solidFill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Drag picture to placeholder or click icon to add 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4272730" y="3318349"/>
            <a:ext cx="7664994" cy="357850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US" sz="2448" dirty="0" smtClean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-1" y="0"/>
            <a:ext cx="3855307" cy="1616512"/>
          </a:xfrm>
          <a:prstGeom prst="rect">
            <a:avLst/>
          </a:prstGeom>
          <a:solidFill>
            <a:srgbClr val="2127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21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209327" y="233152"/>
            <a:ext cx="3410796" cy="772204"/>
          </a:xfrm>
        </p:spPr>
        <p:txBody>
          <a:bodyPr/>
          <a:lstStyle>
            <a:lvl1pPr>
              <a:lnSpc>
                <a:spcPct val="90000"/>
              </a:lnSpc>
              <a:defRPr sz="3805" spc="-136" baseline="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54879981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69186121"/>
      </p:ext>
    </p:extLst>
  </p:cSld>
  <p:clrMapOvr>
    <a:masterClrMapping/>
  </p:clrMapOvr>
  <p:transition>
    <p:fade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24868515"/>
      </p:ext>
    </p:extLst>
  </p:cSld>
  <p:clrMapOvr>
    <a:masterClrMapping/>
  </p:clrMapOvr>
  <p:transition>
    <p:fade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2" tIns="46632" rIns="46632" bIns="46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en-US" sz="18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8"/>
            <a:ext cx="11887199" cy="1995931"/>
          </a:xfrm>
        </p:spPr>
        <p:txBody>
          <a:bodyPr/>
          <a:lstStyle>
            <a:lvl1pPr marL="0" indent="0">
              <a:buNone/>
              <a:defRPr sz="3299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8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40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795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98951768"/>
      </p:ext>
    </p:extLst>
  </p:cSld>
  <p:clrMapOvr>
    <a:masterClrMapping/>
  </p:clrMapOvr>
  <p:transition>
    <p:fade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7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46283" rIns="182854" bIns="146283" numCol="1" anchor="t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</a:t>
            </a:r>
            <a:r>
              <a:rPr lang="en-US" sz="7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 </a:t>
            </a:r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Microsoft Corporation. All rights reserved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0" y="3145041"/>
            <a:ext cx="3288506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6481542"/>
      </p:ext>
    </p:extLst>
  </p:cSld>
  <p:clrMapOvr>
    <a:masterClrMapping/>
  </p:clrMapOvr>
  <p:transition>
    <p:fade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20976083"/>
      </p:ext>
    </p:extLst>
  </p:cSld>
  <p:clrMapOvr>
    <a:masterClrMapping/>
  </p:clrMapOvr>
  <p:transition>
    <p:fade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74639" y="295276"/>
            <a:ext cx="11889564" cy="9175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7989176"/>
      </p:ext>
    </p:extLst>
  </p:cSld>
  <p:clrMapOvr>
    <a:masterClrMapping/>
  </p:clrMapOvr>
  <p:transition>
    <p:fade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639" y="300239"/>
            <a:ext cx="11889564" cy="917575"/>
          </a:xfrm>
        </p:spPr>
        <p:txBody>
          <a:bodyPr/>
          <a:lstStyle>
            <a:lvl1pPr marL="0" algn="l" defTabSz="913877" rtl="0" eaLnBrk="1" latinLnBrk="0" hangingPunct="1">
              <a:spcBef>
                <a:spcPct val="0"/>
              </a:spcBef>
              <a:buNone/>
              <a:defRPr lang="en-US" sz="4398" b="0" i="0" u="none" kern="1200" spc="-150" baseline="0" dirty="0">
                <a:solidFill>
                  <a:schemeClr val="bg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41558227"/>
      </p:ext>
    </p:extLst>
  </p:cSld>
  <p:clrMapOvr>
    <a:masterClrMapping/>
  </p:clrMapOvr>
  <p:transition>
    <p:fade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A0198FC-394D-41E8-9690-FAD7C2C221C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638" y="1333732"/>
            <a:ext cx="5486400" cy="517064"/>
          </a:xfrm>
        </p:spPr>
        <p:txBody>
          <a:bodyPr anchor="ctr"/>
          <a:lstStyle>
            <a:lvl1pPr marL="0" indent="0">
              <a:buNone/>
              <a:defRPr sz="240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4A73FE5-263F-4152-92D4-9F94B78A5486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74639" y="1973261"/>
            <a:ext cx="5486400" cy="1062302"/>
          </a:xfrm>
        </p:spPr>
        <p:txBody>
          <a:bodyPr/>
          <a:lstStyle>
            <a:lvl1pPr>
              <a:defRPr sz="2400"/>
            </a:lvl1pPr>
            <a:lvl2pPr>
              <a:defRPr sz="1800"/>
            </a:lvl2pPr>
            <a:lvl3pPr>
              <a:defRPr sz="1399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884FDE31-0EB7-459F-8E06-A55288BB7DC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77802" y="1333732"/>
            <a:ext cx="5486400" cy="517064"/>
          </a:xfrm>
        </p:spPr>
        <p:txBody>
          <a:bodyPr anchor="ctr"/>
          <a:lstStyle>
            <a:lvl1pPr marL="0" indent="0">
              <a:buNone/>
              <a:defRPr sz="240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287D48BD-52D2-4F3E-9F1E-2E6875DC53D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677803" y="1973261"/>
            <a:ext cx="5486400" cy="1062302"/>
          </a:xfrm>
        </p:spPr>
        <p:txBody>
          <a:bodyPr/>
          <a:lstStyle>
            <a:lvl1pPr>
              <a:defRPr sz="2400"/>
            </a:lvl1pPr>
            <a:lvl2pPr>
              <a:defRPr sz="1800"/>
            </a:lvl2pPr>
            <a:lvl3pPr>
              <a:defRPr sz="1399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4375637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1658197" y="310869"/>
            <a:ext cx="10571004" cy="209288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Rectangle 103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Rectangle 103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#MicrosoftEDU</a:t>
            </a:r>
          </a:p>
        </p:txBody>
      </p:sp>
      <p:sp>
        <p:nvSpPr>
          <p:cNvPr id="5" name="Rectangle 103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D48E5E4-5BB8-4C98-8EF1-BF3C432A2F5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0638775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1824" y="1632058"/>
            <a:ext cx="5492776" cy="1961371"/>
          </a:xfrm>
        </p:spPr>
        <p:txBody>
          <a:bodyPr/>
          <a:lstStyle>
            <a:lvl1pPr>
              <a:defRPr sz="2856"/>
            </a:lvl1pPr>
            <a:lvl2pPr>
              <a:defRPr sz="2448"/>
            </a:lvl2pPr>
            <a:lvl3pPr>
              <a:defRPr sz="2040"/>
            </a:lvl3pPr>
            <a:lvl4pPr>
              <a:defRPr sz="1836"/>
            </a:lvl4pPr>
            <a:lvl5pPr>
              <a:defRPr sz="1836"/>
            </a:lvl5pPr>
            <a:lvl6pPr>
              <a:defRPr sz="1836"/>
            </a:lvl6pPr>
            <a:lvl7pPr>
              <a:defRPr sz="1836"/>
            </a:lvl7pPr>
            <a:lvl8pPr>
              <a:defRPr sz="1836"/>
            </a:lvl8pPr>
            <a:lvl9pPr>
              <a:defRPr sz="183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1875" y="1632058"/>
            <a:ext cx="5492776" cy="1961371"/>
          </a:xfrm>
        </p:spPr>
        <p:txBody>
          <a:bodyPr/>
          <a:lstStyle>
            <a:lvl1pPr>
              <a:defRPr sz="2856"/>
            </a:lvl1pPr>
            <a:lvl2pPr>
              <a:defRPr sz="2448"/>
            </a:lvl2pPr>
            <a:lvl3pPr>
              <a:defRPr sz="2040"/>
            </a:lvl3pPr>
            <a:lvl4pPr>
              <a:defRPr sz="1836"/>
            </a:lvl4pPr>
            <a:lvl5pPr>
              <a:defRPr sz="1836"/>
            </a:lvl5pPr>
            <a:lvl6pPr>
              <a:defRPr sz="1836"/>
            </a:lvl6pPr>
            <a:lvl7pPr>
              <a:defRPr sz="1836"/>
            </a:lvl7pPr>
            <a:lvl8pPr>
              <a:defRPr sz="1836"/>
            </a:lvl8pPr>
            <a:lvl9pPr>
              <a:defRPr sz="183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#MicrosoftEDU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2462F0-19B4-4B2F-A163-7E6F435EAA5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807425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18A917-B8E2-43CC-9C07-ABF9408AB4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1622364-9B67-4A77-97D5-ED83BC8A9E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D42AB4-D0AA-4432-8792-24F71252B5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47F7F1-0E89-4D7B-8516-36A4AC75346A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9FF003-3AB6-4C83-979F-4FDF8A5E77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EFC713-21EE-4FE9-9311-8BAC64B62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792400-19F6-4B13-9EA1-2A330825251F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25231488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783944"/>
      </p:ext>
    </p:extLst>
  </p:cSld>
  <p:clrMapOvr>
    <a:masterClrMapping/>
  </p:clrMapOvr>
  <p:transition>
    <p:fad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6627" y="372395"/>
            <a:ext cx="10726460" cy="135195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6629" y="2031213"/>
            <a:ext cx="5261211" cy="523733"/>
          </a:xfrm>
        </p:spPr>
        <p:txBody>
          <a:bodyPr anchor="b"/>
          <a:lstStyle>
            <a:lvl1pPr marL="0" indent="0">
              <a:buNone/>
              <a:defRPr sz="2448" b="1"/>
            </a:lvl1pPr>
            <a:lvl2pPr marL="466209" indent="0">
              <a:buNone/>
              <a:defRPr sz="2040" b="1"/>
            </a:lvl2pPr>
            <a:lvl3pPr marL="932418" indent="0">
              <a:buNone/>
              <a:defRPr sz="1836" b="1"/>
            </a:lvl3pPr>
            <a:lvl4pPr marL="1398627" indent="0">
              <a:buNone/>
              <a:defRPr sz="1632" b="1"/>
            </a:lvl4pPr>
            <a:lvl5pPr marL="1864835" indent="0">
              <a:buNone/>
              <a:defRPr sz="1632" b="1"/>
            </a:lvl5pPr>
            <a:lvl6pPr marL="2331044" indent="0">
              <a:buNone/>
              <a:defRPr sz="1632" b="1"/>
            </a:lvl6pPr>
            <a:lvl7pPr marL="2797253" indent="0">
              <a:buNone/>
              <a:defRPr sz="1632" b="1"/>
            </a:lvl7pPr>
            <a:lvl8pPr marL="3263461" indent="0">
              <a:buNone/>
              <a:defRPr sz="1632" b="1"/>
            </a:lvl8pPr>
            <a:lvl9pPr marL="3729669" indent="0">
              <a:buNone/>
              <a:defRPr sz="1632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56629" y="2554944"/>
            <a:ext cx="5261211" cy="209288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95965" y="2031213"/>
            <a:ext cx="5287122" cy="523733"/>
          </a:xfrm>
        </p:spPr>
        <p:txBody>
          <a:bodyPr anchor="b"/>
          <a:lstStyle>
            <a:lvl1pPr marL="0" indent="0">
              <a:buNone/>
              <a:defRPr sz="2448" b="1"/>
            </a:lvl1pPr>
            <a:lvl2pPr marL="466209" indent="0">
              <a:buNone/>
              <a:defRPr sz="2040" b="1"/>
            </a:lvl2pPr>
            <a:lvl3pPr marL="932418" indent="0">
              <a:buNone/>
              <a:defRPr sz="1836" b="1"/>
            </a:lvl3pPr>
            <a:lvl4pPr marL="1398627" indent="0">
              <a:buNone/>
              <a:defRPr sz="1632" b="1"/>
            </a:lvl4pPr>
            <a:lvl5pPr marL="1864835" indent="0">
              <a:buNone/>
              <a:defRPr sz="1632" b="1"/>
            </a:lvl5pPr>
            <a:lvl6pPr marL="2331044" indent="0">
              <a:buNone/>
              <a:defRPr sz="1632" b="1"/>
            </a:lvl6pPr>
            <a:lvl7pPr marL="2797253" indent="0">
              <a:buNone/>
              <a:defRPr sz="1632" b="1"/>
            </a:lvl7pPr>
            <a:lvl8pPr marL="3263461" indent="0">
              <a:buNone/>
              <a:defRPr sz="1632" b="1"/>
            </a:lvl8pPr>
            <a:lvl9pPr marL="3729669" indent="0">
              <a:buNone/>
              <a:defRPr sz="1632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95965" y="2554944"/>
            <a:ext cx="5287122" cy="209288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#MicrosoftED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867C20-0979-4380-80DF-20E6792E3B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126172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2-Content w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31282" y="1476622"/>
            <a:ext cx="5504573" cy="4391007"/>
          </a:xfrm>
        </p:spPr>
        <p:txBody>
          <a:bodyPr>
            <a:noAutofit/>
          </a:bodyPr>
          <a:lstStyle>
            <a:lvl1pPr marL="297856" indent="-297856">
              <a:spcBef>
                <a:spcPts val="1224"/>
              </a:spcBef>
              <a:buClr>
                <a:schemeClr val="bg2"/>
              </a:buClr>
              <a:buSzPct val="100000"/>
              <a:buFont typeface="Wingdings" pitchFamily="2" charset="2"/>
              <a:buChar char=""/>
              <a:defRPr lang="en-US" sz="3672" kern="1200" spc="-71" baseline="0" dirty="0" smtClean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30960" indent="-233104">
              <a:defRPr sz="2040"/>
            </a:lvl2pPr>
            <a:lvl3pPr marL="699313" indent="-168353">
              <a:tabLst/>
              <a:defRPr sz="2040"/>
            </a:lvl3pPr>
            <a:lvl4pPr marL="880617" indent="-181304">
              <a:defRPr/>
            </a:lvl4pPr>
            <a:lvl5pPr marL="1048969" indent="-168353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6405483" y="1476622"/>
            <a:ext cx="5504573" cy="4391007"/>
          </a:xfrm>
        </p:spPr>
        <p:txBody>
          <a:bodyPr>
            <a:noAutofit/>
          </a:bodyPr>
          <a:lstStyle>
            <a:lvl1pPr marL="346419" indent="-346419">
              <a:spcBef>
                <a:spcPts val="1224"/>
              </a:spcBef>
              <a:buClr>
                <a:schemeClr val="bg2"/>
              </a:buClr>
              <a:buFont typeface="Arial" pitchFamily="34" charset="0"/>
              <a:buChar char="•"/>
              <a:defRPr lang="en-US" sz="3672" kern="1200" spc="-71" baseline="0" dirty="0" smtClean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647513" indent="-349656">
              <a:defRPr lang="en-US" sz="2040" kern="1200" spc="0" baseline="0" dirty="0" smtClean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47513" indent="-349656">
              <a:defRPr lang="en-US" sz="2040" kern="1200" spc="0" baseline="0" dirty="0" smtClean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48969" indent="-349656">
              <a:defRPr lang="en-US" sz="2040" kern="1200" spc="0" baseline="0" dirty="0" smtClean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30273" indent="-349656">
              <a:defRPr lang="en-US" sz="2040" kern="1200" spc="0" baseline="0" dirty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1048969" indent="-349656">
              <a:defRPr/>
            </a:lvl6pPr>
          </a:lstStyle>
          <a:p>
            <a:pPr marL="297856" marR="0" lvl="0" indent="-297856" algn="l" defTabSz="932380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97856" marR="0" lvl="1" indent="-297856" algn="l" defTabSz="932380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97856" marR="0" lvl="2" indent="-297856" algn="l" defTabSz="932380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97856" marR="0" lvl="3" indent="-297856" algn="l" defTabSz="932380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97856" marR="0" lvl="4" indent="-297856" algn="l" defTabSz="932380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17230590"/>
      </p:ext>
    </p:extLst>
  </p:cSld>
  <p:clrMapOvr>
    <a:masterClrMapping/>
  </p:clrMapOvr>
  <p:transition>
    <p:fade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1658197" y="310869"/>
            <a:ext cx="10571004" cy="209288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Rectangle 103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Rectangle 103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103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D48E5E4-5BB8-4C98-8EF1-BF3C432A2F5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4809163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1824" y="1632058"/>
            <a:ext cx="5492776" cy="1961371"/>
          </a:xfrm>
        </p:spPr>
        <p:txBody>
          <a:bodyPr/>
          <a:lstStyle>
            <a:lvl1pPr>
              <a:defRPr sz="2856"/>
            </a:lvl1pPr>
            <a:lvl2pPr>
              <a:defRPr sz="2448"/>
            </a:lvl2pPr>
            <a:lvl3pPr>
              <a:defRPr sz="2040"/>
            </a:lvl3pPr>
            <a:lvl4pPr>
              <a:defRPr sz="1836"/>
            </a:lvl4pPr>
            <a:lvl5pPr>
              <a:defRPr sz="1836"/>
            </a:lvl5pPr>
            <a:lvl6pPr>
              <a:defRPr sz="1836"/>
            </a:lvl6pPr>
            <a:lvl7pPr>
              <a:defRPr sz="1836"/>
            </a:lvl7pPr>
            <a:lvl8pPr>
              <a:defRPr sz="1836"/>
            </a:lvl8pPr>
            <a:lvl9pPr>
              <a:defRPr sz="183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1875" y="1632058"/>
            <a:ext cx="5492776" cy="1961371"/>
          </a:xfrm>
        </p:spPr>
        <p:txBody>
          <a:bodyPr/>
          <a:lstStyle>
            <a:lvl1pPr>
              <a:defRPr sz="2856"/>
            </a:lvl1pPr>
            <a:lvl2pPr>
              <a:defRPr sz="2448"/>
            </a:lvl2pPr>
            <a:lvl3pPr>
              <a:defRPr sz="2040"/>
            </a:lvl3pPr>
            <a:lvl4pPr>
              <a:defRPr sz="1836"/>
            </a:lvl4pPr>
            <a:lvl5pPr>
              <a:defRPr sz="1836"/>
            </a:lvl5pPr>
            <a:lvl6pPr>
              <a:defRPr sz="1836"/>
            </a:lvl6pPr>
            <a:lvl7pPr>
              <a:defRPr sz="1836"/>
            </a:lvl7pPr>
            <a:lvl8pPr>
              <a:defRPr sz="1836"/>
            </a:lvl8pPr>
            <a:lvl9pPr>
              <a:defRPr sz="183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0B4F2B-5E05-4E86-869D-11DFDC08817E}" type="datetimeFigureOut">
              <a:rPr lang="en-GB" smtClean="0"/>
              <a:t>07/05/2021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2462F0-19B4-4B2F-A163-7E6F435EAA5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1407787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6627" y="372395"/>
            <a:ext cx="10726460" cy="135195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6629" y="2031213"/>
            <a:ext cx="5261211" cy="523733"/>
          </a:xfrm>
        </p:spPr>
        <p:txBody>
          <a:bodyPr anchor="b"/>
          <a:lstStyle>
            <a:lvl1pPr marL="0" indent="0">
              <a:buNone/>
              <a:defRPr sz="2448" b="1"/>
            </a:lvl1pPr>
            <a:lvl2pPr marL="466209" indent="0">
              <a:buNone/>
              <a:defRPr sz="2040" b="1"/>
            </a:lvl2pPr>
            <a:lvl3pPr marL="932418" indent="0">
              <a:buNone/>
              <a:defRPr sz="1836" b="1"/>
            </a:lvl3pPr>
            <a:lvl4pPr marL="1398627" indent="0">
              <a:buNone/>
              <a:defRPr sz="1632" b="1"/>
            </a:lvl4pPr>
            <a:lvl5pPr marL="1864835" indent="0">
              <a:buNone/>
              <a:defRPr sz="1632" b="1"/>
            </a:lvl5pPr>
            <a:lvl6pPr marL="2331044" indent="0">
              <a:buNone/>
              <a:defRPr sz="1632" b="1"/>
            </a:lvl6pPr>
            <a:lvl7pPr marL="2797253" indent="0">
              <a:buNone/>
              <a:defRPr sz="1632" b="1"/>
            </a:lvl7pPr>
            <a:lvl8pPr marL="3263461" indent="0">
              <a:buNone/>
              <a:defRPr sz="1632" b="1"/>
            </a:lvl8pPr>
            <a:lvl9pPr marL="3729669" indent="0">
              <a:buNone/>
              <a:defRPr sz="1632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56629" y="2554944"/>
            <a:ext cx="5261211" cy="209288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95965" y="2031213"/>
            <a:ext cx="5287122" cy="523733"/>
          </a:xfrm>
        </p:spPr>
        <p:txBody>
          <a:bodyPr anchor="b"/>
          <a:lstStyle>
            <a:lvl1pPr marL="0" indent="0">
              <a:buNone/>
              <a:defRPr sz="2448" b="1"/>
            </a:lvl1pPr>
            <a:lvl2pPr marL="466209" indent="0">
              <a:buNone/>
              <a:defRPr sz="2040" b="1"/>
            </a:lvl2pPr>
            <a:lvl3pPr marL="932418" indent="0">
              <a:buNone/>
              <a:defRPr sz="1836" b="1"/>
            </a:lvl3pPr>
            <a:lvl4pPr marL="1398627" indent="0">
              <a:buNone/>
              <a:defRPr sz="1632" b="1"/>
            </a:lvl4pPr>
            <a:lvl5pPr marL="1864835" indent="0">
              <a:buNone/>
              <a:defRPr sz="1632" b="1"/>
            </a:lvl5pPr>
            <a:lvl6pPr marL="2331044" indent="0">
              <a:buNone/>
              <a:defRPr sz="1632" b="1"/>
            </a:lvl6pPr>
            <a:lvl7pPr marL="2797253" indent="0">
              <a:buNone/>
              <a:defRPr sz="1632" b="1"/>
            </a:lvl7pPr>
            <a:lvl8pPr marL="3263461" indent="0">
              <a:buNone/>
              <a:defRPr sz="1632" b="1"/>
            </a:lvl8pPr>
            <a:lvl9pPr marL="3729669" indent="0">
              <a:buNone/>
              <a:defRPr sz="1632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95965" y="2554944"/>
            <a:ext cx="5287122" cy="209288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AD2E59-1DA4-4EEC-A1A5-EE94391B98B9}" type="datetimeFigureOut">
              <a:rPr lang="en-US" smtClean="0"/>
              <a:t>5/7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867C20-0979-4380-80DF-20E6792E3B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8337260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80571" y="1346590"/>
            <a:ext cx="12128721" cy="1859280"/>
          </a:xfrm>
          <a:noFill/>
        </p:spPr>
        <p:txBody>
          <a:bodyPr lIns="137160" tIns="137160" rIns="137160" bIns="137160" anchor="t" anchorCtr="0"/>
          <a:lstStyle>
            <a:lvl1pPr>
              <a:defRPr sz="8769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5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434775" y="2894799"/>
            <a:ext cx="6064361" cy="2642376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4181" indent="-194181">
              <a:lnSpc>
                <a:spcPct val="80000"/>
              </a:lnSpc>
              <a:buNone/>
              <a:defRPr lang="en-US" sz="204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10954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734047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FF9309-49F5-4DEC-A886-34A67C5770F2}" type="datetimeFigureOut">
              <a:rPr lang="en-US" smtClean="0"/>
              <a:t>5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B0F0FF-FD42-41BA-981D-56279315EC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4977208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Content,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29662" y="1476621"/>
            <a:ext cx="11375536" cy="213454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2448"/>
              </a:spcBef>
              <a:buNone/>
              <a:defRPr sz="4080">
                <a:solidFill>
                  <a:schemeClr val="tx2"/>
                </a:solidFill>
                <a:latin typeface="+mj-lt"/>
              </a:defRPr>
            </a:lvl1pPr>
            <a:lvl2pPr marL="0" indent="0">
              <a:buNone/>
              <a:defRPr sz="2040">
                <a:solidFill>
                  <a:schemeClr val="tx2"/>
                </a:solidFill>
              </a:defRPr>
            </a:lvl2pPr>
            <a:lvl3pPr marL="236341" indent="0">
              <a:buNone/>
              <a:defRPr sz="2040">
                <a:solidFill>
                  <a:schemeClr val="tx2"/>
                </a:solidFill>
              </a:defRPr>
            </a:lvl3pPr>
            <a:lvl4pPr marL="466209" indent="0">
              <a:buNone/>
              <a:defRPr sz="2040">
                <a:solidFill>
                  <a:schemeClr val="tx2"/>
                </a:solidFill>
              </a:defRPr>
            </a:lvl4pPr>
            <a:lvl5pPr marL="707407" indent="0">
              <a:buNone/>
              <a:defRPr sz="204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4738477"/>
      </p:ext>
    </p:extLst>
  </p:cSld>
  <p:clrMapOvr>
    <a:masterClrMapping/>
  </p:clrMapOvr>
  <p:transition>
    <p:fade/>
  </p:transition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7BB65B-F7FF-4763-8DCE-7C2F92A63ED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420031" y="2984331"/>
            <a:ext cx="5596414" cy="1025864"/>
          </a:xfrm>
          <a:solidFill>
            <a:schemeClr val="bg1">
              <a:alpha val="80000"/>
            </a:schemeClr>
          </a:solidFill>
        </p:spPr>
        <p:txBody>
          <a:bodyPr anchor="ctr">
            <a:normAutofit/>
          </a:bodyPr>
          <a:lstStyle>
            <a:lvl1pPr algn="ctr">
              <a:defRPr sz="3672"/>
            </a:lvl1pPr>
          </a:lstStyle>
          <a:p>
            <a:r>
              <a:rPr lang="en-US"/>
              <a:t>Click to edit copy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588CE5-ABB2-4AC4-A0AF-15093785E1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32597">
              <a:defRPr/>
            </a:pPr>
            <a:fld id="{A0CB07F5-FCA8-473A-A92A-75110A9676DE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32597">
                <a:defRPr/>
              </a:pPr>
              <a:t>5/7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F5CE41-71C2-44ED-8EBA-E08B42B706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32597"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E461F0-AEF5-4CAF-B4D6-4B600DB818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32597">
              <a:defRPr/>
            </a:pPr>
            <a:fld id="{89959EFB-9E9F-44F9-94E0-ADADD634312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32597"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452640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13"/>
            <a:ext cx="12436472" cy="6993497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>
          <a:xfrm>
            <a:off x="2175" y="2"/>
            <a:ext cx="12434300" cy="6994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394901" y="3737089"/>
            <a:ext cx="5597871" cy="556620"/>
          </a:xfrm>
        </p:spPr>
        <p:txBody>
          <a:bodyPr anchor="t">
            <a:noAutofit/>
          </a:bodyPr>
          <a:lstStyle>
            <a:lvl1pPr marL="0" indent="0" algn="l" defTabSz="932597" rtl="0" eaLnBrk="1" latinLnBrk="0" hangingPunct="1">
              <a:spcBef>
                <a:spcPts val="0"/>
              </a:spcBef>
              <a:spcAft>
                <a:spcPts val="612"/>
              </a:spcAft>
              <a:buSzPct val="90000"/>
              <a:buFont typeface="Wingdings" pitchFamily="2" charset="2"/>
              <a:buNone/>
              <a:defRPr lang="en-US" sz="1428" kern="1200" dirty="0">
                <a:solidFill>
                  <a:srgbClr val="737373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66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32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988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65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314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97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640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30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394901" y="4305809"/>
            <a:ext cx="5597871" cy="588872"/>
          </a:xfrm>
        </p:spPr>
        <p:txBody>
          <a:bodyPr>
            <a:noAutofit/>
          </a:bodyPr>
          <a:lstStyle>
            <a:lvl1pPr marL="0" indent="0">
              <a:buNone/>
              <a:defRPr lang="en-US" sz="1428" kern="1200" dirty="0" smtClean="0">
                <a:solidFill>
                  <a:srgbClr val="737373">
                    <a:alpha val="99000"/>
                  </a:srgb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</a:lstStyle>
          <a:p>
            <a:pPr marL="0" lvl="0" indent="0" algn="l" defTabSz="932597" rtl="0" eaLnBrk="1" latinLnBrk="0" hangingPunct="1">
              <a:spcBef>
                <a:spcPts val="0"/>
              </a:spcBef>
              <a:spcAft>
                <a:spcPts val="612"/>
              </a:spcAft>
              <a:buSzPct val="90000"/>
              <a:buFont typeface="Wingdings" pitchFamily="2" charset="2"/>
              <a:buNone/>
            </a:pPr>
            <a:r>
              <a:rPr lang="en-US"/>
              <a:t>Edit Master text style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0627" y="6217273"/>
            <a:ext cx="2508028" cy="73675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369515" y="2311841"/>
            <a:ext cx="5597871" cy="1499289"/>
          </a:xfrm>
        </p:spPr>
        <p:txBody>
          <a:bodyPr anchor="b"/>
          <a:lstStyle>
            <a:lvl1pPr algn="l">
              <a:defRPr sz="4080" spc="0">
                <a:solidFill>
                  <a:srgbClr val="737373"/>
                </a:solidFill>
              </a:defRPr>
            </a:lvl1pPr>
          </a:lstStyle>
          <a:p>
            <a:r>
              <a:rPr lang="en-US"/>
              <a:t/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7028234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612" y="6213400"/>
            <a:ext cx="1556447" cy="572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244496"/>
      </p:ext>
    </p:extLst>
  </p:cSld>
  <p:clrMapOvr>
    <a:masterClrMapping/>
  </p:clrMapOvr>
  <p:transition>
    <p:fade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3640" y="-24425"/>
            <a:ext cx="12437388" cy="6994012"/>
          </a:xfrm>
          <a:prstGeom prst="rect">
            <a:avLst/>
          </a:prstGeom>
        </p:spPr>
      </p:pic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394901" y="3737089"/>
            <a:ext cx="5597871" cy="556620"/>
          </a:xfrm>
        </p:spPr>
        <p:txBody>
          <a:bodyPr anchor="t">
            <a:noAutofit/>
          </a:bodyPr>
          <a:lstStyle>
            <a:lvl1pPr marL="0" indent="0" algn="l" defTabSz="932597" rtl="0" eaLnBrk="1" latinLnBrk="0" hangingPunct="1">
              <a:spcBef>
                <a:spcPts val="0"/>
              </a:spcBef>
              <a:spcAft>
                <a:spcPts val="612"/>
              </a:spcAft>
              <a:buSzPct val="90000"/>
              <a:buFont typeface="Wingdings" pitchFamily="2" charset="2"/>
              <a:buNone/>
              <a:defRPr lang="en-US" sz="1428" kern="1200" dirty="0">
                <a:solidFill>
                  <a:srgbClr val="737373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66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32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988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651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314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97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640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30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394901" y="4305809"/>
            <a:ext cx="5597871" cy="588872"/>
          </a:xfrm>
        </p:spPr>
        <p:txBody>
          <a:bodyPr>
            <a:noAutofit/>
          </a:bodyPr>
          <a:lstStyle>
            <a:lvl1pPr marL="0" indent="0">
              <a:buNone/>
              <a:defRPr lang="en-US" sz="1428" kern="1200" dirty="0" smtClean="0">
                <a:solidFill>
                  <a:srgbClr val="737373">
                    <a:alpha val="99000"/>
                  </a:srgb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</a:lstStyle>
          <a:p>
            <a:pPr marL="0" lvl="0" indent="0" algn="l" defTabSz="932597" rtl="0" eaLnBrk="1" latinLnBrk="0" hangingPunct="1">
              <a:spcBef>
                <a:spcPts val="0"/>
              </a:spcBef>
              <a:spcAft>
                <a:spcPts val="612"/>
              </a:spcAft>
              <a:buSzPct val="90000"/>
              <a:buFont typeface="Wingdings" pitchFamily="2" charset="2"/>
              <a:buNone/>
            </a:pPr>
            <a:r>
              <a:rPr lang="en-US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0627" y="6217273"/>
            <a:ext cx="2508028" cy="736757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69515" y="2311841"/>
            <a:ext cx="5597871" cy="1499289"/>
          </a:xfrm>
        </p:spPr>
        <p:txBody>
          <a:bodyPr anchor="b"/>
          <a:lstStyle>
            <a:lvl1pPr algn="l">
              <a:defRPr sz="4080" spc="0">
                <a:solidFill>
                  <a:srgbClr val="737373"/>
                </a:solidFill>
              </a:defRPr>
            </a:lvl1pPr>
          </a:lstStyle>
          <a:p>
            <a:r>
              <a:rPr lang="en-US"/>
              <a:t/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22228533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0" y="0"/>
            <a:ext cx="6218239" cy="6994525"/>
          </a:xfrm>
          <a:prstGeom prst="rect">
            <a:avLst/>
          </a:prstGeom>
          <a:solidFill>
            <a:srgbClr val="E6E6E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0" tIns="46630" rIns="46630" bIns="4663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29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31798" y="3041122"/>
            <a:ext cx="5454853" cy="727357"/>
          </a:xfrm>
        </p:spPr>
        <p:txBody>
          <a:bodyPr anchor="t"/>
          <a:lstStyle>
            <a:lvl1pPr algn="l">
              <a:defRPr sz="4896" b="0" cap="none" spc="0" baseline="0">
                <a:solidFill>
                  <a:srgbClr val="737373">
                    <a:alpha val="99000"/>
                  </a:srgbClr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31798" y="3871127"/>
            <a:ext cx="5467687" cy="384262"/>
          </a:xfrm>
        </p:spPr>
        <p:txBody>
          <a:bodyPr anchor="t"/>
          <a:lstStyle>
            <a:lvl1pPr marL="0" indent="0" algn="l">
              <a:buNone/>
              <a:defRPr sz="2040">
                <a:solidFill>
                  <a:srgbClr val="737373">
                    <a:alpha val="99000"/>
                  </a:srgbClr>
                </a:solidFill>
              </a:defRPr>
            </a:lvl1pPr>
            <a:lvl2pPr marL="466298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0"/>
          </p:nvPr>
        </p:nvSpPr>
        <p:spPr>
          <a:xfrm>
            <a:off x="531798" y="4356699"/>
            <a:ext cx="5467687" cy="384262"/>
          </a:xfrm>
        </p:spPr>
        <p:txBody>
          <a:bodyPr anchor="t"/>
          <a:lstStyle>
            <a:lvl1pPr marL="0" indent="0" algn="l">
              <a:buNone/>
              <a:defRPr sz="2040">
                <a:solidFill>
                  <a:srgbClr val="737373">
                    <a:alpha val="99000"/>
                  </a:srgbClr>
                </a:solidFill>
              </a:defRPr>
            </a:lvl1pPr>
            <a:lvl2pPr marL="466298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6762475" y="1165754"/>
            <a:ext cx="3032180" cy="388585"/>
          </a:xfrm>
        </p:spPr>
        <p:txBody>
          <a:bodyPr/>
          <a:lstStyle>
            <a:lvl1pPr marL="0" indent="0">
              <a:buFontTx/>
              <a:buNone/>
              <a:defRPr sz="2550" baseline="0">
                <a:latin typeface="+mj-lt"/>
              </a:defRPr>
            </a:lvl1pPr>
          </a:lstStyle>
          <a:p>
            <a:pPr lvl="0"/>
            <a:r>
              <a:rPr lang="en-US" sz="2550">
                <a:latin typeface="+mj-lt"/>
              </a:rPr>
              <a:t>Agenda Item 01</a:t>
            </a:r>
            <a:endParaRPr lang="en-US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6762475" y="1656342"/>
            <a:ext cx="3032180" cy="364299"/>
          </a:xfrm>
        </p:spPr>
        <p:txBody>
          <a:bodyPr/>
          <a:lstStyle>
            <a:lvl1pPr marL="0" indent="0">
              <a:buFontTx/>
              <a:buNone/>
              <a:defRPr sz="1836"/>
            </a:lvl1pPr>
          </a:lstStyle>
          <a:p>
            <a:pPr lvl="0"/>
            <a:r>
              <a:rPr lang="en-US" sz="1836"/>
              <a:t>Presenter</a:t>
            </a:r>
            <a:endParaRPr lang="en-US"/>
          </a:p>
        </p:txBody>
      </p:sp>
      <p:sp>
        <p:nvSpPr>
          <p:cNvPr id="66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6762475" y="2179310"/>
            <a:ext cx="3032180" cy="388585"/>
          </a:xfrm>
        </p:spPr>
        <p:txBody>
          <a:bodyPr/>
          <a:lstStyle>
            <a:lvl1pPr marL="0" indent="0">
              <a:buFontTx/>
              <a:buNone/>
              <a:defRPr sz="2550" baseline="0">
                <a:latin typeface="+mj-lt"/>
              </a:defRPr>
            </a:lvl1pPr>
          </a:lstStyle>
          <a:p>
            <a:pPr lvl="0"/>
            <a:r>
              <a:rPr lang="en-US" sz="2550">
                <a:latin typeface="+mj-lt"/>
              </a:rPr>
              <a:t>Agenda Item 02</a:t>
            </a:r>
            <a:endParaRPr lang="en-US"/>
          </a:p>
        </p:txBody>
      </p:sp>
      <p:sp>
        <p:nvSpPr>
          <p:cNvPr id="67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6762475" y="2669898"/>
            <a:ext cx="3032180" cy="364299"/>
          </a:xfrm>
        </p:spPr>
        <p:txBody>
          <a:bodyPr/>
          <a:lstStyle>
            <a:lvl1pPr marL="0" indent="0">
              <a:buFontTx/>
              <a:buNone/>
              <a:defRPr sz="1836"/>
            </a:lvl1pPr>
          </a:lstStyle>
          <a:p>
            <a:pPr lvl="0"/>
            <a:r>
              <a:rPr lang="en-US" sz="1836"/>
              <a:t>Presenter</a:t>
            </a:r>
            <a:endParaRPr lang="en-US"/>
          </a:p>
        </p:txBody>
      </p:sp>
      <p:sp>
        <p:nvSpPr>
          <p:cNvPr id="68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6762475" y="3186395"/>
            <a:ext cx="3032180" cy="388585"/>
          </a:xfrm>
        </p:spPr>
        <p:txBody>
          <a:bodyPr/>
          <a:lstStyle>
            <a:lvl1pPr marL="0" indent="0">
              <a:buFontTx/>
              <a:buNone/>
              <a:defRPr sz="2550" baseline="0">
                <a:latin typeface="+mj-lt"/>
              </a:defRPr>
            </a:lvl1pPr>
          </a:lstStyle>
          <a:p>
            <a:pPr lvl="0"/>
            <a:r>
              <a:rPr lang="en-US" sz="2550">
                <a:latin typeface="+mj-lt"/>
              </a:rPr>
              <a:t>Agenda Item 03</a:t>
            </a:r>
            <a:endParaRPr lang="en-US"/>
          </a:p>
        </p:txBody>
      </p:sp>
      <p:sp>
        <p:nvSpPr>
          <p:cNvPr id="69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6762475" y="3676982"/>
            <a:ext cx="3032180" cy="364299"/>
          </a:xfrm>
        </p:spPr>
        <p:txBody>
          <a:bodyPr/>
          <a:lstStyle>
            <a:lvl1pPr marL="0" indent="0">
              <a:buFontTx/>
              <a:buNone/>
              <a:defRPr sz="1836"/>
            </a:lvl1pPr>
          </a:lstStyle>
          <a:p>
            <a:pPr lvl="0"/>
            <a:r>
              <a:rPr lang="en-US" sz="1836"/>
              <a:t>Presenter</a:t>
            </a:r>
            <a:endParaRPr lang="en-US"/>
          </a:p>
        </p:txBody>
      </p:sp>
      <p:sp>
        <p:nvSpPr>
          <p:cNvPr id="70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6762475" y="4143284"/>
            <a:ext cx="3032180" cy="388585"/>
          </a:xfrm>
        </p:spPr>
        <p:txBody>
          <a:bodyPr/>
          <a:lstStyle>
            <a:lvl1pPr marL="0" indent="0">
              <a:buFontTx/>
              <a:buNone/>
              <a:defRPr sz="2550" baseline="0">
                <a:latin typeface="+mj-lt"/>
              </a:defRPr>
            </a:lvl1pPr>
          </a:lstStyle>
          <a:p>
            <a:pPr lvl="0"/>
            <a:r>
              <a:rPr lang="en-US" sz="2550">
                <a:latin typeface="+mj-lt"/>
              </a:rPr>
              <a:t>Agenda Item 04</a:t>
            </a:r>
            <a:endParaRPr lang="en-US"/>
          </a:p>
        </p:txBody>
      </p:sp>
      <p:sp>
        <p:nvSpPr>
          <p:cNvPr id="71" name="Text Placeholder 14"/>
          <p:cNvSpPr>
            <a:spLocks noGrp="1"/>
          </p:cNvSpPr>
          <p:nvPr>
            <p:ph type="body" sz="quarter" idx="18" hasCustomPrompt="1"/>
          </p:nvPr>
        </p:nvSpPr>
        <p:spPr>
          <a:xfrm>
            <a:off x="6762475" y="4633872"/>
            <a:ext cx="3032180" cy="364299"/>
          </a:xfrm>
        </p:spPr>
        <p:txBody>
          <a:bodyPr/>
          <a:lstStyle>
            <a:lvl1pPr marL="0" indent="0">
              <a:buFontTx/>
              <a:buNone/>
              <a:defRPr sz="1836"/>
            </a:lvl1pPr>
          </a:lstStyle>
          <a:p>
            <a:pPr lvl="0"/>
            <a:r>
              <a:rPr lang="en-US" sz="1836"/>
              <a:t>Presenter</a:t>
            </a:r>
            <a:endParaRPr lang="en-US"/>
          </a:p>
        </p:txBody>
      </p:sp>
      <p:sp>
        <p:nvSpPr>
          <p:cNvPr id="72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6762475" y="5100173"/>
            <a:ext cx="3032180" cy="388585"/>
          </a:xfrm>
        </p:spPr>
        <p:txBody>
          <a:bodyPr/>
          <a:lstStyle>
            <a:lvl1pPr marL="0" indent="0">
              <a:buFontTx/>
              <a:buNone/>
              <a:defRPr sz="2550" baseline="0">
                <a:latin typeface="+mj-lt"/>
              </a:defRPr>
            </a:lvl1pPr>
          </a:lstStyle>
          <a:p>
            <a:pPr lvl="0"/>
            <a:r>
              <a:rPr lang="en-US" sz="2550">
                <a:latin typeface="+mj-lt"/>
              </a:rPr>
              <a:t>Agenda Item 05</a:t>
            </a:r>
            <a:endParaRPr lang="en-US"/>
          </a:p>
        </p:txBody>
      </p:sp>
      <p:sp>
        <p:nvSpPr>
          <p:cNvPr id="73" name="Text Placeholder 14"/>
          <p:cNvSpPr>
            <a:spLocks noGrp="1"/>
          </p:cNvSpPr>
          <p:nvPr>
            <p:ph type="body" sz="quarter" idx="20" hasCustomPrompt="1"/>
          </p:nvPr>
        </p:nvSpPr>
        <p:spPr>
          <a:xfrm>
            <a:off x="6762475" y="5590761"/>
            <a:ext cx="3032180" cy="364299"/>
          </a:xfrm>
        </p:spPr>
        <p:txBody>
          <a:bodyPr/>
          <a:lstStyle>
            <a:lvl1pPr marL="0" indent="0">
              <a:buFontTx/>
              <a:buNone/>
              <a:defRPr sz="1836"/>
            </a:lvl1pPr>
          </a:lstStyle>
          <a:p>
            <a:pPr lvl="0"/>
            <a:r>
              <a:rPr lang="en-US" sz="1836"/>
              <a:t>Presente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3977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  <p15:guide id="3" pos="4175">
          <p15:clr>
            <a:srgbClr val="FBAE40"/>
          </p15:clr>
        </p15:guide>
        <p15:guide id="4" orient="horz" pos="720">
          <p15:clr>
            <a:srgbClr val="FBAE40"/>
          </p15:clr>
        </p15:guide>
        <p15:guide id="5" orient="horz" pos="1008">
          <p15:clr>
            <a:srgbClr val="FBAE40"/>
          </p15:clr>
        </p15:guide>
        <p15:guide id="6" orient="horz" pos="1392">
          <p15:clr>
            <a:srgbClr val="FBAE40"/>
          </p15:clr>
        </p15:guide>
        <p15:guide id="7" orient="horz" pos="1584">
          <p15:clr>
            <a:srgbClr val="FBAE40"/>
          </p15:clr>
        </p15:guide>
      </p15:sldGuideLst>
    </p:ext>
  </p:extLs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Lifestyl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8111" y="1068075"/>
            <a:ext cx="3223236" cy="1789250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3672" spc="0">
                <a:latin typeface="+mj-lt"/>
              </a:defRPr>
            </a:lvl1pPr>
          </a:lstStyle>
          <a:p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ed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t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erspiciati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</a:t>
            </a:r>
            <a:endParaRPr lang="en-GB">
              <a:solidFill>
                <a:srgbClr val="737373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8111" y="2804883"/>
            <a:ext cx="3223236" cy="3855782"/>
          </a:xfrm>
        </p:spPr>
        <p:txBody>
          <a:bodyPr wrap="square" numCol="1">
            <a:spAutoFit/>
          </a:bodyPr>
          <a:lstStyle>
            <a:lvl1pPr marL="181233" indent="-181233" algn="l">
              <a:lnSpc>
                <a:spcPct val="120000"/>
              </a:lnSpc>
              <a:buFont typeface="Arial" charset="0"/>
              <a:buChar char="•"/>
              <a:defRPr sz="1530"/>
            </a:lvl1pPr>
          </a:lstStyle>
          <a:p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lor</a:t>
            </a:r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sit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met</a:t>
            </a:r>
            <a:endParaRPr lang="en-GB" b="1">
              <a:solidFill>
                <a:srgbClr val="737373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r>
              <a:rPr lang="en-GB" err="1">
                <a:solidFill>
                  <a:srgbClr val="737373"/>
                </a:solidFill>
                <a:latin typeface="+mj-lt"/>
              </a:rPr>
              <a:t>Consetetu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adipscing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litr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nonumy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irmo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tempo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invidun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u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labore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</a:t>
            </a:r>
            <a:r>
              <a:rPr lang="en-GB">
                <a:solidFill>
                  <a:srgbClr val="737373"/>
                </a:solidFill>
                <a:latin typeface="+mj-lt"/>
              </a:rPr>
              <a:t> magna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liquy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rat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oluptua</a:t>
            </a:r>
            <a:r>
              <a:rPr lang="en-GB">
                <a:solidFill>
                  <a:srgbClr val="737373"/>
                </a:solidFill>
                <a:latin typeface="+mj-lt"/>
              </a:rPr>
              <a:t>. A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ero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o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ccusam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justo</a:t>
            </a:r>
            <a:r>
              <a:rPr lang="en-GB">
                <a:solidFill>
                  <a:srgbClr val="737373"/>
                </a:solidFill>
                <a:latin typeface="+mj-lt"/>
              </a:rPr>
              <a:t> duo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a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rebum</a:t>
            </a:r>
            <a:r>
              <a:rPr lang="en-GB">
                <a:solidFill>
                  <a:srgbClr val="737373"/>
                </a:solidFill>
                <a:latin typeface="+mj-lt"/>
              </a:rPr>
              <a:t>. </a:t>
            </a:r>
          </a:p>
          <a:p>
            <a:pPr marL="177697" indent="-177697">
              <a:buFont typeface="Arial" charset="0"/>
              <a:buChar char="•"/>
            </a:pPr>
            <a:endParaRPr lang="en-GB">
              <a:solidFill>
                <a:srgbClr val="737373"/>
              </a:solidFill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26263" y="0"/>
            <a:ext cx="8210212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065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_Lifestyl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erson standing in a kitchen preparing food&#10;&#10;Description generated with high confidence">
            <a:extLst>
              <a:ext uri="{FF2B5EF4-FFF2-40B4-BE49-F238E27FC236}">
                <a16:creationId xmlns:a16="http://schemas.microsoft.com/office/drawing/2014/main" id="{F4E86CAB-B8F0-4798-AA3E-681792D8FE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83" r="9000"/>
          <a:stretch/>
        </p:blipFill>
        <p:spPr>
          <a:xfrm>
            <a:off x="4226263" y="0"/>
            <a:ext cx="8210212" cy="6994525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8111" y="1068898"/>
            <a:ext cx="3223236" cy="1787605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3672" spc="0">
                <a:latin typeface="+mj-lt"/>
              </a:defRPr>
            </a:lvl1pPr>
          </a:lstStyle>
          <a:p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ed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t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erspiciati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</a:t>
            </a:r>
            <a:endParaRPr lang="en-GB">
              <a:solidFill>
                <a:srgbClr val="737373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8111" y="2804884"/>
            <a:ext cx="3223236" cy="3890966"/>
          </a:xfrm>
        </p:spPr>
        <p:txBody>
          <a:bodyPr wrap="square" numCol="1">
            <a:spAutoFit/>
          </a:bodyPr>
          <a:lstStyle>
            <a:lvl1pPr marL="181233" indent="-181233" algn="l">
              <a:lnSpc>
                <a:spcPct val="120000"/>
              </a:lnSpc>
              <a:buFont typeface="Arial" charset="0"/>
              <a:buChar char="•"/>
              <a:defRPr sz="1530"/>
            </a:lvl1pPr>
          </a:lstStyle>
          <a:p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lor</a:t>
            </a:r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sit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met</a:t>
            </a:r>
            <a:endParaRPr lang="en-GB" b="1">
              <a:solidFill>
                <a:srgbClr val="737373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r>
              <a:rPr lang="en-GB" err="1">
                <a:solidFill>
                  <a:srgbClr val="737373"/>
                </a:solidFill>
                <a:latin typeface="+mj-lt"/>
              </a:rPr>
              <a:t>Consetetu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adipscing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litr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nonumy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irmo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tempo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invidun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u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labore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</a:t>
            </a:r>
            <a:r>
              <a:rPr lang="en-GB">
                <a:solidFill>
                  <a:srgbClr val="737373"/>
                </a:solidFill>
                <a:latin typeface="+mj-lt"/>
              </a:rPr>
              <a:t> magna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liquy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rat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oluptua</a:t>
            </a:r>
            <a:r>
              <a:rPr lang="en-GB">
                <a:solidFill>
                  <a:srgbClr val="737373"/>
                </a:solidFill>
                <a:latin typeface="+mj-lt"/>
              </a:rPr>
              <a:t>. A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ero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o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ccusam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justo</a:t>
            </a:r>
            <a:r>
              <a:rPr lang="en-GB">
                <a:solidFill>
                  <a:srgbClr val="737373"/>
                </a:solidFill>
                <a:latin typeface="+mj-lt"/>
              </a:rPr>
              <a:t> duo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a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rebum</a:t>
            </a:r>
            <a:r>
              <a:rPr lang="en-GB">
                <a:solidFill>
                  <a:srgbClr val="737373"/>
                </a:solidFill>
                <a:latin typeface="+mj-lt"/>
              </a:rPr>
              <a:t>. </a:t>
            </a:r>
          </a:p>
          <a:p>
            <a:pPr marL="177697" indent="-177697">
              <a:buFont typeface="Arial" charset="0"/>
              <a:buChar char="•"/>
            </a:pPr>
            <a:endParaRPr lang="en-GB">
              <a:solidFill>
                <a:srgbClr val="737373"/>
              </a:solidFill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632081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_Lifestyl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ACCE4457-5847-43F6-AE71-D70353FE1A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4348" y="-10078"/>
            <a:ext cx="12465173" cy="7010552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8112" y="1350587"/>
            <a:ext cx="5394849" cy="659198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3672" spc="0">
                <a:latin typeface="+mj-lt"/>
              </a:defRPr>
            </a:lvl1pPr>
          </a:lstStyle>
          <a:p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ed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t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erspiciati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</a:t>
            </a:r>
            <a:endParaRPr lang="en-GB">
              <a:solidFill>
                <a:srgbClr val="737373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8112" y="2804883"/>
            <a:ext cx="4906956" cy="3290756"/>
          </a:xfrm>
        </p:spPr>
        <p:txBody>
          <a:bodyPr wrap="square" numCol="1">
            <a:spAutoFit/>
          </a:bodyPr>
          <a:lstStyle>
            <a:lvl1pPr marL="181233" indent="-181233" algn="l">
              <a:lnSpc>
                <a:spcPct val="120000"/>
              </a:lnSpc>
              <a:buFont typeface="Arial" charset="0"/>
              <a:buChar char="•"/>
              <a:defRPr sz="1530"/>
            </a:lvl1pPr>
          </a:lstStyle>
          <a:p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lor</a:t>
            </a:r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sit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met</a:t>
            </a:r>
            <a:endParaRPr lang="en-GB" b="1">
              <a:solidFill>
                <a:srgbClr val="737373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r>
              <a:rPr lang="en-GB" err="1">
                <a:solidFill>
                  <a:srgbClr val="737373"/>
                </a:solidFill>
                <a:latin typeface="+mj-lt"/>
              </a:rPr>
              <a:t>Consetetu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adipscing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litr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nonumy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irmo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tempo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invidun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u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labore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</a:t>
            </a:r>
            <a:r>
              <a:rPr lang="en-GB">
                <a:solidFill>
                  <a:srgbClr val="737373"/>
                </a:solidFill>
                <a:latin typeface="+mj-lt"/>
              </a:rPr>
              <a:t> magna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liquy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rat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oluptua</a:t>
            </a:r>
            <a:r>
              <a:rPr lang="en-GB">
                <a:solidFill>
                  <a:srgbClr val="737373"/>
                </a:solidFill>
                <a:latin typeface="+mj-lt"/>
              </a:rPr>
              <a:t>. A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ero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o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ccusam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justo</a:t>
            </a:r>
            <a:r>
              <a:rPr lang="en-GB">
                <a:solidFill>
                  <a:srgbClr val="737373"/>
                </a:solidFill>
                <a:latin typeface="+mj-lt"/>
              </a:rPr>
              <a:t> duo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a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rebum</a:t>
            </a:r>
            <a:r>
              <a:rPr lang="en-GB">
                <a:solidFill>
                  <a:srgbClr val="737373"/>
                </a:solidFill>
                <a:latin typeface="+mj-lt"/>
              </a:rPr>
              <a:t>. </a:t>
            </a:r>
          </a:p>
          <a:p>
            <a:pPr marL="177697" indent="-177697">
              <a:buFont typeface="Arial" charset="0"/>
              <a:buChar char="•"/>
            </a:pPr>
            <a:endParaRPr lang="en-GB">
              <a:solidFill>
                <a:srgbClr val="737373"/>
              </a:solidFill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218047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_Lifestyl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98273FE-ED59-4105-BC3C-7EB7E84A07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13"/>
            <a:ext cx="12436472" cy="6993497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8112" y="1350587"/>
            <a:ext cx="5394849" cy="659198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3672" spc="0">
                <a:latin typeface="+mj-lt"/>
              </a:defRPr>
            </a:lvl1pPr>
          </a:lstStyle>
          <a:p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ed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t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erspiciati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</a:t>
            </a:r>
            <a:endParaRPr lang="en-GB">
              <a:solidFill>
                <a:srgbClr val="737373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8112" y="2804883"/>
            <a:ext cx="4906956" cy="3290756"/>
          </a:xfrm>
        </p:spPr>
        <p:txBody>
          <a:bodyPr wrap="square" numCol="1">
            <a:spAutoFit/>
          </a:bodyPr>
          <a:lstStyle>
            <a:lvl1pPr marL="181233" indent="-181233" algn="l">
              <a:lnSpc>
                <a:spcPct val="120000"/>
              </a:lnSpc>
              <a:buFont typeface="Arial" charset="0"/>
              <a:buChar char="•"/>
              <a:defRPr sz="1530"/>
            </a:lvl1pPr>
          </a:lstStyle>
          <a:p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lor</a:t>
            </a:r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sit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met</a:t>
            </a:r>
            <a:endParaRPr lang="en-GB" b="1">
              <a:solidFill>
                <a:srgbClr val="737373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r>
              <a:rPr lang="en-GB" err="1">
                <a:solidFill>
                  <a:srgbClr val="737373"/>
                </a:solidFill>
                <a:latin typeface="+mj-lt"/>
              </a:rPr>
              <a:t>Consetetu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adipscing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litr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nonumy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irmo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tempo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invidun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u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labore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</a:t>
            </a:r>
            <a:r>
              <a:rPr lang="en-GB">
                <a:solidFill>
                  <a:srgbClr val="737373"/>
                </a:solidFill>
                <a:latin typeface="+mj-lt"/>
              </a:rPr>
              <a:t> magna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liquy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rat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oluptua</a:t>
            </a:r>
            <a:r>
              <a:rPr lang="en-GB">
                <a:solidFill>
                  <a:srgbClr val="737373"/>
                </a:solidFill>
                <a:latin typeface="+mj-lt"/>
              </a:rPr>
              <a:t>. A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ero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o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ccusam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justo</a:t>
            </a:r>
            <a:r>
              <a:rPr lang="en-GB">
                <a:solidFill>
                  <a:srgbClr val="737373"/>
                </a:solidFill>
                <a:latin typeface="+mj-lt"/>
              </a:rPr>
              <a:t> duo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a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rebum</a:t>
            </a:r>
            <a:r>
              <a:rPr lang="en-GB">
                <a:solidFill>
                  <a:srgbClr val="737373"/>
                </a:solidFill>
                <a:latin typeface="+mj-lt"/>
              </a:rPr>
              <a:t>. </a:t>
            </a:r>
          </a:p>
          <a:p>
            <a:pPr marL="177697" indent="-177697">
              <a:buFont typeface="Arial" charset="0"/>
              <a:buChar char="•"/>
            </a:pPr>
            <a:endParaRPr lang="en-GB">
              <a:solidFill>
                <a:srgbClr val="737373"/>
              </a:solidFill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037223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Lifestyl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indoor, person, wall, floor&#10;&#10;Description generated with very high confidence">
            <a:extLst>
              <a:ext uri="{FF2B5EF4-FFF2-40B4-BE49-F238E27FC236}">
                <a16:creationId xmlns:a16="http://schemas.microsoft.com/office/drawing/2014/main" id="{5B17CEA1-E0D1-4041-9A6D-82A6291887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21787"/>
          <a:stretch/>
        </p:blipFill>
        <p:spPr>
          <a:xfrm>
            <a:off x="4226264" y="0"/>
            <a:ext cx="8210211" cy="6994525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8111" y="1068075"/>
            <a:ext cx="3223236" cy="1787605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3672" spc="0">
                <a:latin typeface="+mj-lt"/>
              </a:defRPr>
            </a:lvl1pPr>
          </a:lstStyle>
          <a:p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ed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t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erspiciati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</a:t>
            </a:r>
            <a:endParaRPr lang="en-GB">
              <a:solidFill>
                <a:srgbClr val="737373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8111" y="2804884"/>
            <a:ext cx="3223236" cy="3890966"/>
          </a:xfrm>
        </p:spPr>
        <p:txBody>
          <a:bodyPr wrap="square" numCol="1">
            <a:spAutoFit/>
          </a:bodyPr>
          <a:lstStyle>
            <a:lvl1pPr marL="181233" indent="-181233" algn="l">
              <a:lnSpc>
                <a:spcPct val="120000"/>
              </a:lnSpc>
              <a:buFont typeface="Arial" charset="0"/>
              <a:buChar char="•"/>
              <a:defRPr sz="1530"/>
            </a:lvl1pPr>
          </a:lstStyle>
          <a:p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lor</a:t>
            </a:r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sit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met</a:t>
            </a:r>
            <a:endParaRPr lang="en-GB" b="1">
              <a:solidFill>
                <a:srgbClr val="737373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r>
              <a:rPr lang="en-GB" err="1">
                <a:solidFill>
                  <a:srgbClr val="737373"/>
                </a:solidFill>
                <a:latin typeface="+mj-lt"/>
              </a:rPr>
              <a:t>Consetetu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adipscing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litr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nonumy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irmo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tempo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invidun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u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labore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</a:t>
            </a:r>
            <a:r>
              <a:rPr lang="en-GB">
                <a:solidFill>
                  <a:srgbClr val="737373"/>
                </a:solidFill>
                <a:latin typeface="+mj-lt"/>
              </a:rPr>
              <a:t> magna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liquy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rat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oluptua</a:t>
            </a:r>
            <a:r>
              <a:rPr lang="en-GB">
                <a:solidFill>
                  <a:srgbClr val="737373"/>
                </a:solidFill>
                <a:latin typeface="+mj-lt"/>
              </a:rPr>
              <a:t>. A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ero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o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ccusam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justo</a:t>
            </a:r>
            <a:r>
              <a:rPr lang="en-GB">
                <a:solidFill>
                  <a:srgbClr val="737373"/>
                </a:solidFill>
                <a:latin typeface="+mj-lt"/>
              </a:rPr>
              <a:t> duo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a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rebum</a:t>
            </a:r>
            <a:r>
              <a:rPr lang="en-GB">
                <a:solidFill>
                  <a:srgbClr val="737373"/>
                </a:solidFill>
                <a:latin typeface="+mj-lt"/>
              </a:rPr>
              <a:t>. </a:t>
            </a:r>
          </a:p>
          <a:p>
            <a:pPr marL="177697" indent="-177697">
              <a:buFont typeface="Arial" charset="0"/>
              <a:buChar char="•"/>
            </a:pPr>
            <a:endParaRPr lang="en-GB">
              <a:solidFill>
                <a:srgbClr val="737373"/>
              </a:solidFill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08503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_Lifestyl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03058" y="587009"/>
            <a:ext cx="4821982" cy="565027"/>
          </a:xfrm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defRPr sz="3672" spc="0">
                <a:latin typeface="+mj-lt"/>
              </a:defRPr>
            </a:lvl1pPr>
          </a:lstStyle>
          <a:p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ed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t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erspiciati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</a:t>
            </a:r>
            <a:endParaRPr lang="en-GB">
              <a:solidFill>
                <a:srgbClr val="737373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40658" y="5370032"/>
            <a:ext cx="4978706" cy="348685"/>
          </a:xfrm>
        </p:spPr>
        <p:txBody>
          <a:bodyPr wrap="square" numCol="1">
            <a:spAutoFit/>
          </a:bodyPr>
          <a:lstStyle>
            <a:lvl1pPr marL="0" indent="0" algn="l">
              <a:lnSpc>
                <a:spcPct val="120000"/>
              </a:lnSpc>
              <a:buFont typeface="Arial" charset="0"/>
              <a:buNone/>
              <a:defRPr sz="1530"/>
            </a:lvl1pPr>
          </a:lstStyle>
          <a:p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lor</a:t>
            </a:r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sit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met</a:t>
            </a:r>
            <a:endParaRPr lang="en-GB" b="1">
              <a:solidFill>
                <a:srgbClr val="737373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3734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Lifestyl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156404" y="1407090"/>
            <a:ext cx="4653463" cy="122422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3672" spc="0">
                <a:latin typeface="+mj-lt"/>
                <a:cs typeface="Segoe UI Light" panose="020B0502040204020203" pitchFamily="34" charset="0"/>
              </a:defRPr>
            </a:lvl1pPr>
          </a:lstStyle>
          <a:p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ed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t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erspiciati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</a:t>
            </a:r>
            <a:endParaRPr lang="en-GB">
              <a:solidFill>
                <a:srgbClr val="737373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156404" y="2804884"/>
            <a:ext cx="4653464" cy="3078871"/>
          </a:xfrm>
        </p:spPr>
        <p:txBody>
          <a:bodyPr wrap="square" numCol="1">
            <a:spAutoFit/>
          </a:bodyPr>
          <a:lstStyle>
            <a:lvl1pPr marL="181233" indent="-181233" algn="l">
              <a:lnSpc>
                <a:spcPct val="110000"/>
              </a:lnSpc>
              <a:buFont typeface="Arial" charset="0"/>
              <a:buChar char="•"/>
              <a:defRPr sz="1530">
                <a:latin typeface="+mn-lt"/>
              </a:defRPr>
            </a:lvl1pPr>
          </a:lstStyle>
          <a:p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lor</a:t>
            </a:r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sit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met</a:t>
            </a:r>
            <a:endParaRPr lang="en-GB" b="1">
              <a:solidFill>
                <a:srgbClr val="737373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r>
              <a:rPr lang="en-GB" err="1">
                <a:solidFill>
                  <a:srgbClr val="737373"/>
                </a:solidFill>
                <a:latin typeface="+mj-lt"/>
              </a:rPr>
              <a:t>Consetetu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adipscing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litr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nonumy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irmo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tempo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invidun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u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labore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</a:t>
            </a:r>
            <a:r>
              <a:rPr lang="en-GB">
                <a:solidFill>
                  <a:srgbClr val="737373"/>
                </a:solidFill>
                <a:latin typeface="+mj-lt"/>
              </a:rPr>
              <a:t> magna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liquy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rat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oluptua</a:t>
            </a:r>
            <a:r>
              <a:rPr lang="en-GB">
                <a:solidFill>
                  <a:srgbClr val="737373"/>
                </a:solidFill>
                <a:latin typeface="+mj-lt"/>
              </a:rPr>
              <a:t>. A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ero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o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ccusam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justo</a:t>
            </a:r>
            <a:r>
              <a:rPr lang="en-GB">
                <a:solidFill>
                  <a:srgbClr val="737373"/>
                </a:solidFill>
                <a:latin typeface="+mj-lt"/>
              </a:rPr>
              <a:t> duo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a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rebum</a:t>
            </a:r>
            <a:r>
              <a:rPr lang="en-GB">
                <a:solidFill>
                  <a:srgbClr val="737373"/>
                </a:solidFill>
                <a:latin typeface="+mj-lt"/>
              </a:rPr>
              <a:t>. </a:t>
            </a:r>
          </a:p>
          <a:p>
            <a:pPr marL="177697" indent="-177697">
              <a:buFont typeface="Arial" charset="0"/>
              <a:buChar char="•"/>
            </a:pPr>
            <a:endParaRPr lang="en-GB">
              <a:solidFill>
                <a:srgbClr val="737373"/>
              </a:solidFill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682" r="9114"/>
          <a:stretch/>
        </p:blipFill>
        <p:spPr>
          <a:xfrm>
            <a:off x="0" y="0"/>
            <a:ext cx="6256504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925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_Lifestyl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156404" y="594393"/>
            <a:ext cx="4653463" cy="1130053"/>
          </a:xfrm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defRPr sz="3672" spc="0">
                <a:latin typeface="+mj-lt"/>
                <a:cs typeface="Segoe UI Light" panose="020B0502040204020203" pitchFamily="34" charset="0"/>
              </a:defRPr>
            </a:lvl1pPr>
          </a:lstStyle>
          <a:p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ed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t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erspiciati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</a:t>
            </a:r>
            <a:endParaRPr lang="en-GB">
              <a:solidFill>
                <a:srgbClr val="737373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156404" y="2525102"/>
            <a:ext cx="4653464" cy="3196585"/>
          </a:xfrm>
        </p:spPr>
        <p:txBody>
          <a:bodyPr wrap="square" lIns="0" tIns="0" rIns="0" bIns="0" numCol="1">
            <a:spAutoFit/>
          </a:bodyPr>
          <a:lstStyle>
            <a:lvl1pPr marL="181233" indent="-181233" algn="l">
              <a:lnSpc>
                <a:spcPct val="120000"/>
              </a:lnSpc>
              <a:buFont typeface="Arial" charset="0"/>
              <a:buChar char="•"/>
              <a:defRPr sz="1530">
                <a:latin typeface="+mn-lt"/>
              </a:defRPr>
            </a:lvl1pPr>
          </a:lstStyle>
          <a:p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lor</a:t>
            </a:r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sit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met</a:t>
            </a:r>
            <a:endParaRPr lang="en-GB" b="1">
              <a:solidFill>
                <a:srgbClr val="737373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r>
              <a:rPr lang="en-GB" err="1">
                <a:solidFill>
                  <a:srgbClr val="737373"/>
                </a:solidFill>
                <a:latin typeface="+mj-lt"/>
              </a:rPr>
              <a:t>Consetetu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adipscing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litr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nonumy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irmo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tempo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invidun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u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labore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</a:t>
            </a:r>
            <a:r>
              <a:rPr lang="en-GB">
                <a:solidFill>
                  <a:srgbClr val="737373"/>
                </a:solidFill>
                <a:latin typeface="+mj-lt"/>
              </a:rPr>
              <a:t> magna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liquy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rat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oluptua</a:t>
            </a:r>
            <a:r>
              <a:rPr lang="en-GB">
                <a:solidFill>
                  <a:srgbClr val="737373"/>
                </a:solidFill>
                <a:latin typeface="+mj-lt"/>
              </a:rPr>
              <a:t>. A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ero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o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ccusam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justo</a:t>
            </a:r>
            <a:r>
              <a:rPr lang="en-GB">
                <a:solidFill>
                  <a:srgbClr val="737373"/>
                </a:solidFill>
                <a:latin typeface="+mj-lt"/>
              </a:rPr>
              <a:t> duo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a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rebum</a:t>
            </a:r>
            <a:r>
              <a:rPr lang="en-GB">
                <a:solidFill>
                  <a:srgbClr val="737373"/>
                </a:solidFill>
                <a:latin typeface="+mj-lt"/>
              </a:rPr>
              <a:t>. </a:t>
            </a:r>
          </a:p>
          <a:p>
            <a:pPr marL="177697" indent="-177697">
              <a:buFont typeface="Arial" charset="0"/>
              <a:buChar char="•"/>
            </a:pPr>
            <a:endParaRPr lang="en-GB">
              <a:solidFill>
                <a:srgbClr val="737373"/>
              </a:solidFill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136327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/>
          <a:srcRect l="334" t="7467" r="2916" b="9215"/>
          <a:stretch/>
        </p:blipFill>
        <p:spPr>
          <a:xfrm>
            <a:off x="51260" y="1903"/>
            <a:ext cx="12219155" cy="699262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 bwMode="auto">
          <a:xfrm>
            <a:off x="9623" y="2218978"/>
            <a:ext cx="6053159" cy="3192575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521" tIns="149217" rIns="186521" bIns="149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102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Rectangle 3"/>
          <p:cNvSpPr/>
          <p:nvPr userDrawn="1"/>
        </p:nvSpPr>
        <p:spPr bwMode="gray">
          <a:xfrm>
            <a:off x="20712" y="2243523"/>
            <a:ext cx="5977495" cy="3020778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58547" y="6159294"/>
            <a:ext cx="2134840" cy="457313"/>
          </a:xfrm>
          <a:prstGeom prst="rect">
            <a:avLst/>
          </a:prstGeom>
        </p:spPr>
      </p:pic>
      <p:sp>
        <p:nvSpPr>
          <p:cNvPr id="8" name="Rectangle 9"/>
          <p:cNvSpPr/>
          <p:nvPr userDrawn="1"/>
        </p:nvSpPr>
        <p:spPr bwMode="auto">
          <a:xfrm>
            <a:off x="5002" y="1901"/>
            <a:ext cx="12431473" cy="6992624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51796" y="142313"/>
                </a:moveTo>
                <a:lnTo>
                  <a:pt x="151796" y="6715694"/>
                </a:lnTo>
                <a:lnTo>
                  <a:pt x="12035481" y="6715694"/>
                </a:lnTo>
                <a:lnTo>
                  <a:pt x="12035481" y="14231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780" tIns="146225" rIns="182780" bIns="14622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192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99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1625684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_Lifestyl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56404" y="594393"/>
            <a:ext cx="4653463" cy="565027"/>
          </a:xfrm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defRPr lang="en-GB" sz="3672" kern="1200" dirty="0">
                <a:solidFill>
                  <a:srgbClr val="737373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</a:lstStyle>
          <a:p>
            <a:endParaRPr lang="en-GB">
              <a:solidFill>
                <a:srgbClr val="737373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156404" y="2525102"/>
            <a:ext cx="4653464" cy="3196585"/>
          </a:xfrm>
        </p:spPr>
        <p:txBody>
          <a:bodyPr wrap="square" lIns="0" tIns="0" rIns="0" bIns="0" numCol="1">
            <a:spAutoFit/>
          </a:bodyPr>
          <a:lstStyle>
            <a:lvl1pPr marL="181233" indent="-181233" algn="l">
              <a:lnSpc>
                <a:spcPct val="120000"/>
              </a:lnSpc>
              <a:buFont typeface="Arial" charset="0"/>
              <a:buChar char="•"/>
              <a:defRPr sz="1530">
                <a:latin typeface="+mn-lt"/>
              </a:defRPr>
            </a:lvl1pPr>
          </a:lstStyle>
          <a:p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lor</a:t>
            </a:r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sit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met</a:t>
            </a:r>
            <a:endParaRPr lang="en-GB" b="1">
              <a:solidFill>
                <a:srgbClr val="737373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r>
              <a:rPr lang="en-GB" err="1">
                <a:solidFill>
                  <a:srgbClr val="737373"/>
                </a:solidFill>
                <a:latin typeface="+mj-lt"/>
              </a:rPr>
              <a:t>Consetetu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adipscing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litr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nonumy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irmo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tempo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invidun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u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labore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</a:t>
            </a:r>
            <a:r>
              <a:rPr lang="en-GB">
                <a:solidFill>
                  <a:srgbClr val="737373"/>
                </a:solidFill>
                <a:latin typeface="+mj-lt"/>
              </a:rPr>
              <a:t> magna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liquy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rat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oluptua</a:t>
            </a:r>
            <a:r>
              <a:rPr lang="en-GB">
                <a:solidFill>
                  <a:srgbClr val="737373"/>
                </a:solidFill>
                <a:latin typeface="+mj-lt"/>
              </a:rPr>
              <a:t>. A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ero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o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ccusam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justo</a:t>
            </a:r>
            <a:r>
              <a:rPr lang="en-GB">
                <a:solidFill>
                  <a:srgbClr val="737373"/>
                </a:solidFill>
                <a:latin typeface="+mj-lt"/>
              </a:rPr>
              <a:t> duo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a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rebum</a:t>
            </a:r>
            <a:r>
              <a:rPr lang="en-GB">
                <a:solidFill>
                  <a:srgbClr val="737373"/>
                </a:solidFill>
                <a:latin typeface="+mj-lt"/>
              </a:rPr>
              <a:t>. </a:t>
            </a:r>
          </a:p>
          <a:p>
            <a:pPr marL="177697" indent="-177697">
              <a:buFont typeface="Arial" charset="0"/>
              <a:buChar char="•"/>
            </a:pPr>
            <a:endParaRPr lang="en-GB">
              <a:solidFill>
                <a:srgbClr val="737373"/>
              </a:solidFill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FB74AE6-A9B2-439A-885A-73701332C88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254" y="2525102"/>
            <a:ext cx="4653464" cy="3196585"/>
          </a:xfrm>
        </p:spPr>
        <p:txBody>
          <a:bodyPr wrap="square" lIns="0" tIns="0" rIns="0" bIns="0" numCol="1">
            <a:spAutoFit/>
          </a:bodyPr>
          <a:lstStyle>
            <a:lvl1pPr marL="181233" indent="-181233" algn="l">
              <a:lnSpc>
                <a:spcPct val="120000"/>
              </a:lnSpc>
              <a:buFont typeface="Arial" charset="0"/>
              <a:buChar char="•"/>
              <a:defRPr sz="1530">
                <a:latin typeface="+mn-lt"/>
              </a:defRPr>
            </a:lvl1pPr>
          </a:lstStyle>
          <a:p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lor</a:t>
            </a:r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sit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met</a:t>
            </a:r>
            <a:endParaRPr lang="en-GB" b="1">
              <a:solidFill>
                <a:srgbClr val="737373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r>
              <a:rPr lang="en-GB" err="1">
                <a:solidFill>
                  <a:srgbClr val="737373"/>
                </a:solidFill>
                <a:latin typeface="+mj-lt"/>
              </a:rPr>
              <a:t>Consetetu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adipscing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litr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nonumy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irmo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tempo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invidun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u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labore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</a:t>
            </a:r>
            <a:r>
              <a:rPr lang="en-GB">
                <a:solidFill>
                  <a:srgbClr val="737373"/>
                </a:solidFill>
                <a:latin typeface="+mj-lt"/>
              </a:rPr>
              <a:t> magna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liquy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rat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oluptua</a:t>
            </a:r>
            <a:r>
              <a:rPr lang="en-GB">
                <a:solidFill>
                  <a:srgbClr val="737373"/>
                </a:solidFill>
                <a:latin typeface="+mj-lt"/>
              </a:rPr>
              <a:t>. A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ero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o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ccusam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justo</a:t>
            </a:r>
            <a:r>
              <a:rPr lang="en-GB">
                <a:solidFill>
                  <a:srgbClr val="737373"/>
                </a:solidFill>
                <a:latin typeface="+mj-lt"/>
              </a:rPr>
              <a:t> duo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a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rebum</a:t>
            </a:r>
            <a:r>
              <a:rPr lang="en-GB">
                <a:solidFill>
                  <a:srgbClr val="737373"/>
                </a:solidFill>
                <a:latin typeface="+mj-lt"/>
              </a:rPr>
              <a:t>. </a:t>
            </a:r>
          </a:p>
          <a:p>
            <a:pPr marL="177697" indent="-177697">
              <a:buFont typeface="Arial" charset="0"/>
              <a:buChar char="•"/>
            </a:pPr>
            <a:endParaRPr lang="en-GB">
              <a:solidFill>
                <a:srgbClr val="737373"/>
              </a:solidFill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4C84B8F-192E-4D00-BEDE-515153E711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6683" y="647505"/>
            <a:ext cx="4653962" cy="565208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3672"/>
            </a:lvl1pPr>
          </a:lstStyle>
          <a:p>
            <a:pPr lvl="0"/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lick to add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5786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_Lifestyl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27255" y="607716"/>
            <a:ext cx="4653463" cy="1130053"/>
          </a:xfrm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defRPr sz="3672" spc="0">
                <a:latin typeface="+mj-lt"/>
                <a:cs typeface="Segoe UI Light" panose="020B0502040204020203" pitchFamily="34" charset="0"/>
              </a:defRPr>
            </a:lvl1pPr>
          </a:lstStyle>
          <a:p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ed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t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erspiciati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</a:t>
            </a:r>
            <a:endParaRPr lang="en-GB">
              <a:solidFill>
                <a:srgbClr val="737373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27254" y="2578395"/>
            <a:ext cx="4653464" cy="3196585"/>
          </a:xfrm>
        </p:spPr>
        <p:txBody>
          <a:bodyPr wrap="square" lIns="0" tIns="0" rIns="0" bIns="0" numCol="1">
            <a:spAutoFit/>
          </a:bodyPr>
          <a:lstStyle>
            <a:lvl1pPr marL="181233" indent="-181233" algn="l">
              <a:lnSpc>
                <a:spcPct val="120000"/>
              </a:lnSpc>
              <a:buFont typeface="Arial" charset="0"/>
              <a:buChar char="•"/>
              <a:defRPr sz="1530">
                <a:latin typeface="+mn-lt"/>
              </a:defRPr>
            </a:lvl1pPr>
          </a:lstStyle>
          <a:p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lor</a:t>
            </a:r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sit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met</a:t>
            </a:r>
            <a:endParaRPr lang="en-GB" b="1">
              <a:solidFill>
                <a:srgbClr val="737373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r>
              <a:rPr lang="en-GB" err="1">
                <a:solidFill>
                  <a:srgbClr val="737373"/>
                </a:solidFill>
                <a:latin typeface="+mj-lt"/>
              </a:rPr>
              <a:t>Consetetu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adipscing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litr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nonumy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irmo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tempo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invidun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u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labore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</a:t>
            </a:r>
            <a:r>
              <a:rPr lang="en-GB">
                <a:solidFill>
                  <a:srgbClr val="737373"/>
                </a:solidFill>
                <a:latin typeface="+mj-lt"/>
              </a:rPr>
              <a:t> magna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liquy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rat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oluptua</a:t>
            </a:r>
            <a:r>
              <a:rPr lang="en-GB">
                <a:solidFill>
                  <a:srgbClr val="737373"/>
                </a:solidFill>
                <a:latin typeface="+mj-lt"/>
              </a:rPr>
              <a:t>. A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ero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o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ccusam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justo</a:t>
            </a:r>
            <a:r>
              <a:rPr lang="en-GB">
                <a:solidFill>
                  <a:srgbClr val="737373"/>
                </a:solidFill>
                <a:latin typeface="+mj-lt"/>
              </a:rPr>
              <a:t> duo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a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rebum</a:t>
            </a:r>
            <a:r>
              <a:rPr lang="en-GB">
                <a:solidFill>
                  <a:srgbClr val="737373"/>
                </a:solidFill>
                <a:latin typeface="+mj-lt"/>
              </a:rPr>
              <a:t>. </a:t>
            </a:r>
          </a:p>
          <a:p>
            <a:pPr marL="177697" indent="-177697">
              <a:buFont typeface="Arial" charset="0"/>
              <a:buChar char="•"/>
            </a:pPr>
            <a:endParaRPr lang="en-GB">
              <a:solidFill>
                <a:srgbClr val="737373"/>
              </a:solidFill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99736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Lifestyl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156404" y="1407090"/>
            <a:ext cx="4653463" cy="122422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3672" spc="0">
                <a:latin typeface="+mj-lt"/>
                <a:cs typeface="Segoe UI Light" panose="020B0502040204020203" pitchFamily="34" charset="0"/>
              </a:defRPr>
            </a:lvl1pPr>
          </a:lstStyle>
          <a:p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ed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t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erspiciati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</a:t>
            </a:r>
            <a:endParaRPr lang="en-GB">
              <a:solidFill>
                <a:srgbClr val="737373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156404" y="2804884"/>
            <a:ext cx="4653464" cy="3078871"/>
          </a:xfrm>
        </p:spPr>
        <p:txBody>
          <a:bodyPr wrap="square" numCol="1">
            <a:spAutoFit/>
          </a:bodyPr>
          <a:lstStyle>
            <a:lvl1pPr marL="181233" indent="-181233" algn="l">
              <a:lnSpc>
                <a:spcPct val="110000"/>
              </a:lnSpc>
              <a:buFont typeface="Arial" charset="0"/>
              <a:buChar char="•"/>
              <a:defRPr sz="1530">
                <a:latin typeface="+mn-lt"/>
              </a:defRPr>
            </a:lvl1pPr>
          </a:lstStyle>
          <a:p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lor</a:t>
            </a:r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sit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met</a:t>
            </a:r>
            <a:endParaRPr lang="en-GB" b="1">
              <a:solidFill>
                <a:srgbClr val="737373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r>
              <a:rPr lang="en-GB" err="1">
                <a:solidFill>
                  <a:srgbClr val="737373"/>
                </a:solidFill>
                <a:latin typeface="+mj-lt"/>
              </a:rPr>
              <a:t>Consetetu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adipscing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litr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nonumy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irmo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tempo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invidun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u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labore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</a:t>
            </a:r>
            <a:r>
              <a:rPr lang="en-GB">
                <a:solidFill>
                  <a:srgbClr val="737373"/>
                </a:solidFill>
                <a:latin typeface="+mj-lt"/>
              </a:rPr>
              <a:t> magna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liquy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rat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oluptua</a:t>
            </a:r>
            <a:r>
              <a:rPr lang="en-GB">
                <a:solidFill>
                  <a:srgbClr val="737373"/>
                </a:solidFill>
                <a:latin typeface="+mj-lt"/>
              </a:rPr>
              <a:t>. A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ero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o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ccusam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justo</a:t>
            </a:r>
            <a:r>
              <a:rPr lang="en-GB">
                <a:solidFill>
                  <a:srgbClr val="737373"/>
                </a:solidFill>
                <a:latin typeface="+mj-lt"/>
              </a:rPr>
              <a:t> duo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a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rebum</a:t>
            </a:r>
            <a:r>
              <a:rPr lang="en-GB">
                <a:solidFill>
                  <a:srgbClr val="737373"/>
                </a:solidFill>
                <a:latin typeface="+mj-lt"/>
              </a:rPr>
              <a:t>. </a:t>
            </a:r>
          </a:p>
          <a:p>
            <a:pPr marL="177697" indent="-177697">
              <a:buFont typeface="Arial" charset="0"/>
              <a:buChar char="•"/>
            </a:pPr>
            <a:endParaRPr lang="en-GB">
              <a:solidFill>
                <a:srgbClr val="737373"/>
              </a:solidFill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</p:txBody>
      </p:sp>
      <p:pic>
        <p:nvPicPr>
          <p:cNvPr id="8" name="Picture 7" descr="A picture containing building, car, indoor, person&#10;&#10;Description generated with very high confidence">
            <a:extLst>
              <a:ext uri="{FF2B5EF4-FFF2-40B4-BE49-F238E27FC236}">
                <a16:creationId xmlns:a16="http://schemas.microsoft.com/office/drawing/2014/main" id="{AEE5FCC1-965D-4DE3-8515-ECF0705947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563" r="16567"/>
          <a:stretch/>
        </p:blipFill>
        <p:spPr>
          <a:xfrm>
            <a:off x="0" y="1"/>
            <a:ext cx="6256504" cy="701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367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_Lifestyl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looking at the camera&#10;&#10;Description generated with high confidence">
            <a:extLst>
              <a:ext uri="{FF2B5EF4-FFF2-40B4-BE49-F238E27FC236}">
                <a16:creationId xmlns:a16="http://schemas.microsoft.com/office/drawing/2014/main" id="{C4ED586B-602E-43C3-B1AB-84465DF891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333" r="25818"/>
          <a:stretch/>
        </p:blipFill>
        <p:spPr>
          <a:xfrm>
            <a:off x="6179971" y="1"/>
            <a:ext cx="6256504" cy="7013957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27254" y="1407090"/>
            <a:ext cx="5552717" cy="659198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3672" spc="0">
                <a:latin typeface="+mj-lt"/>
                <a:cs typeface="Segoe UI Light" panose="020B0502040204020203" pitchFamily="34" charset="0"/>
              </a:defRPr>
            </a:lvl1pPr>
          </a:lstStyle>
          <a:p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ed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t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erspiciati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</a:t>
            </a:r>
            <a:endParaRPr lang="en-GB">
              <a:solidFill>
                <a:srgbClr val="737373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27254" y="2804884"/>
            <a:ext cx="4653464" cy="3078871"/>
          </a:xfrm>
        </p:spPr>
        <p:txBody>
          <a:bodyPr wrap="square" numCol="1">
            <a:spAutoFit/>
          </a:bodyPr>
          <a:lstStyle>
            <a:lvl1pPr marL="181233" indent="-181233" algn="l">
              <a:lnSpc>
                <a:spcPct val="110000"/>
              </a:lnSpc>
              <a:buFont typeface="Arial" charset="0"/>
              <a:buChar char="•"/>
              <a:defRPr sz="1530">
                <a:latin typeface="+mn-lt"/>
              </a:defRPr>
            </a:lvl1pPr>
          </a:lstStyle>
          <a:p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lor</a:t>
            </a:r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sit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met</a:t>
            </a:r>
            <a:endParaRPr lang="en-GB" b="1">
              <a:solidFill>
                <a:srgbClr val="737373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r>
              <a:rPr lang="en-GB" err="1">
                <a:solidFill>
                  <a:srgbClr val="737373"/>
                </a:solidFill>
                <a:latin typeface="+mj-lt"/>
              </a:rPr>
              <a:t>Consetetu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adipscing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litr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nonumy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irmo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tempo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invidun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u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labore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</a:t>
            </a:r>
            <a:r>
              <a:rPr lang="en-GB">
                <a:solidFill>
                  <a:srgbClr val="737373"/>
                </a:solidFill>
                <a:latin typeface="+mj-lt"/>
              </a:rPr>
              <a:t> magna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liquy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rat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oluptua</a:t>
            </a:r>
            <a:r>
              <a:rPr lang="en-GB">
                <a:solidFill>
                  <a:srgbClr val="737373"/>
                </a:solidFill>
                <a:latin typeface="+mj-lt"/>
              </a:rPr>
              <a:t>. A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ero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o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ccusam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justo</a:t>
            </a:r>
            <a:r>
              <a:rPr lang="en-GB">
                <a:solidFill>
                  <a:srgbClr val="737373"/>
                </a:solidFill>
                <a:latin typeface="+mj-lt"/>
              </a:rPr>
              <a:t> duo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a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rebum</a:t>
            </a:r>
            <a:r>
              <a:rPr lang="en-GB">
                <a:solidFill>
                  <a:srgbClr val="737373"/>
                </a:solidFill>
                <a:latin typeface="+mj-lt"/>
              </a:rPr>
              <a:t>. </a:t>
            </a:r>
          </a:p>
          <a:p>
            <a:pPr marL="177697" indent="-177697">
              <a:buFont typeface="Arial" charset="0"/>
              <a:buChar char="•"/>
            </a:pPr>
            <a:endParaRPr lang="en-GB">
              <a:solidFill>
                <a:srgbClr val="737373"/>
              </a:solidFill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134582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_Lifestyl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ground, thing, object, engine&#10;&#10;Description generated with very high confidence">
            <a:extLst>
              <a:ext uri="{FF2B5EF4-FFF2-40B4-BE49-F238E27FC236}">
                <a16:creationId xmlns:a16="http://schemas.microsoft.com/office/drawing/2014/main" id="{BBF89774-F09D-4FBF-BF0F-B736278C96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303" t="1685" r="27303"/>
          <a:stretch/>
        </p:blipFill>
        <p:spPr>
          <a:xfrm>
            <a:off x="0" y="0"/>
            <a:ext cx="6256504" cy="711648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156404" y="1407090"/>
            <a:ext cx="4653463" cy="122422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3672" spc="0">
                <a:latin typeface="+mj-lt"/>
                <a:cs typeface="Segoe UI Light" panose="020B0502040204020203" pitchFamily="34" charset="0"/>
              </a:defRPr>
            </a:lvl1pPr>
          </a:lstStyle>
          <a:p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ed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t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erspiciati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</a:t>
            </a:r>
            <a:endParaRPr lang="en-GB">
              <a:solidFill>
                <a:srgbClr val="737373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156404" y="2804884"/>
            <a:ext cx="4653464" cy="3078871"/>
          </a:xfrm>
        </p:spPr>
        <p:txBody>
          <a:bodyPr wrap="square" numCol="1">
            <a:spAutoFit/>
          </a:bodyPr>
          <a:lstStyle>
            <a:lvl1pPr marL="181233" indent="-181233" algn="l">
              <a:lnSpc>
                <a:spcPct val="110000"/>
              </a:lnSpc>
              <a:buFont typeface="Arial" charset="0"/>
              <a:buChar char="•"/>
              <a:defRPr sz="1530">
                <a:latin typeface="+mn-lt"/>
              </a:defRPr>
            </a:lvl1pPr>
          </a:lstStyle>
          <a:p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lor</a:t>
            </a:r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sit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met</a:t>
            </a:r>
            <a:endParaRPr lang="en-GB" b="1">
              <a:solidFill>
                <a:srgbClr val="737373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r>
              <a:rPr lang="en-GB" err="1">
                <a:solidFill>
                  <a:srgbClr val="737373"/>
                </a:solidFill>
                <a:latin typeface="+mj-lt"/>
              </a:rPr>
              <a:t>Consetetu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adipscing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litr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nonumy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irmo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tempo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invidun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u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labore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</a:t>
            </a:r>
            <a:r>
              <a:rPr lang="en-GB">
                <a:solidFill>
                  <a:srgbClr val="737373"/>
                </a:solidFill>
                <a:latin typeface="+mj-lt"/>
              </a:rPr>
              <a:t> magna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liquy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rat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oluptua</a:t>
            </a:r>
            <a:r>
              <a:rPr lang="en-GB">
                <a:solidFill>
                  <a:srgbClr val="737373"/>
                </a:solidFill>
                <a:latin typeface="+mj-lt"/>
              </a:rPr>
              <a:t>. A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ero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o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ccusam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justo</a:t>
            </a:r>
            <a:r>
              <a:rPr lang="en-GB">
                <a:solidFill>
                  <a:srgbClr val="737373"/>
                </a:solidFill>
                <a:latin typeface="+mj-lt"/>
              </a:rPr>
              <a:t> duo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a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rebum</a:t>
            </a:r>
            <a:r>
              <a:rPr lang="en-GB">
                <a:solidFill>
                  <a:srgbClr val="737373"/>
                </a:solidFill>
                <a:latin typeface="+mj-lt"/>
              </a:rPr>
              <a:t>. </a:t>
            </a:r>
          </a:p>
          <a:p>
            <a:pPr marL="177697" indent="-177697">
              <a:buFont typeface="Arial" charset="0"/>
              <a:buChar char="•"/>
            </a:pPr>
            <a:endParaRPr lang="en-GB">
              <a:solidFill>
                <a:srgbClr val="737373"/>
              </a:solidFill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872693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Lifestyl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571419" y="1152829"/>
            <a:ext cx="5478675" cy="1789250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3672" spc="0"/>
            </a:lvl1pPr>
          </a:lstStyle>
          <a:p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ed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t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erspiciati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omni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iste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natu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error sit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voluptatem</a:t>
            </a:r>
            <a:endParaRPr lang="en-GB">
              <a:solidFill>
                <a:srgbClr val="737373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571420" y="3497263"/>
            <a:ext cx="5357997" cy="3850551"/>
          </a:xfrm>
        </p:spPr>
        <p:txBody>
          <a:bodyPr wrap="square" lIns="0" tIns="0" rIns="0" bIns="0" numCol="1">
            <a:spAutoFit/>
          </a:bodyPr>
          <a:lstStyle>
            <a:lvl1pPr marL="181233" indent="-181233" algn="l">
              <a:lnSpc>
                <a:spcPct val="120000"/>
              </a:lnSpc>
              <a:spcBef>
                <a:spcPts val="2040"/>
              </a:spcBef>
              <a:buFont typeface="Arial" charset="0"/>
              <a:buChar char="•"/>
              <a:defRPr sz="1530"/>
            </a:lvl1pPr>
          </a:lstStyle>
          <a:p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lor</a:t>
            </a:r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sit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met</a:t>
            </a:r>
            <a:endParaRPr lang="en-GB" b="1">
              <a:solidFill>
                <a:srgbClr val="737373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r>
              <a:rPr lang="en-GB" err="1">
                <a:solidFill>
                  <a:srgbClr val="737373"/>
                </a:solidFill>
                <a:latin typeface="+mj-lt"/>
              </a:rPr>
              <a:t>Consetetu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adipscing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litr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nonumy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irmo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tempo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invidun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u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labore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</a:t>
            </a:r>
            <a:r>
              <a:rPr lang="en-GB">
                <a:solidFill>
                  <a:srgbClr val="737373"/>
                </a:solidFill>
                <a:latin typeface="+mj-lt"/>
              </a:rPr>
              <a:t> magna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liquy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rat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oluptua</a:t>
            </a:r>
            <a:r>
              <a:rPr lang="en-GB">
                <a:solidFill>
                  <a:srgbClr val="737373"/>
                </a:solidFill>
                <a:latin typeface="+mj-lt"/>
              </a:rPr>
              <a:t>. A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ero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o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ccusam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justo</a:t>
            </a:r>
            <a:r>
              <a:rPr lang="en-GB">
                <a:solidFill>
                  <a:srgbClr val="737373"/>
                </a:solidFill>
                <a:latin typeface="+mj-lt"/>
              </a:rPr>
              <a:t> duo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a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rebum</a:t>
            </a:r>
            <a:r>
              <a:rPr lang="en-GB">
                <a:solidFill>
                  <a:srgbClr val="737373"/>
                </a:solidFill>
                <a:latin typeface="+mj-lt"/>
              </a:rPr>
              <a:t>. </a:t>
            </a:r>
          </a:p>
          <a:p>
            <a:pPr marL="177697" indent="-177697">
              <a:buFont typeface="Arial" charset="0"/>
              <a:buChar char="•"/>
            </a:pPr>
            <a:endParaRPr lang="en-GB">
              <a:solidFill>
                <a:srgbClr val="737373"/>
              </a:solidFill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032" y="0"/>
            <a:ext cx="6221270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4732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_Lifestyl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571419" y="1152829"/>
            <a:ext cx="5478675" cy="1789250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3672" spc="0"/>
            </a:lvl1pPr>
          </a:lstStyle>
          <a:p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ed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t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erspiciati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omni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iste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natu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error sit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voluptatem</a:t>
            </a:r>
            <a:endParaRPr lang="en-GB">
              <a:solidFill>
                <a:srgbClr val="737373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571420" y="3497263"/>
            <a:ext cx="5357997" cy="3850551"/>
          </a:xfrm>
        </p:spPr>
        <p:txBody>
          <a:bodyPr wrap="square" lIns="0" tIns="0" rIns="0" bIns="0" numCol="1">
            <a:spAutoFit/>
          </a:bodyPr>
          <a:lstStyle>
            <a:lvl1pPr marL="181233" indent="-181233" algn="l">
              <a:lnSpc>
                <a:spcPct val="120000"/>
              </a:lnSpc>
              <a:spcBef>
                <a:spcPts val="2040"/>
              </a:spcBef>
              <a:buFont typeface="Arial" charset="0"/>
              <a:buChar char="•"/>
              <a:defRPr sz="1530"/>
            </a:lvl1pPr>
          </a:lstStyle>
          <a:p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lor</a:t>
            </a:r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sit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met</a:t>
            </a:r>
            <a:endParaRPr lang="en-GB" b="1">
              <a:solidFill>
                <a:srgbClr val="737373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r>
              <a:rPr lang="en-GB" err="1">
                <a:solidFill>
                  <a:srgbClr val="737373"/>
                </a:solidFill>
                <a:latin typeface="+mj-lt"/>
              </a:rPr>
              <a:t>Consetetu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adipscing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litr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nonumy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irmo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tempo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invidun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u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labore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</a:t>
            </a:r>
            <a:r>
              <a:rPr lang="en-GB">
                <a:solidFill>
                  <a:srgbClr val="737373"/>
                </a:solidFill>
                <a:latin typeface="+mj-lt"/>
              </a:rPr>
              <a:t> magna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liquy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rat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oluptua</a:t>
            </a:r>
            <a:r>
              <a:rPr lang="en-GB">
                <a:solidFill>
                  <a:srgbClr val="737373"/>
                </a:solidFill>
                <a:latin typeface="+mj-lt"/>
              </a:rPr>
              <a:t>. A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ero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o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ccusam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justo</a:t>
            </a:r>
            <a:r>
              <a:rPr lang="en-GB">
                <a:solidFill>
                  <a:srgbClr val="737373"/>
                </a:solidFill>
                <a:latin typeface="+mj-lt"/>
              </a:rPr>
              <a:t> duo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a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rebum</a:t>
            </a:r>
            <a:r>
              <a:rPr lang="en-GB">
                <a:solidFill>
                  <a:srgbClr val="737373"/>
                </a:solidFill>
                <a:latin typeface="+mj-lt"/>
              </a:rPr>
              <a:t>. </a:t>
            </a:r>
          </a:p>
          <a:p>
            <a:pPr marL="177697" indent="-177697">
              <a:buFont typeface="Arial" charset="0"/>
              <a:buChar char="•"/>
            </a:pPr>
            <a:endParaRPr lang="en-GB">
              <a:solidFill>
                <a:srgbClr val="737373"/>
              </a:solidFill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032" y="0"/>
            <a:ext cx="6221270" cy="6994525"/>
          </a:xfrm>
          <a:prstGeom prst="rect">
            <a:avLst/>
          </a:prstGeom>
        </p:spPr>
      </p:pic>
      <p:pic>
        <p:nvPicPr>
          <p:cNvPr id="6" name="Picture 5" descr="A person sitting at a desk with a cat on a table&#10;&#10;Description generated with very high confidence">
            <a:extLst>
              <a:ext uri="{FF2B5EF4-FFF2-40B4-BE49-F238E27FC236}">
                <a16:creationId xmlns:a16="http://schemas.microsoft.com/office/drawing/2014/main" id="{9ABDCD0B-0A9B-4237-8D7E-D0755614DB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15" r="13495"/>
          <a:stretch/>
        </p:blipFill>
        <p:spPr>
          <a:xfrm>
            <a:off x="-902320" y="0"/>
            <a:ext cx="7120558" cy="7001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7841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Lifestyl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8093274" y="619267"/>
            <a:ext cx="3956820" cy="2260106"/>
          </a:xfrm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defRPr sz="3672" spc="0"/>
            </a:lvl1pPr>
          </a:lstStyle>
          <a:p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ed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t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erspiciati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omni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iste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natu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error sit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voluptatem</a:t>
            </a:r>
            <a:endParaRPr lang="en-GB">
              <a:solidFill>
                <a:srgbClr val="737373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986673" y="3390678"/>
            <a:ext cx="4343202" cy="3917648"/>
          </a:xfrm>
        </p:spPr>
        <p:txBody>
          <a:bodyPr wrap="square" numCol="1">
            <a:spAutoFit/>
          </a:bodyPr>
          <a:lstStyle>
            <a:lvl1pPr marL="181233" indent="-181233" algn="l">
              <a:buFont typeface="Arial" charset="0"/>
              <a:buChar char="•"/>
              <a:defRPr sz="2040"/>
            </a:lvl1pPr>
          </a:lstStyle>
          <a:p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lor</a:t>
            </a:r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sit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met</a:t>
            </a:r>
            <a:endParaRPr lang="en-GB" b="1">
              <a:solidFill>
                <a:srgbClr val="737373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r>
              <a:rPr lang="en-GB" err="1">
                <a:solidFill>
                  <a:srgbClr val="737373"/>
                </a:solidFill>
                <a:latin typeface="+mj-lt"/>
              </a:rPr>
              <a:t>Consetetu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adipscing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litr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nonumy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irmo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tempo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invidun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u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labore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</a:t>
            </a:r>
            <a:r>
              <a:rPr lang="en-GB">
                <a:solidFill>
                  <a:srgbClr val="737373"/>
                </a:solidFill>
                <a:latin typeface="+mj-lt"/>
              </a:rPr>
              <a:t> magna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liquy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rat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oluptua</a:t>
            </a:r>
            <a:r>
              <a:rPr lang="en-GB">
                <a:solidFill>
                  <a:srgbClr val="737373"/>
                </a:solidFill>
                <a:latin typeface="+mj-lt"/>
              </a:rPr>
              <a:t>. A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ero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o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ccusam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justo</a:t>
            </a:r>
            <a:r>
              <a:rPr lang="en-GB">
                <a:solidFill>
                  <a:srgbClr val="737373"/>
                </a:solidFill>
                <a:latin typeface="+mj-lt"/>
              </a:rPr>
              <a:t> duo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a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rebum</a:t>
            </a:r>
            <a:r>
              <a:rPr lang="en-GB">
                <a:solidFill>
                  <a:srgbClr val="737373"/>
                </a:solidFill>
                <a:latin typeface="+mj-lt"/>
              </a:rPr>
              <a:t>. </a:t>
            </a:r>
          </a:p>
          <a:p>
            <a:pPr marL="177697" indent="-177697">
              <a:buFont typeface="Arial" charset="0"/>
              <a:buChar char="•"/>
            </a:pPr>
            <a:endParaRPr lang="en-GB">
              <a:solidFill>
                <a:srgbClr val="737373"/>
              </a:solidFill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032" y="0"/>
            <a:ext cx="6221270" cy="6994525"/>
          </a:xfrm>
          <a:prstGeom prst="rect">
            <a:avLst/>
          </a:prstGeom>
        </p:spPr>
      </p:pic>
      <p:pic>
        <p:nvPicPr>
          <p:cNvPr id="4" name="Picture 3" descr="A person sitting at a desk with a cat on a table&#10;&#10;Description generated with very high confidence">
            <a:extLst>
              <a:ext uri="{FF2B5EF4-FFF2-40B4-BE49-F238E27FC236}">
                <a16:creationId xmlns:a16="http://schemas.microsoft.com/office/drawing/2014/main" id="{35DB66FE-B2BC-4DED-B7AA-FB8306194E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15" r="8607"/>
          <a:stretch/>
        </p:blipFill>
        <p:spPr>
          <a:xfrm>
            <a:off x="1" y="0"/>
            <a:ext cx="7634081" cy="7001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3507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bg>
      <p:bgPr>
        <a:solidFill>
          <a:schemeClr val="bg1">
            <a:alpha val="56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FE8B8F-4C4E-4264-BA1E-6F94899083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5008" y="372394"/>
            <a:ext cx="10726460" cy="1351952"/>
          </a:xfrm>
        </p:spPr>
        <p:txBody>
          <a:bodyPr>
            <a:normAutofit/>
          </a:bodyPr>
          <a:lstStyle>
            <a:lvl1pPr>
              <a:defRPr sz="3672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2D569A-343D-4A63-843B-06240C1C90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40657" y="2581405"/>
            <a:ext cx="10726460" cy="350272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buSzPct val="70000"/>
              <a:defRPr sz="2040">
                <a:latin typeface="+mj-lt"/>
              </a:defRPr>
            </a:lvl1pPr>
            <a:lvl2pPr>
              <a:lnSpc>
                <a:spcPct val="120000"/>
              </a:lnSpc>
              <a:spcBef>
                <a:spcPts val="1836"/>
              </a:spcBef>
              <a:buSzPct val="70000"/>
              <a:defRPr sz="1530"/>
            </a:lvl2pPr>
            <a:lvl3pPr>
              <a:lnSpc>
                <a:spcPct val="120000"/>
              </a:lnSpc>
              <a:buSzPct val="70000"/>
              <a:defRPr sz="1530"/>
            </a:lvl3pPr>
            <a:lvl4pPr>
              <a:lnSpc>
                <a:spcPct val="120000"/>
              </a:lnSpc>
              <a:buSzPct val="70000"/>
              <a:defRPr sz="1530"/>
            </a:lvl4pPr>
            <a:lvl5pPr>
              <a:lnSpc>
                <a:spcPct val="120000"/>
              </a:lnSpc>
              <a:buSzPct val="70000"/>
              <a:defRPr sz="153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989518-D5FB-40BB-9B96-823B4A67A3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813C0D-CC87-4BDF-BEBF-9DBC95521A0A}" type="datetimeFigureOut">
              <a:rPr lang="en-US" smtClean="0"/>
              <a:t>5/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11B4C2-42CF-41EA-913C-0EF473FC14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DC925C5-C994-4C31-84F3-D76891432A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05AF1-E2B5-43EC-9CF1-67452EF165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8788300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9143" y="401019"/>
            <a:ext cx="11373008" cy="568888"/>
          </a:xfrm>
        </p:spPr>
        <p:txBody>
          <a:bodyPr/>
          <a:lstStyle>
            <a:lvl1pPr>
              <a:defRPr>
                <a:solidFill>
                  <a:srgbClr val="0078D7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86154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/>
          <a:srcRect r="3854"/>
          <a:stretch/>
        </p:blipFill>
        <p:spPr>
          <a:xfrm>
            <a:off x="2320812" y="1"/>
            <a:ext cx="10119511" cy="7010886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 rot="10800000" flipH="1">
            <a:off x="0" y="491"/>
            <a:ext cx="8463065" cy="7010395"/>
          </a:xfrm>
          <a:prstGeom prst="rect">
            <a:avLst/>
          </a:prstGeom>
          <a:gradFill flip="none" rotWithShape="1">
            <a:gsLst>
              <a:gs pos="67000">
                <a:srgbClr val="040707"/>
              </a:gs>
              <a:gs pos="38000">
                <a:srgbClr val="040707"/>
              </a:gs>
              <a:gs pos="100000">
                <a:srgbClr val="040707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563">
              <a:defRPr/>
            </a:pPr>
            <a:endParaRPr lang="en-US" sz="1800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5" name="Rectangle 9"/>
          <p:cNvSpPr/>
          <p:nvPr userDrawn="1"/>
        </p:nvSpPr>
        <p:spPr bwMode="auto">
          <a:xfrm>
            <a:off x="5002" y="1901"/>
            <a:ext cx="12431473" cy="6992624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51796" y="142313"/>
                </a:moveTo>
                <a:lnTo>
                  <a:pt x="151796" y="6715694"/>
                </a:lnTo>
                <a:lnTo>
                  <a:pt x="12035481" y="6715694"/>
                </a:lnTo>
                <a:lnTo>
                  <a:pt x="12035481" y="14231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780" tIns="146225" rIns="182780" bIns="14622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192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399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9439401"/>
      </p:ext>
    </p:extLst>
  </p:cSld>
  <p:clrMapOvr>
    <a:masterClrMapping/>
  </p:clrMapOvr>
  <p:transition>
    <p:fade/>
  </p:transition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531799" y="401019"/>
            <a:ext cx="11373008" cy="568888"/>
          </a:xfrm>
          <a:prstGeom prst="rect">
            <a:avLst/>
          </a:prstGeom>
        </p:spPr>
        <p:txBody>
          <a:bodyPr vert="horz" wrap="square" lIns="0" tIns="45720" rIns="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idx="1"/>
          </p:nvPr>
        </p:nvSpPr>
        <p:spPr>
          <a:xfrm>
            <a:off x="531799" y="1212385"/>
            <a:ext cx="11373008" cy="5129318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Rectangle 13"/>
          <p:cNvSpPr/>
          <p:nvPr userDrawn="1"/>
        </p:nvSpPr>
        <p:spPr>
          <a:xfrm rot="10800000" flipV="1">
            <a:off x="12315188" y="3"/>
            <a:ext cx="121287" cy="699452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6"/>
          </a:p>
        </p:txBody>
      </p:sp>
    </p:spTree>
    <p:extLst>
      <p:ext uri="{BB962C8B-B14F-4D97-AF65-F5344CB8AC3E}">
        <p14:creationId xmlns:p14="http://schemas.microsoft.com/office/powerpoint/2010/main" val="2359867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1378ACA-1D5B-4E4E-8CAC-CC1978D25A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486CBD-2842-412D-B5F7-CEFCB9B462C9}" type="datetimeFigureOut">
              <a:rPr lang="en-US" smtClean="0"/>
              <a:t>5/7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D82B3FB-7780-4CAA-8618-5DA6179A4A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3AE95B-374D-44AA-A248-C1D5DA6A89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0AA2F2-FFB5-4863-B2A0-DCF1455539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5822637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8B5B6EA-67D4-49EE-B38E-C3183EB0F65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83" y="0"/>
            <a:ext cx="12434711" cy="699452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5A5BE8FF-410A-4B13-A073-24DE0E0C6D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44A7DB2-0218-4588-B6CD-A7A8DCA76E0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8787" cy="1881329"/>
          </a:xfr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28557" indent="0">
              <a:buNone/>
              <a:defRPr>
                <a:solidFill>
                  <a:schemeClr val="bg1"/>
                </a:solidFill>
              </a:defRPr>
            </a:lvl2pPr>
            <a:lvl3pPr marL="457112" indent="0">
              <a:buNone/>
              <a:defRPr>
                <a:solidFill>
                  <a:schemeClr val="bg1"/>
                </a:solidFill>
              </a:defRPr>
            </a:lvl3pPr>
            <a:lvl4pPr marL="685669" indent="0">
              <a:buNone/>
              <a:defRPr>
                <a:solidFill>
                  <a:schemeClr val="bg1"/>
                </a:solidFill>
              </a:defRPr>
            </a:lvl4pPr>
            <a:lvl5pPr marL="914224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66832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kumimoji="0" lang="en-US" sz="3599" b="0" i="0" u="none" strike="noStrike" kern="1200" cap="none" spc="-102" normalizeH="0" baseline="0" noProof="0">
                <a:ln w="3175">
                  <a:noFill/>
                </a:ln>
                <a:gradFill>
                  <a:gsLst>
                    <a:gs pos="1250">
                      <a:srgbClr val="0078D7"/>
                    </a:gs>
                    <a:gs pos="100000">
                      <a:srgbClr val="0078D7"/>
                    </a:gs>
                  </a:gsLst>
                  <a:lin ang="5400000" scaled="0"/>
                </a:gradFill>
                <a:effectLst/>
                <a:uLnTx/>
                <a:uFillTx/>
                <a:latin typeface="+mj-lt"/>
                <a:ea typeface="+mn-ea"/>
                <a:cs typeface="Segoe UI" pitchFamily="34" charset="0"/>
              </a:rPr>
              <a:t>Title text style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74640" y="1212850"/>
            <a:ext cx="11887200" cy="935641"/>
          </a:xfrm>
        </p:spPr>
        <p:txBody>
          <a:bodyPr/>
          <a:lstStyle>
            <a:lvl1pPr marL="0" marR="0" indent="0" algn="l" defTabSz="9325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>
                <a:solidFill>
                  <a:srgbClr val="505050"/>
                </a:solidFill>
                <a:latin typeface="+mj-lt"/>
              </a:defRPr>
            </a:lvl1pPr>
            <a:lvl2pPr marL="584088" marR="0" indent="-241253" algn="l" defTabSz="9325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>
                <a:solidFill>
                  <a:srgbClr val="505050"/>
                </a:solidFill>
                <a:latin typeface="+mn-lt"/>
              </a:defRPr>
            </a:lvl2pPr>
            <a:lvl3pPr marL="857085" marR="0" indent="-285695" algn="l" defTabSz="9325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>
                <a:solidFill>
                  <a:srgbClr val="505050"/>
                </a:solidFill>
                <a:latin typeface="+mn-lt"/>
              </a:defRPr>
            </a:lvl3pPr>
            <a:lvl4pPr marL="457112" indent="0">
              <a:buNone/>
              <a:defRPr>
                <a:solidFill>
                  <a:schemeClr val="tx1">
                    <a:lumMod val="75000"/>
                  </a:schemeClr>
                </a:solidFill>
                <a:latin typeface="+mn-lt"/>
              </a:defRPr>
            </a:lvl4pPr>
            <a:lvl5pPr marL="685669" indent="0">
              <a:buNone/>
              <a:defRPr>
                <a:solidFill>
                  <a:schemeClr val="tx1">
                    <a:lumMod val="75000"/>
                  </a:schemeClr>
                </a:solidFill>
                <a:latin typeface="+mn-lt"/>
              </a:defRPr>
            </a:lvl5pPr>
          </a:lstStyle>
          <a:p>
            <a:pPr marL="0" marR="0" lvl="0" indent="0" algn="l" defTabSz="9325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05050">
                    <a:lumMod val="75000"/>
                  </a:srgb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ubheading text style</a:t>
            </a:r>
          </a:p>
          <a:p>
            <a:pPr marL="584088" marR="0" lvl="1" indent="-241253" algn="l" defTabSz="9325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/>
            </a:pPr>
            <a:r>
              <a:rPr kumimoji="0" lang="en-US" sz="1399" b="1" i="0" u="none" strike="noStrike" kern="1200" cap="none" spc="0" normalizeH="0" baseline="0" noProof="0">
                <a:ln>
                  <a:noFill/>
                </a:ln>
                <a:solidFill>
                  <a:srgbClr val="505050">
                    <a:lumMod val="75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ragraph title text style</a:t>
            </a:r>
          </a:p>
          <a:p>
            <a:pPr marL="857085" marR="0" lvl="2" indent="-285695" algn="l" defTabSz="9325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99" b="0" i="0" u="none" strike="noStrike" kern="1200" cap="none" spc="0" normalizeH="0" baseline="0" noProof="0">
                <a:ln>
                  <a:noFill/>
                </a:ln>
                <a:solidFill>
                  <a:srgbClr val="505050">
                    <a:lumMod val="75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ody text style</a:t>
            </a:r>
          </a:p>
        </p:txBody>
      </p:sp>
    </p:spTree>
    <p:extLst>
      <p:ext uri="{BB962C8B-B14F-4D97-AF65-F5344CB8AC3E}">
        <p14:creationId xmlns:p14="http://schemas.microsoft.com/office/powerpoint/2010/main" val="3930256168"/>
      </p:ext>
    </p:extLst>
  </p:cSld>
  <p:clrMapOvr>
    <a:masterClrMapping/>
  </p:clrMapOvr>
  <p:transition>
    <p:fade/>
  </p:transition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4976" y="1226818"/>
            <a:ext cx="3705225" cy="1195895"/>
          </a:xfrm>
        </p:spPr>
        <p:txBody>
          <a:bodyPr lIns="0" tIns="0" rIns="0" bIns="0"/>
          <a:lstStyle>
            <a:lvl1pPr>
              <a:defRPr sz="2000" spc="0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337300" y="1226818"/>
            <a:ext cx="3690938" cy="3354708"/>
          </a:xfrm>
        </p:spPr>
        <p:txBody>
          <a:bodyPr wrap="square" lIns="0" tIns="0" rIns="0" bIns="0">
            <a:noAutofit/>
          </a:bodyPr>
          <a:lstStyle>
            <a:lvl1pPr marL="0" marR="0" indent="0" algn="l" defTabSz="5174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000" spc="0" baseline="0">
                <a:solidFill>
                  <a:schemeClr val="accent1"/>
                </a:solidFill>
                <a:latin typeface="+mj-lt"/>
              </a:defRPr>
            </a:lvl1pPr>
            <a:lvl2pPr marL="228557" indent="0">
              <a:buNone/>
              <a:defRPr sz="1800"/>
            </a:lvl2pPr>
            <a:lvl3pPr marL="457112" indent="0">
              <a:buNone/>
              <a:defRPr sz="1800"/>
            </a:lvl3pPr>
            <a:lvl4pPr marL="685669" indent="0">
              <a:buNone/>
              <a:defRPr sz="1800"/>
            </a:lvl4pPr>
            <a:lvl5pPr marL="914224" indent="0">
              <a:buNone/>
              <a:defRPr sz="1800"/>
            </a:lvl5pPr>
          </a:lstStyle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</p:txBody>
      </p:sp>
    </p:spTree>
    <p:extLst>
      <p:ext uri="{BB962C8B-B14F-4D97-AF65-F5344CB8AC3E}">
        <p14:creationId xmlns:p14="http://schemas.microsoft.com/office/powerpoint/2010/main" val="1016135298"/>
      </p:ext>
    </p:extLst>
  </p:cSld>
  <p:clrMapOvr>
    <a:masterClrMapping/>
  </p:clrMapOvr>
  <p:transition>
    <p:fade/>
  </p:transition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BDBC305C-A9C3-4278-AFC0-C99DFD80A6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975" y="449264"/>
            <a:ext cx="11563350" cy="77311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456290088"/>
      </p:ext>
    </p:extLst>
  </p:cSld>
  <p:clrMapOvr>
    <a:masterClrMapping/>
  </p:clrMapOvr>
  <p:transition>
    <p:fade/>
  </p:transition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a Placeholder 3">
            <a:extLst>
              <a:ext uri="{FF2B5EF4-FFF2-40B4-BE49-F238E27FC236}">
                <a16:creationId xmlns:a16="http://schemas.microsoft.com/office/drawing/2014/main" id="{8B6023C7-4997-4A57-93EE-3CE85C4A04F6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436475" cy="6994525"/>
          </a:xfrm>
        </p:spPr>
        <p:txBody>
          <a:bodyPr/>
          <a:lstStyle/>
          <a:p>
            <a:r>
              <a:rPr lang="en-US"/>
              <a:t>Click icon to add media</a:t>
            </a:r>
          </a:p>
        </p:txBody>
      </p:sp>
    </p:spTree>
    <p:extLst>
      <p:ext uri="{BB962C8B-B14F-4D97-AF65-F5344CB8AC3E}">
        <p14:creationId xmlns:p14="http://schemas.microsoft.com/office/powerpoint/2010/main" val="2667088298"/>
      </p:ext>
    </p:extLst>
  </p:cSld>
  <p:clrMapOvr>
    <a:masterClrMapping/>
  </p:clrMapOvr>
  <p:transition>
    <p:fade/>
  </p:transition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6087" y="2182299"/>
            <a:ext cx="11567160" cy="1247521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1299"/>
              </a:spcAft>
              <a:buNone/>
              <a:defRPr sz="2600" b="0" i="0">
                <a:solidFill>
                  <a:srgbClr val="000000"/>
                </a:solidFill>
                <a:latin typeface="+mn-lt"/>
              </a:defRPr>
            </a:lvl1pPr>
            <a:lvl2pPr marL="228557" indent="0">
              <a:lnSpc>
                <a:spcPct val="90000"/>
              </a:lnSpc>
              <a:spcBef>
                <a:spcPts val="0"/>
              </a:spcBef>
              <a:spcAft>
                <a:spcPts val="1299"/>
              </a:spcAft>
              <a:buNone/>
              <a:defRPr sz="2000">
                <a:solidFill>
                  <a:srgbClr val="000000"/>
                </a:solidFill>
              </a:defRPr>
            </a:lvl2pPr>
            <a:lvl3pPr marL="457112" indent="0">
              <a:spcBef>
                <a:spcPts val="0"/>
              </a:spcBef>
              <a:spcAft>
                <a:spcPts val="1299"/>
              </a:spcAft>
              <a:buNone/>
              <a:defRPr sz="2000">
                <a:solidFill>
                  <a:srgbClr val="000000"/>
                </a:solidFill>
              </a:defRPr>
            </a:lvl3pPr>
            <a:lvl4pPr marL="685669" indent="0">
              <a:spcBef>
                <a:spcPts val="0"/>
              </a:spcBef>
              <a:spcAft>
                <a:spcPts val="1299"/>
              </a:spcAft>
              <a:buNone/>
              <a:defRPr sz="2000"/>
            </a:lvl4pPr>
            <a:lvl5pPr marL="914224" indent="0">
              <a:buNone/>
              <a:defRPr/>
            </a:lvl5pPr>
          </a:lstStyle>
          <a:p>
            <a:pPr lvl="0"/>
            <a:r>
              <a:rPr lang="en-US"/>
              <a:t>First level Segoe UI 26pt</a:t>
            </a:r>
          </a:p>
          <a:p>
            <a:pPr lvl="1"/>
            <a:r>
              <a:rPr lang="en-US"/>
              <a:t>Second level Segoe UI 20pt</a:t>
            </a:r>
          </a:p>
          <a:p>
            <a:pPr lvl="2"/>
            <a:r>
              <a:rPr lang="en-US"/>
              <a:t>Third level Segoe UI 20p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975" y="449265"/>
            <a:ext cx="11563350" cy="754061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32pt</a:t>
            </a:r>
          </a:p>
        </p:txBody>
      </p:sp>
    </p:spTree>
    <p:extLst>
      <p:ext uri="{BB962C8B-B14F-4D97-AF65-F5344CB8AC3E}">
        <p14:creationId xmlns:p14="http://schemas.microsoft.com/office/powerpoint/2010/main" val="929131507"/>
      </p:ext>
    </p:extLst>
  </p:cSld>
  <p:clrMapOvr>
    <a:masterClrMapping/>
  </p:clrMapOvr>
  <p:transition>
    <p:fade/>
  </p:transition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94554" y="1462925"/>
            <a:ext cx="10845210" cy="1881329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174862" indent="0">
              <a:buNone/>
              <a:defRPr/>
            </a:lvl2pPr>
            <a:lvl3pPr marL="349724" indent="0">
              <a:buNone/>
              <a:defRPr/>
            </a:lvl3pPr>
            <a:lvl4pPr marL="524586" indent="0">
              <a:buNone/>
              <a:defRPr/>
            </a:lvl4pPr>
            <a:lvl5pPr marL="699447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689745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98">
          <p15:clr>
            <a:srgbClr val="5ACBF0"/>
          </p15:clr>
        </p15:guide>
        <p15:guide id="2" orient="horz" pos="903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D in the Classroom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1F75BEE-7AB6-C245-BF36-9DAF28F2B2B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9237680" y="6343839"/>
            <a:ext cx="2798207" cy="372394"/>
          </a:xfrm>
        </p:spPr>
        <p:txBody>
          <a:bodyPr/>
          <a:lstStyle>
            <a:lvl1pPr>
              <a:defRPr sz="918" b="1" i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5F684BCF-8CEB-4ABD-8365-208435A47A8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3C372211-A8D1-504A-9086-76346632CB3D}"/>
              </a:ext>
            </a:extLst>
          </p:cNvPr>
          <p:cNvSpPr txBox="1">
            <a:spLocks/>
          </p:cNvSpPr>
          <p:nvPr userDrawn="1"/>
        </p:nvSpPr>
        <p:spPr>
          <a:xfrm>
            <a:off x="409361" y="6408971"/>
            <a:ext cx="2789435" cy="24213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18" b="1" dirty="0"/>
              <a:t>Microsoft Education </a:t>
            </a:r>
            <a:r>
              <a:rPr lang="en-US" sz="918" dirty="0"/>
              <a:t>3D in the Classroom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185C0E0-19E5-1E4E-8BE9-4D2EB45277F1}"/>
              </a:ext>
            </a:extLst>
          </p:cNvPr>
          <p:cNvCxnSpPr>
            <a:cxnSpLocks/>
          </p:cNvCxnSpPr>
          <p:nvPr userDrawn="1"/>
        </p:nvCxnSpPr>
        <p:spPr>
          <a:xfrm>
            <a:off x="505308" y="388585"/>
            <a:ext cx="276516" cy="0"/>
          </a:xfrm>
          <a:prstGeom prst="line">
            <a:avLst/>
          </a:prstGeom>
          <a:ln w="19050">
            <a:solidFill>
              <a:srgbClr val="ECAE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42742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612" y="6213400"/>
            <a:ext cx="1556447" cy="572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9248271"/>
      </p:ext>
    </p:extLst>
  </p:cSld>
  <p:clrMapOvr>
    <a:masterClrMapping/>
  </p:clrMapOvr>
  <p:transition>
    <p:fade/>
  </p:transition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1220567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2" y="3050675"/>
            <a:ext cx="7315137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0" y="5758901"/>
            <a:ext cx="12435840" cy="1235624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1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62280" y="6209084"/>
            <a:ext cx="1456418" cy="310896"/>
          </a:xfrm>
          <a:prstGeom prst="rect">
            <a:avLst/>
          </a:prstGeom>
        </p:spPr>
      </p:pic>
      <p:pic>
        <p:nvPicPr>
          <p:cNvPr id="6" name="Picture 5" descr="Decorative: Picture of Peter Frem">
            <a:extLst>
              <a:ext uri="{FF2B5EF4-FFF2-40B4-BE49-F238E27FC236}">
                <a16:creationId xmlns:a16="http://schemas.microsoft.com/office/drawing/2014/main" id="{75372531-CDFA-4955-875D-C7798A11E76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68351" y="3192462"/>
            <a:ext cx="1371600" cy="1371600"/>
          </a:xfrm>
          <a:prstGeom prst="rect">
            <a:avLst/>
          </a:prstGeom>
        </p:spPr>
      </p:pic>
      <p:pic>
        <p:nvPicPr>
          <p:cNvPr id="10" name="Picture 9" descr="Decorative: Picture of Karen McCall">
            <a:extLst>
              <a:ext uri="{FF2B5EF4-FFF2-40B4-BE49-F238E27FC236}">
                <a16:creationId xmlns:a16="http://schemas.microsoft.com/office/drawing/2014/main" id="{FAAC9C0B-BC91-4FEC-A0C8-984ACD21053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192226" y="3192462"/>
            <a:ext cx="1371600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78421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8787" cy="2308324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8557" indent="0">
              <a:buNone/>
              <a:defRPr/>
            </a:lvl2pPr>
            <a:lvl3pPr marL="457112" indent="0">
              <a:buNone/>
              <a:defRPr/>
            </a:lvl3pPr>
            <a:lvl4pPr marL="685669" indent="0">
              <a:buNone/>
              <a:defRPr/>
            </a:lvl4pPr>
            <a:lvl5pPr marL="914224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81326550"/>
      </p:ext>
    </p:extLst>
  </p:cSld>
  <p:clrMapOvr>
    <a:masterClrMapping/>
  </p:clrMapOvr>
  <p:transition>
    <p:fade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703" y="1211287"/>
            <a:ext cx="11888787" cy="231170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58072131"/>
      </p:ext>
    </p:extLst>
  </p:cSld>
  <p:clrMapOvr>
    <a:masterClrMapping/>
  </p:clrMapOvr>
  <p:transition>
    <p:fade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1287"/>
            <a:ext cx="5486399" cy="215751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3000" b="0">
                <a:latin typeface="+mn-lt"/>
              </a:defRPr>
            </a:lvl1pPr>
            <a:lvl2pPr marL="255539" indent="0">
              <a:buFont typeface="Wingdings" panose="05000000000000000000" pitchFamily="2" charset="2"/>
              <a:buNone/>
              <a:defRPr sz="2400" b="0"/>
            </a:lvl2pPr>
            <a:lvl3pPr marL="450763" indent="0">
              <a:buFont typeface="Wingdings" panose="05000000000000000000" pitchFamily="2" charset="2"/>
              <a:buNone/>
              <a:tabLst/>
              <a:defRPr sz="2200" b="0"/>
            </a:lvl3pPr>
            <a:lvl4pPr marL="652336" indent="0">
              <a:buFont typeface="Wingdings" panose="05000000000000000000" pitchFamily="2" charset="2"/>
              <a:buNone/>
              <a:defRPr sz="2200" b="0"/>
            </a:lvl4pPr>
            <a:lvl5pPr marL="853911" indent="0">
              <a:buFont typeface="Wingdings" panose="05000000000000000000" pitchFamily="2" charset="2"/>
              <a:buNone/>
              <a:tabLst/>
              <a:defRPr sz="22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65935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5539" indent="0">
              <a:buFont typeface="Arial" panose="020B0604020202020204" pitchFamily="34" charset="0"/>
              <a:buNone/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0763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52336" indent="0">
              <a:buFont typeface="Arial" panose="020B0604020202020204" pitchFamily="34" charset="0"/>
              <a:buNone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53911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14251" marR="0" lvl="0" indent="-514251" algn="l" defTabSz="932563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Click to edit Master text styles</a:t>
            </a:r>
          </a:p>
          <a:p>
            <a:pPr marL="712651" marR="0" lvl="1" indent="-457112" algn="l" defTabSz="9325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/>
              <a:t>Second level</a:t>
            </a:r>
          </a:p>
          <a:p>
            <a:pPr marL="907875" marR="0" lvl="2" indent="-457112" algn="l" defTabSz="9325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/>
              <a:t>Third level</a:t>
            </a:r>
          </a:p>
          <a:p>
            <a:pPr marL="1109449" marR="0" lvl="3" indent="-457112" algn="l" defTabSz="9325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/>
              <a:t>Fourth level</a:t>
            </a:r>
          </a:p>
          <a:p>
            <a:pPr marL="1311023" marR="0" lvl="4" indent="-457112" algn="l" defTabSz="9325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83944519"/>
      </p:ext>
    </p:extLst>
  </p:cSld>
  <p:clrMapOvr>
    <a:masterClrMapping/>
  </p:clrMapOvr>
  <p:transition>
    <p:fade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1287"/>
            <a:ext cx="5486399" cy="2157514"/>
          </a:xfrm>
        </p:spPr>
        <p:txBody>
          <a:bodyPr wrap="square">
            <a:spAutoFit/>
          </a:bodyPr>
          <a:lstStyle>
            <a:lvl1pPr marL="231730" indent="-23173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3000" b="0">
                <a:latin typeface="+mn-lt"/>
              </a:defRPr>
            </a:lvl1pPr>
            <a:lvl2pPr marL="426956" indent="-171417">
              <a:buFont typeface="Wingdings" panose="05000000000000000000" pitchFamily="2" charset="2"/>
              <a:buChar char=""/>
              <a:defRPr sz="2400" b="0"/>
            </a:lvl2pPr>
            <a:lvl3pPr marL="639640" indent="-188876">
              <a:buFont typeface="Wingdings" panose="05000000000000000000" pitchFamily="2" charset="2"/>
              <a:buChar char=""/>
              <a:tabLst/>
              <a:defRPr sz="2200" b="0"/>
            </a:lvl3pPr>
            <a:lvl4pPr marL="828516" indent="-176180">
              <a:buFont typeface="Wingdings" panose="05000000000000000000" pitchFamily="2" charset="2"/>
              <a:buChar char=""/>
              <a:defRPr sz="2200" b="0"/>
            </a:lvl4pPr>
            <a:lvl5pPr marL="1023741" indent="-169831">
              <a:buFont typeface="Wingdings" panose="05000000000000000000" pitchFamily="2" charset="2"/>
              <a:buChar char=""/>
              <a:tabLst/>
              <a:defRPr sz="22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65935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98373" indent="-342834"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93597" indent="-342834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95170" indent="-342834"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96746" indent="-342834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31730" marR="0" lvl="0" indent="-231730" algn="l" defTabSz="932563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Click to edit Master text styles</a:t>
            </a:r>
          </a:p>
          <a:p>
            <a:pPr marL="426956" marR="0" lvl="1" indent="-171417" algn="l" defTabSz="9325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639640" marR="0" lvl="2" indent="-188876" algn="l" defTabSz="9325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828516" marR="0" lvl="3" indent="-176180" algn="l" defTabSz="9325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1023741" marR="0" lvl="4" indent="-169831" algn="l" defTabSz="9325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2658574"/>
      </p:ext>
    </p:extLst>
  </p:cSld>
  <p:clrMapOvr>
    <a:masterClrMapping/>
  </p:clrMapOvr>
  <p:transition>
    <p:fade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63035362"/>
      </p:ext>
    </p:extLst>
  </p:cSld>
  <p:clrMapOvr>
    <a:masterClrMapping/>
  </p:clrMapOvr>
  <p:transition>
    <p:fade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Evidenc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gradFill>
                  <a:gsLst>
                    <a:gs pos="18584">
                      <a:schemeClr val="tx2"/>
                    </a:gs>
                    <a:gs pos="57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ustomer evidence slid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 bwMode="gray">
          <a:xfrm>
            <a:off x="274638" y="1434070"/>
            <a:ext cx="5486400" cy="1827214"/>
          </a:xfrm>
          <a:blipFill>
            <a:blip r:embed="rId2"/>
            <a:stretch>
              <a:fillRect/>
            </a:stretch>
          </a:blipFill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lang="en-US" sz="2400" kern="1200" spc="0" baseline="0" dirty="0">
                <a:noFill/>
                <a:latin typeface="+mn-lt"/>
                <a:ea typeface="+mn-ea"/>
                <a:cs typeface="+mn-cs"/>
              </a:defRPr>
            </a:lvl1pPr>
            <a:lvl2pPr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</a:lstStyle>
          <a:p>
            <a:pPr marL="0" marR="0" lvl="0" indent="0" algn="l" defTabSz="9325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endParaRPr lang="en-US"/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6218237" y="4868863"/>
            <a:ext cx="5945966" cy="182880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82854" tIns="146283" rIns="182854" bIns="146283" numCol="1" rtlCol="0" anchor="ctr" anchorCtr="0" compatLnSpc="1">
            <a:prstTxWarp prst="textNoShape">
              <a:avLst/>
            </a:prstTxWarp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</a:endParaRP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218237" y="1434069"/>
            <a:ext cx="5943601" cy="3433208"/>
          </a:xfrm>
          <a:blipFill>
            <a:blip r:embed="rId3"/>
            <a:stretch>
              <a:fillRect/>
            </a:stretch>
          </a:blipFill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algn="ctr"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</a:lstStyle>
          <a:p>
            <a:pPr marL="0" marR="0" lvl="0" indent="0" algn="l" defTabSz="9325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Your image her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989638" y="1836883"/>
            <a:ext cx="0" cy="4754828"/>
          </a:xfrm>
          <a:prstGeom prst="line">
            <a:avLst/>
          </a:prstGeom>
          <a:ln w="3175">
            <a:solidFill>
              <a:schemeClr val="tx1">
                <a:alpha val="2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274638" y="3260725"/>
            <a:ext cx="5486400" cy="3436938"/>
          </a:xfrm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sz="2400"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6218239" y="4868863"/>
            <a:ext cx="5943600" cy="1827214"/>
          </a:xfrm>
        </p:spPr>
        <p:txBody>
          <a:bodyPr lIns="182880" tIns="146304" rIns="182880" bIns="146304" anchor="ctr">
            <a:noAutofit/>
          </a:bodyPr>
          <a:lstStyle>
            <a:lvl1pPr marL="0" indent="0" algn="ctr">
              <a:buNone/>
              <a:defRPr sz="3199">
                <a:gradFill>
                  <a:gsLst>
                    <a:gs pos="27434">
                      <a:srgbClr val="FFFFFF"/>
                    </a:gs>
                    <a:gs pos="54000">
                      <a:srgbClr val="FFFFFF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91960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9" y="3954463"/>
            <a:ext cx="10058401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9571225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198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11539713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982742178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0" cy="0"/>
          </a:xfr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87A94A5D-A422-419F-8F61-49A5FF3A9159}" type="datetimeFigureOut">
              <a:rPr lang="en-US"/>
              <a:pPr>
                <a:defRPr/>
              </a:pPr>
              <a:t>5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0"/>
            <a:ext cx="0" cy="0"/>
          </a:xfr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0"/>
            <a:ext cx="0" cy="0"/>
          </a:xfr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835F1553-80D1-4FBA-8E25-9A1831250CF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2514384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6865123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740132"/>
            <a:ext cx="4892040" cy="1514261"/>
          </a:xfrm>
        </p:spPr>
        <p:txBody>
          <a:bodyPr wrap="square" anchor="ctr">
            <a:spAutoFit/>
          </a:bodyPr>
          <a:lstStyle>
            <a:lvl1pPr>
              <a:defRPr sz="479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441315" y="0"/>
            <a:ext cx="6995160" cy="69925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99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8053317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alu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20970" y="295275"/>
            <a:ext cx="7043233" cy="917575"/>
          </a:xfrm>
        </p:spPr>
        <p:txBody>
          <a:bodyPr/>
          <a:lstStyle>
            <a:lvl1pPr>
              <a:defRPr sz="39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120970" y="4868863"/>
            <a:ext cx="7042456" cy="1828800"/>
          </a:xfrm>
        </p:spPr>
        <p:txBody>
          <a:bodyPr wrap="square">
            <a:noAutofit/>
          </a:bodyPr>
          <a:lstStyle>
            <a:lvl1pPr marL="0" indent="0">
              <a:spcBef>
                <a:spcPts val="1800"/>
              </a:spcBef>
              <a:buNone/>
              <a:defRPr sz="2000">
                <a:latin typeface="+mn-lt"/>
              </a:defRPr>
            </a:lvl1pPr>
            <a:lvl2pPr marL="228557" indent="0">
              <a:buNone/>
              <a:defRPr/>
            </a:lvl2pPr>
            <a:lvl3pPr marL="457112" indent="0">
              <a:buNone/>
              <a:defRPr/>
            </a:lvl3pPr>
            <a:lvl4pPr marL="685669" indent="0">
              <a:buNone/>
              <a:defRPr/>
            </a:lvl4pPr>
            <a:lvl5pPr marL="914224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5" name="Picture 4" descr="Image of Ignite app on a Windows Device." title="Ignite event image">
            <a:extLst>
              <a:ext uri="{FF2B5EF4-FFF2-40B4-BE49-F238E27FC236}">
                <a16:creationId xmlns:a16="http://schemas.microsoft.com/office/drawing/2014/main" id="{E803C22C-E970-4ADA-A60C-5127C1C2C1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7119" r="5881"/>
          <a:stretch/>
        </p:blipFill>
        <p:spPr>
          <a:xfrm>
            <a:off x="0" y="0"/>
            <a:ext cx="4925696" cy="6995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1194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97329904"/>
      </p:ext>
    </p:extLst>
  </p:cSld>
  <p:clrMapOvr>
    <a:masterClrMapping/>
  </p:clrMapOvr>
  <p:transition>
    <p:fade/>
  </p:transition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46261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2" tIns="46632" rIns="46632" bIns="46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en-US" sz="18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8"/>
            <a:ext cx="11887199" cy="2270177"/>
          </a:xfrm>
        </p:spPr>
        <p:txBody>
          <a:bodyPr/>
          <a:lstStyle>
            <a:lvl1pPr marL="0" indent="0">
              <a:buNone/>
              <a:defRPr sz="3299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8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94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40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795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4441287"/>
      </p:ext>
    </p:extLst>
  </p:cSld>
  <p:clrMapOvr>
    <a:masterClrMapping/>
  </p:clrMapOvr>
  <p:transition>
    <p:fade/>
  </p:transition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82854" rIns="182854" bIns="182854" numCol="1" anchor="t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invGray">
          <a:xfrm>
            <a:off x="464013" y="479425"/>
            <a:ext cx="1436313" cy="306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5659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85646059"/>
      </p:ext>
    </p:extLst>
  </p:cSld>
  <p:clrMapOvr>
    <a:masterClrMapping/>
  </p:clrMapOvr>
  <p:transition>
    <p:fade/>
  </p:transition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999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A121271-FA95-4DD0-9359-064F0EC092C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92967" y="1363663"/>
            <a:ext cx="11871236" cy="1058751"/>
          </a:xfrm>
        </p:spPr>
        <p:txBody>
          <a:bodyPr/>
          <a:lstStyle>
            <a:lvl1pPr>
              <a:defRPr sz="2400">
                <a:solidFill>
                  <a:schemeClr val="tx1">
                    <a:lumMod val="7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75000"/>
                  </a:schemeClr>
                </a:solidFill>
              </a:defRPr>
            </a:lvl2pPr>
            <a:lvl3pPr>
              <a:defRPr sz="1399">
                <a:solidFill>
                  <a:schemeClr val="tx1">
                    <a:lumMod val="75000"/>
                  </a:schemeClr>
                </a:solidFill>
              </a:defRPr>
            </a:lvl3pPr>
            <a:lvl4pPr>
              <a:defRPr sz="1399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399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73558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#MicrosoftEDU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B0F0FF-FD42-41BA-981D-56279315EC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363029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2D61FA-1758-4A86-9084-8B4F7A9A9F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54560" y="1144706"/>
            <a:ext cx="9327356" cy="2435131"/>
          </a:xfrm>
        </p:spPr>
        <p:txBody>
          <a:bodyPr anchor="b"/>
          <a:lstStyle>
            <a:lvl1pPr algn="ctr">
              <a:defRPr sz="6119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FB75FFA-EDDB-4261-9006-19484ED51DB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54560" y="3673745"/>
            <a:ext cx="9327356" cy="1688724"/>
          </a:xfrm>
        </p:spPr>
        <p:txBody>
          <a:bodyPr/>
          <a:lstStyle>
            <a:lvl1pPr marL="0" indent="0" algn="ctr">
              <a:buNone/>
              <a:defRPr sz="2448"/>
            </a:lvl1pPr>
            <a:lvl2pPr marL="466298" indent="0" algn="ctr">
              <a:buNone/>
              <a:defRPr sz="2040"/>
            </a:lvl2pPr>
            <a:lvl3pPr marL="932597" indent="0" algn="ctr">
              <a:buNone/>
              <a:defRPr sz="1836"/>
            </a:lvl3pPr>
            <a:lvl4pPr marL="1398895" indent="0" algn="ctr">
              <a:buNone/>
              <a:defRPr sz="1632"/>
            </a:lvl4pPr>
            <a:lvl5pPr marL="1865193" indent="0" algn="ctr">
              <a:buNone/>
              <a:defRPr sz="1632"/>
            </a:lvl5pPr>
            <a:lvl6pPr marL="2331491" indent="0" algn="ctr">
              <a:buNone/>
              <a:defRPr sz="1632"/>
            </a:lvl6pPr>
            <a:lvl7pPr marL="2797790" indent="0" algn="ctr">
              <a:buNone/>
              <a:defRPr sz="1632"/>
            </a:lvl7pPr>
            <a:lvl8pPr marL="3264088" indent="0" algn="ctr">
              <a:buNone/>
              <a:defRPr sz="1632"/>
            </a:lvl8pPr>
            <a:lvl9pPr marL="3730386" indent="0" algn="ctr">
              <a:buNone/>
              <a:defRPr sz="1632"/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0AEFF2-7461-4C7B-8C3C-1388D8C31B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DE2E20-C700-4A3A-A890-B84EE414F382}" type="datetime1">
              <a:rPr lang="en-US" smtClean="0"/>
              <a:t>5/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C922DC-D00A-495C-9CDB-EBB69225FA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microsoft.com/education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8E6AAE-D18E-4D7E-84AF-9606F79F9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3C030-8119-439B-A7A2-330B51F4C00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008035"/>
      </p:ext>
    </p:extLst>
  </p:cSld>
  <p:clrMapOvr>
    <a:masterClrMapping/>
  </p:clrMapOvr>
  <p:hf hdr="0" dt="0"/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aphic 22">
            <a:extLst>
              <a:ext uri="{FF2B5EF4-FFF2-40B4-BE49-F238E27FC236}">
                <a16:creationId xmlns:a16="http://schemas.microsoft.com/office/drawing/2014/main" id="{6A6F30AB-AF29-46B0-A1EA-1B076617EB61}"/>
              </a:ext>
            </a:extLst>
          </p:cNvPr>
          <p:cNvGrpSpPr/>
          <p:nvPr userDrawn="1"/>
        </p:nvGrpSpPr>
        <p:grpSpPr>
          <a:xfrm>
            <a:off x="485656" y="1416075"/>
            <a:ext cx="9310084" cy="5579818"/>
            <a:chOff x="209409" y="1378910"/>
            <a:chExt cx="9127067" cy="5470906"/>
          </a:xfrm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9534263D-94AE-4587-AD0A-06333132079F}"/>
                </a:ext>
              </a:extLst>
            </p:cNvPr>
            <p:cNvSpPr/>
            <p:nvPr/>
          </p:nvSpPr>
          <p:spPr>
            <a:xfrm>
              <a:off x="7334193" y="1378910"/>
              <a:ext cx="2000250" cy="4131733"/>
            </a:xfrm>
            <a:custGeom>
              <a:avLst/>
              <a:gdLst>
                <a:gd name="connsiteX0" fmla="*/ 353 w 2000249"/>
                <a:gd name="connsiteY0" fmla="*/ 1000287 h 4131733"/>
                <a:gd name="connsiteX1" fmla="*/ 353 w 2000249"/>
                <a:gd name="connsiteY1" fmla="*/ 4132763 h 4131733"/>
                <a:gd name="connsiteX2" fmla="*/ 2001937 w 2000249"/>
                <a:gd name="connsiteY2" fmla="*/ 2131159 h 4131733"/>
                <a:gd name="connsiteX3" fmla="*/ 2001937 w 2000249"/>
                <a:gd name="connsiteY3" fmla="*/ 1000287 h 4131733"/>
                <a:gd name="connsiteX4" fmla="*/ 2000264 w 2000249"/>
                <a:gd name="connsiteY4" fmla="*/ 1000287 h 4131733"/>
                <a:gd name="connsiteX5" fmla="*/ 1000288 w 2000249"/>
                <a:gd name="connsiteY5" fmla="*/ 353 h 4131733"/>
                <a:gd name="connsiteX6" fmla="*/ 353 w 2000249"/>
                <a:gd name="connsiteY6" fmla="*/ 1000287 h 4131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00249" h="4131733">
                  <a:moveTo>
                    <a:pt x="353" y="1000287"/>
                  </a:moveTo>
                  <a:lnTo>
                    <a:pt x="353" y="4132763"/>
                  </a:lnTo>
                  <a:lnTo>
                    <a:pt x="2001937" y="2131159"/>
                  </a:lnTo>
                  <a:lnTo>
                    <a:pt x="2001937" y="1000287"/>
                  </a:lnTo>
                  <a:lnTo>
                    <a:pt x="2000264" y="1000287"/>
                  </a:lnTo>
                  <a:lnTo>
                    <a:pt x="1000288" y="353"/>
                  </a:lnTo>
                  <a:lnTo>
                    <a:pt x="353" y="1000287"/>
                  </a:lnTo>
                  <a:close/>
                </a:path>
              </a:pathLst>
            </a:custGeom>
            <a:solidFill>
              <a:srgbClr val="FF9349"/>
            </a:solidFill>
            <a:ln w="2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36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A2E85B61-BBCC-42F9-A168-A3A5B55B6406}"/>
                </a:ext>
              </a:extLst>
            </p:cNvPr>
            <p:cNvSpPr/>
            <p:nvPr/>
          </p:nvSpPr>
          <p:spPr>
            <a:xfrm>
              <a:off x="209409" y="3509716"/>
              <a:ext cx="9127067" cy="2000250"/>
            </a:xfrm>
            <a:custGeom>
              <a:avLst/>
              <a:gdLst>
                <a:gd name="connsiteX0" fmla="*/ 353 w 9127066"/>
                <a:gd name="connsiteY0" fmla="*/ 2001936 h 2000249"/>
                <a:gd name="connsiteX1" fmla="*/ 7125137 w 9127066"/>
                <a:gd name="connsiteY1" fmla="*/ 2001936 h 2000249"/>
                <a:gd name="connsiteX2" fmla="*/ 9126742 w 9127066"/>
                <a:gd name="connsiteY2" fmla="*/ 353 h 2000249"/>
                <a:gd name="connsiteX3" fmla="*/ 2001957 w 9127066"/>
                <a:gd name="connsiteY3" fmla="*/ 353 h 2000249"/>
                <a:gd name="connsiteX4" fmla="*/ 353 w 9127066"/>
                <a:gd name="connsiteY4" fmla="*/ 2001936 h 2000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27066" h="2000249">
                  <a:moveTo>
                    <a:pt x="353" y="2001936"/>
                  </a:moveTo>
                  <a:lnTo>
                    <a:pt x="7125137" y="2001936"/>
                  </a:lnTo>
                  <a:lnTo>
                    <a:pt x="9126742" y="353"/>
                  </a:lnTo>
                  <a:lnTo>
                    <a:pt x="2001957" y="353"/>
                  </a:lnTo>
                  <a:lnTo>
                    <a:pt x="353" y="2001936"/>
                  </a:lnTo>
                  <a:close/>
                </a:path>
              </a:pathLst>
            </a:custGeom>
            <a:solidFill>
              <a:schemeClr val="accent4"/>
            </a:solidFill>
            <a:ln w="2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36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84D19879-69FE-440A-86ED-713460CCDF89}"/>
                </a:ext>
              </a:extLst>
            </p:cNvPr>
            <p:cNvSpPr/>
            <p:nvPr/>
          </p:nvSpPr>
          <p:spPr>
            <a:xfrm>
              <a:off x="209409" y="3509716"/>
              <a:ext cx="2000250" cy="3340100"/>
            </a:xfrm>
            <a:custGeom>
              <a:avLst/>
              <a:gdLst>
                <a:gd name="connsiteX0" fmla="*/ 353 w 2000249"/>
                <a:gd name="connsiteY0" fmla="*/ 3339818 h 3340099"/>
                <a:gd name="connsiteX1" fmla="*/ 2001936 w 2000249"/>
                <a:gd name="connsiteY1" fmla="*/ 3339818 h 3340099"/>
                <a:gd name="connsiteX2" fmla="*/ 2001936 w 2000249"/>
                <a:gd name="connsiteY2" fmla="*/ 353 h 3340099"/>
                <a:gd name="connsiteX3" fmla="*/ 353 w 2000249"/>
                <a:gd name="connsiteY3" fmla="*/ 2001957 h 3340099"/>
                <a:gd name="connsiteX4" fmla="*/ 353 w 2000249"/>
                <a:gd name="connsiteY4" fmla="*/ 3339818 h 3340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0249" h="3340099">
                  <a:moveTo>
                    <a:pt x="353" y="3339818"/>
                  </a:moveTo>
                  <a:lnTo>
                    <a:pt x="2001936" y="3339818"/>
                  </a:lnTo>
                  <a:lnTo>
                    <a:pt x="2001936" y="353"/>
                  </a:lnTo>
                  <a:lnTo>
                    <a:pt x="353" y="2001957"/>
                  </a:lnTo>
                  <a:lnTo>
                    <a:pt x="353" y="3339818"/>
                  </a:lnTo>
                  <a:close/>
                </a:path>
              </a:pathLst>
            </a:custGeom>
            <a:solidFill>
              <a:srgbClr val="FF9349"/>
            </a:solidFill>
            <a:ln w="2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36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7665" y="4751948"/>
            <a:ext cx="5347037" cy="487233"/>
          </a:xfrm>
        </p:spPr>
        <p:txBody>
          <a:bodyPr/>
          <a:lstStyle>
            <a:lvl1pPr>
              <a:defRPr sz="244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2739625" y="3715779"/>
            <a:ext cx="5757457" cy="1036169"/>
          </a:xfrm>
        </p:spPr>
        <p:txBody>
          <a:bodyPr anchor="b"/>
          <a:lstStyle>
            <a:lvl1pPr>
              <a:lnSpc>
                <a:spcPct val="85000"/>
              </a:lnSpc>
              <a:defRPr sz="408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object 5"/>
          <p:cNvSpPr/>
          <p:nvPr userDrawn="1"/>
        </p:nvSpPr>
        <p:spPr>
          <a:xfrm>
            <a:off x="12415425" y="3332581"/>
            <a:ext cx="21045" cy="28808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36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2E05329-9C28-4672-8C05-7BC7A9B38898}"/>
              </a:ext>
            </a:extLst>
          </p:cNvPr>
          <p:cNvSpPr/>
          <p:nvPr userDrawn="1"/>
        </p:nvSpPr>
        <p:spPr>
          <a:xfrm>
            <a:off x="769185" y="6562224"/>
            <a:ext cx="1564247" cy="345294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lvl="0" algn="l"/>
            <a:r>
              <a:rPr lang="en-GB" sz="1632">
                <a:solidFill>
                  <a:schemeClr val="bg1"/>
                </a:solidFill>
                <a:latin typeface="Segoe Light" panose="020B0302040504020203" pitchFamily="34" charset="0"/>
              </a:rPr>
              <a:t>#</a:t>
            </a:r>
            <a:r>
              <a:rPr lang="en-GB" sz="1632" err="1">
                <a:solidFill>
                  <a:schemeClr val="bg1"/>
                </a:solidFill>
                <a:latin typeface="Segoe Light" panose="020B0302040504020203" pitchFamily="34" charset="0"/>
              </a:rPr>
              <a:t>MicrosoftEDU</a:t>
            </a:r>
            <a:r>
              <a:rPr lang="en-GB" sz="1632">
                <a:solidFill>
                  <a:schemeClr val="bg1"/>
                </a:solidFill>
                <a:latin typeface="Segoe Light" panose="020B0302040504020203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43944144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95573" y="2946824"/>
            <a:ext cx="6765534" cy="1036169"/>
          </a:xfrm>
        </p:spPr>
        <p:txBody>
          <a:bodyPr anchor="b"/>
          <a:lstStyle>
            <a:lvl1pPr>
              <a:lnSpc>
                <a:spcPct val="90000"/>
              </a:lnSpc>
              <a:defRPr sz="4896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0" name="Graphic 8">
            <a:extLst>
              <a:ext uri="{FF2B5EF4-FFF2-40B4-BE49-F238E27FC236}">
                <a16:creationId xmlns:a16="http://schemas.microsoft.com/office/drawing/2014/main" id="{D69A276E-F078-4EFA-878C-2CDDD1CC3755}"/>
              </a:ext>
            </a:extLst>
          </p:cNvPr>
          <p:cNvGrpSpPr/>
          <p:nvPr userDrawn="1"/>
        </p:nvGrpSpPr>
        <p:grpSpPr>
          <a:xfrm>
            <a:off x="9033748" y="3059315"/>
            <a:ext cx="3404917" cy="3939818"/>
            <a:chOff x="8856162" y="3028174"/>
            <a:chExt cx="3337983" cy="3862917"/>
          </a:xfrm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AB311D71-F5D9-4CF8-8B4C-49AFD856DB95}"/>
                </a:ext>
              </a:extLst>
            </p:cNvPr>
            <p:cNvSpPr/>
            <p:nvPr/>
          </p:nvSpPr>
          <p:spPr>
            <a:xfrm>
              <a:off x="8856162" y="3028174"/>
              <a:ext cx="3337983" cy="2010833"/>
            </a:xfrm>
            <a:custGeom>
              <a:avLst/>
              <a:gdLst>
                <a:gd name="connsiteX0" fmla="*/ 2012540 w 3337983"/>
                <a:gd name="connsiteY0" fmla="*/ 353 h 2010833"/>
                <a:gd name="connsiteX1" fmla="*/ 353 w 3337983"/>
                <a:gd name="connsiteY1" fmla="*/ 2012541 h 2010833"/>
                <a:gd name="connsiteX2" fmla="*/ 3337955 w 3337983"/>
                <a:gd name="connsiteY2" fmla="*/ 2012541 h 2010833"/>
                <a:gd name="connsiteX3" fmla="*/ 3337955 w 3337983"/>
                <a:gd name="connsiteY3" fmla="*/ 353 h 2010833"/>
                <a:gd name="connsiteX4" fmla="*/ 2012540 w 3337983"/>
                <a:gd name="connsiteY4" fmla="*/ 353 h 2010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37983" h="2010833">
                  <a:moveTo>
                    <a:pt x="2012540" y="353"/>
                  </a:moveTo>
                  <a:lnTo>
                    <a:pt x="353" y="2012541"/>
                  </a:lnTo>
                  <a:lnTo>
                    <a:pt x="3337955" y="2012541"/>
                  </a:lnTo>
                  <a:lnTo>
                    <a:pt x="3337955" y="353"/>
                  </a:lnTo>
                  <a:lnTo>
                    <a:pt x="2012540" y="353"/>
                  </a:lnTo>
                  <a:close/>
                </a:path>
              </a:pathLst>
            </a:custGeom>
            <a:solidFill>
              <a:srgbClr val="FF9349"/>
            </a:solidFill>
            <a:ln w="2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36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4BE08BF1-547B-4D9F-BDBD-3BCE6D9DB353}"/>
                </a:ext>
              </a:extLst>
            </p:cNvPr>
            <p:cNvSpPr/>
            <p:nvPr/>
          </p:nvSpPr>
          <p:spPr>
            <a:xfrm>
              <a:off x="8856162" y="3028174"/>
              <a:ext cx="2010833" cy="3862917"/>
            </a:xfrm>
            <a:custGeom>
              <a:avLst/>
              <a:gdLst>
                <a:gd name="connsiteX0" fmla="*/ 353 w 2010833"/>
                <a:gd name="connsiteY0" fmla="*/ 2012519 h 3862916"/>
                <a:gd name="connsiteX1" fmla="*/ 353 w 2010833"/>
                <a:gd name="connsiteY1" fmla="*/ 3863841 h 3862916"/>
                <a:gd name="connsiteX2" fmla="*/ 2012540 w 2010833"/>
                <a:gd name="connsiteY2" fmla="*/ 3863841 h 3862916"/>
                <a:gd name="connsiteX3" fmla="*/ 2012540 w 2010833"/>
                <a:gd name="connsiteY3" fmla="*/ 353 h 3862916"/>
                <a:gd name="connsiteX4" fmla="*/ 353 w 2010833"/>
                <a:gd name="connsiteY4" fmla="*/ 2012519 h 3862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0833" h="3862916">
                  <a:moveTo>
                    <a:pt x="353" y="2012519"/>
                  </a:moveTo>
                  <a:lnTo>
                    <a:pt x="353" y="3863841"/>
                  </a:lnTo>
                  <a:lnTo>
                    <a:pt x="2012540" y="3863841"/>
                  </a:lnTo>
                  <a:lnTo>
                    <a:pt x="2012540" y="353"/>
                  </a:lnTo>
                  <a:lnTo>
                    <a:pt x="353" y="2012519"/>
                  </a:lnTo>
                  <a:close/>
                </a:path>
              </a:pathLst>
            </a:custGeom>
            <a:solidFill>
              <a:schemeClr val="accent4"/>
            </a:solidFill>
            <a:ln w="2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36"/>
            </a:p>
          </p:txBody>
        </p: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A3D90677-F141-4018-BCE0-3B2B85945881}"/>
              </a:ext>
            </a:extLst>
          </p:cNvPr>
          <p:cNvSpPr/>
          <p:nvPr userDrawn="1"/>
        </p:nvSpPr>
        <p:spPr>
          <a:xfrm>
            <a:off x="497137" y="6552509"/>
            <a:ext cx="1564247" cy="345294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lvl="0" algn="l"/>
            <a:r>
              <a:rPr lang="en-GB" sz="1632">
                <a:solidFill>
                  <a:schemeClr val="tx1"/>
                </a:solidFill>
                <a:latin typeface="Segoe Light" panose="020B0302040504020203" pitchFamily="34" charset="0"/>
              </a:rPr>
              <a:t>#</a:t>
            </a:r>
            <a:r>
              <a:rPr lang="en-GB" sz="1632" err="1">
                <a:solidFill>
                  <a:schemeClr val="tx1"/>
                </a:solidFill>
                <a:latin typeface="Segoe Light" panose="020B0302040504020203" pitchFamily="34" charset="0"/>
              </a:rPr>
              <a:t>MicrosoftEDU</a:t>
            </a:r>
            <a:r>
              <a:rPr lang="en-GB" sz="1632">
                <a:solidFill>
                  <a:schemeClr val="tx1"/>
                </a:solidFill>
                <a:latin typeface="Segoe Light" panose="020B0302040504020203" pitchFamily="34" charset="0"/>
              </a:rPr>
              <a:t> 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05" y="405036"/>
            <a:ext cx="2571998" cy="305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4378496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CF35A821-5F96-47D5-8626-7ECC48B1AFC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436475" cy="6994525"/>
          </a:xfrm>
        </p:spPr>
        <p:txBody>
          <a:bodyPr/>
          <a:lstStyle/>
          <a:p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95573" y="2946824"/>
            <a:ext cx="6765534" cy="1036169"/>
          </a:xfrm>
        </p:spPr>
        <p:txBody>
          <a:bodyPr anchor="b"/>
          <a:lstStyle>
            <a:lvl1pPr>
              <a:lnSpc>
                <a:spcPct val="90000"/>
              </a:lnSpc>
              <a:defRPr sz="4896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0" name="Graphic 8">
            <a:extLst>
              <a:ext uri="{FF2B5EF4-FFF2-40B4-BE49-F238E27FC236}">
                <a16:creationId xmlns:a16="http://schemas.microsoft.com/office/drawing/2014/main" id="{D69A276E-F078-4EFA-878C-2CDDD1CC3755}"/>
              </a:ext>
            </a:extLst>
          </p:cNvPr>
          <p:cNvGrpSpPr/>
          <p:nvPr userDrawn="1"/>
        </p:nvGrpSpPr>
        <p:grpSpPr>
          <a:xfrm>
            <a:off x="9033748" y="3059315"/>
            <a:ext cx="3404917" cy="3939818"/>
            <a:chOff x="8856162" y="3028174"/>
            <a:chExt cx="3337983" cy="3862917"/>
          </a:xfrm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AB311D71-F5D9-4CF8-8B4C-49AFD856DB95}"/>
                </a:ext>
              </a:extLst>
            </p:cNvPr>
            <p:cNvSpPr/>
            <p:nvPr/>
          </p:nvSpPr>
          <p:spPr>
            <a:xfrm>
              <a:off x="8856162" y="3028174"/>
              <a:ext cx="3337983" cy="2010833"/>
            </a:xfrm>
            <a:custGeom>
              <a:avLst/>
              <a:gdLst>
                <a:gd name="connsiteX0" fmla="*/ 2012540 w 3337983"/>
                <a:gd name="connsiteY0" fmla="*/ 353 h 2010833"/>
                <a:gd name="connsiteX1" fmla="*/ 353 w 3337983"/>
                <a:gd name="connsiteY1" fmla="*/ 2012541 h 2010833"/>
                <a:gd name="connsiteX2" fmla="*/ 3337955 w 3337983"/>
                <a:gd name="connsiteY2" fmla="*/ 2012541 h 2010833"/>
                <a:gd name="connsiteX3" fmla="*/ 3337955 w 3337983"/>
                <a:gd name="connsiteY3" fmla="*/ 353 h 2010833"/>
                <a:gd name="connsiteX4" fmla="*/ 2012540 w 3337983"/>
                <a:gd name="connsiteY4" fmla="*/ 353 h 2010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37983" h="2010833">
                  <a:moveTo>
                    <a:pt x="2012540" y="353"/>
                  </a:moveTo>
                  <a:lnTo>
                    <a:pt x="353" y="2012541"/>
                  </a:lnTo>
                  <a:lnTo>
                    <a:pt x="3337955" y="2012541"/>
                  </a:lnTo>
                  <a:lnTo>
                    <a:pt x="3337955" y="353"/>
                  </a:lnTo>
                  <a:lnTo>
                    <a:pt x="2012540" y="353"/>
                  </a:lnTo>
                  <a:close/>
                </a:path>
              </a:pathLst>
            </a:custGeom>
            <a:solidFill>
              <a:srgbClr val="FF9349"/>
            </a:solidFill>
            <a:ln w="2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36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4BE08BF1-547B-4D9F-BDBD-3BCE6D9DB353}"/>
                </a:ext>
              </a:extLst>
            </p:cNvPr>
            <p:cNvSpPr/>
            <p:nvPr/>
          </p:nvSpPr>
          <p:spPr>
            <a:xfrm>
              <a:off x="8856162" y="3028174"/>
              <a:ext cx="2010833" cy="3862917"/>
            </a:xfrm>
            <a:custGeom>
              <a:avLst/>
              <a:gdLst>
                <a:gd name="connsiteX0" fmla="*/ 353 w 2010833"/>
                <a:gd name="connsiteY0" fmla="*/ 2012519 h 3862916"/>
                <a:gd name="connsiteX1" fmla="*/ 353 w 2010833"/>
                <a:gd name="connsiteY1" fmla="*/ 3863841 h 3862916"/>
                <a:gd name="connsiteX2" fmla="*/ 2012540 w 2010833"/>
                <a:gd name="connsiteY2" fmla="*/ 3863841 h 3862916"/>
                <a:gd name="connsiteX3" fmla="*/ 2012540 w 2010833"/>
                <a:gd name="connsiteY3" fmla="*/ 353 h 3862916"/>
                <a:gd name="connsiteX4" fmla="*/ 353 w 2010833"/>
                <a:gd name="connsiteY4" fmla="*/ 2012519 h 3862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0833" h="3862916">
                  <a:moveTo>
                    <a:pt x="353" y="2012519"/>
                  </a:moveTo>
                  <a:lnTo>
                    <a:pt x="353" y="3863841"/>
                  </a:lnTo>
                  <a:lnTo>
                    <a:pt x="2012540" y="3863841"/>
                  </a:lnTo>
                  <a:lnTo>
                    <a:pt x="2012540" y="353"/>
                  </a:lnTo>
                  <a:lnTo>
                    <a:pt x="353" y="2012519"/>
                  </a:lnTo>
                  <a:close/>
                </a:path>
              </a:pathLst>
            </a:custGeom>
            <a:solidFill>
              <a:schemeClr val="accent4"/>
            </a:solidFill>
            <a:ln w="2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36"/>
            </a:p>
          </p:txBody>
        </p: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A3D90677-F141-4018-BCE0-3B2B85945881}"/>
              </a:ext>
            </a:extLst>
          </p:cNvPr>
          <p:cNvSpPr/>
          <p:nvPr userDrawn="1"/>
        </p:nvSpPr>
        <p:spPr>
          <a:xfrm>
            <a:off x="497137" y="6552509"/>
            <a:ext cx="1564247" cy="345294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lvl="0" algn="l"/>
            <a:r>
              <a:rPr lang="en-GB" sz="1632">
                <a:solidFill>
                  <a:schemeClr val="tx1"/>
                </a:solidFill>
                <a:latin typeface="Segoe Light" panose="020B0302040504020203" pitchFamily="34" charset="0"/>
              </a:rPr>
              <a:t>#</a:t>
            </a:r>
            <a:r>
              <a:rPr lang="en-GB" sz="1632" err="1">
                <a:solidFill>
                  <a:schemeClr val="tx1"/>
                </a:solidFill>
                <a:latin typeface="Segoe Light" panose="020B0302040504020203" pitchFamily="34" charset="0"/>
              </a:rPr>
              <a:t>MicrosoftEDU</a:t>
            </a:r>
            <a:r>
              <a:rPr lang="en-GB" sz="1632">
                <a:solidFill>
                  <a:schemeClr val="tx1"/>
                </a:solidFill>
                <a:latin typeface="Segoe Light" panose="020B0302040504020203" pitchFamily="34" charset="0"/>
              </a:rPr>
              <a:t> 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05" y="405036"/>
            <a:ext cx="2571998" cy="305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9511581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aphic 22">
            <a:extLst>
              <a:ext uri="{FF2B5EF4-FFF2-40B4-BE49-F238E27FC236}">
                <a16:creationId xmlns:a16="http://schemas.microsoft.com/office/drawing/2014/main" id="{57FAE471-7101-4903-A9B4-674163EB622B}"/>
              </a:ext>
            </a:extLst>
          </p:cNvPr>
          <p:cNvGrpSpPr/>
          <p:nvPr userDrawn="1"/>
        </p:nvGrpSpPr>
        <p:grpSpPr>
          <a:xfrm>
            <a:off x="492706" y="1414707"/>
            <a:ext cx="9310084" cy="5579818"/>
            <a:chOff x="209409" y="1378910"/>
            <a:chExt cx="9127067" cy="5470906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5E1EB4A-161E-4515-8FE0-F1A84C210BD9}"/>
                </a:ext>
              </a:extLst>
            </p:cNvPr>
            <p:cNvSpPr/>
            <p:nvPr/>
          </p:nvSpPr>
          <p:spPr>
            <a:xfrm>
              <a:off x="7334193" y="1378910"/>
              <a:ext cx="2000250" cy="4131733"/>
            </a:xfrm>
            <a:custGeom>
              <a:avLst/>
              <a:gdLst>
                <a:gd name="connsiteX0" fmla="*/ 353 w 2000249"/>
                <a:gd name="connsiteY0" fmla="*/ 1000287 h 4131733"/>
                <a:gd name="connsiteX1" fmla="*/ 353 w 2000249"/>
                <a:gd name="connsiteY1" fmla="*/ 4132763 h 4131733"/>
                <a:gd name="connsiteX2" fmla="*/ 2001937 w 2000249"/>
                <a:gd name="connsiteY2" fmla="*/ 2131159 h 4131733"/>
                <a:gd name="connsiteX3" fmla="*/ 2001937 w 2000249"/>
                <a:gd name="connsiteY3" fmla="*/ 1000287 h 4131733"/>
                <a:gd name="connsiteX4" fmla="*/ 2000264 w 2000249"/>
                <a:gd name="connsiteY4" fmla="*/ 1000287 h 4131733"/>
                <a:gd name="connsiteX5" fmla="*/ 1000288 w 2000249"/>
                <a:gd name="connsiteY5" fmla="*/ 353 h 4131733"/>
                <a:gd name="connsiteX6" fmla="*/ 353 w 2000249"/>
                <a:gd name="connsiteY6" fmla="*/ 1000287 h 4131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00249" h="4131733">
                  <a:moveTo>
                    <a:pt x="353" y="1000287"/>
                  </a:moveTo>
                  <a:lnTo>
                    <a:pt x="353" y="4132763"/>
                  </a:lnTo>
                  <a:lnTo>
                    <a:pt x="2001937" y="2131159"/>
                  </a:lnTo>
                  <a:lnTo>
                    <a:pt x="2001937" y="1000287"/>
                  </a:lnTo>
                  <a:lnTo>
                    <a:pt x="2000264" y="1000287"/>
                  </a:lnTo>
                  <a:lnTo>
                    <a:pt x="1000288" y="353"/>
                  </a:lnTo>
                  <a:lnTo>
                    <a:pt x="353" y="1000287"/>
                  </a:lnTo>
                  <a:close/>
                </a:path>
              </a:pathLst>
            </a:custGeom>
            <a:solidFill>
              <a:srgbClr val="FF9349"/>
            </a:solidFill>
            <a:ln w="2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36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25F9BF3F-BE15-49E9-A50E-24E32BA20307}"/>
                </a:ext>
              </a:extLst>
            </p:cNvPr>
            <p:cNvSpPr/>
            <p:nvPr/>
          </p:nvSpPr>
          <p:spPr>
            <a:xfrm>
              <a:off x="209409" y="3509716"/>
              <a:ext cx="9127067" cy="2000250"/>
            </a:xfrm>
            <a:custGeom>
              <a:avLst/>
              <a:gdLst>
                <a:gd name="connsiteX0" fmla="*/ 353 w 9127066"/>
                <a:gd name="connsiteY0" fmla="*/ 2001936 h 2000249"/>
                <a:gd name="connsiteX1" fmla="*/ 7125137 w 9127066"/>
                <a:gd name="connsiteY1" fmla="*/ 2001936 h 2000249"/>
                <a:gd name="connsiteX2" fmla="*/ 9126742 w 9127066"/>
                <a:gd name="connsiteY2" fmla="*/ 353 h 2000249"/>
                <a:gd name="connsiteX3" fmla="*/ 2001957 w 9127066"/>
                <a:gd name="connsiteY3" fmla="*/ 353 h 2000249"/>
                <a:gd name="connsiteX4" fmla="*/ 353 w 9127066"/>
                <a:gd name="connsiteY4" fmla="*/ 2001936 h 2000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27066" h="2000249">
                  <a:moveTo>
                    <a:pt x="353" y="2001936"/>
                  </a:moveTo>
                  <a:lnTo>
                    <a:pt x="7125137" y="2001936"/>
                  </a:lnTo>
                  <a:lnTo>
                    <a:pt x="9126742" y="353"/>
                  </a:lnTo>
                  <a:lnTo>
                    <a:pt x="2001957" y="353"/>
                  </a:lnTo>
                  <a:lnTo>
                    <a:pt x="353" y="2001936"/>
                  </a:lnTo>
                  <a:close/>
                </a:path>
              </a:pathLst>
            </a:custGeom>
            <a:solidFill>
              <a:schemeClr val="accent4"/>
            </a:solidFill>
            <a:ln w="2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36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C889BC2D-4841-4DF2-8C40-8A2114DE0A72}"/>
                </a:ext>
              </a:extLst>
            </p:cNvPr>
            <p:cNvSpPr/>
            <p:nvPr/>
          </p:nvSpPr>
          <p:spPr>
            <a:xfrm>
              <a:off x="209409" y="3509716"/>
              <a:ext cx="2000250" cy="3340100"/>
            </a:xfrm>
            <a:custGeom>
              <a:avLst/>
              <a:gdLst>
                <a:gd name="connsiteX0" fmla="*/ 353 w 2000249"/>
                <a:gd name="connsiteY0" fmla="*/ 3339818 h 3340099"/>
                <a:gd name="connsiteX1" fmla="*/ 2001936 w 2000249"/>
                <a:gd name="connsiteY1" fmla="*/ 3339818 h 3340099"/>
                <a:gd name="connsiteX2" fmla="*/ 2001936 w 2000249"/>
                <a:gd name="connsiteY2" fmla="*/ 353 h 3340099"/>
                <a:gd name="connsiteX3" fmla="*/ 353 w 2000249"/>
                <a:gd name="connsiteY3" fmla="*/ 2001957 h 3340099"/>
                <a:gd name="connsiteX4" fmla="*/ 353 w 2000249"/>
                <a:gd name="connsiteY4" fmla="*/ 3339818 h 3340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0249" h="3340099">
                  <a:moveTo>
                    <a:pt x="353" y="3339818"/>
                  </a:moveTo>
                  <a:lnTo>
                    <a:pt x="2001936" y="3339818"/>
                  </a:lnTo>
                  <a:lnTo>
                    <a:pt x="2001936" y="353"/>
                  </a:lnTo>
                  <a:lnTo>
                    <a:pt x="353" y="2001957"/>
                  </a:lnTo>
                  <a:lnTo>
                    <a:pt x="353" y="3339818"/>
                  </a:lnTo>
                  <a:close/>
                </a:path>
              </a:pathLst>
            </a:custGeom>
            <a:solidFill>
              <a:srgbClr val="FF9349"/>
            </a:solidFill>
            <a:ln w="2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36"/>
            </a:p>
          </p:txBody>
        </p: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A790704F-E0C2-4DB3-A1E4-2DF6141F9424}"/>
              </a:ext>
            </a:extLst>
          </p:cNvPr>
          <p:cNvSpPr/>
          <p:nvPr userDrawn="1"/>
        </p:nvSpPr>
        <p:spPr>
          <a:xfrm>
            <a:off x="769185" y="6562224"/>
            <a:ext cx="1564247" cy="345294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lvl="0" algn="l"/>
            <a:r>
              <a:rPr lang="en-GB" sz="1632">
                <a:solidFill>
                  <a:schemeClr val="bg1"/>
                </a:solidFill>
                <a:latin typeface="Segoe Light" panose="020B0302040504020203" pitchFamily="34" charset="0"/>
              </a:rPr>
              <a:t>#</a:t>
            </a:r>
            <a:r>
              <a:rPr lang="en-GB" sz="1632" err="1">
                <a:solidFill>
                  <a:schemeClr val="bg1"/>
                </a:solidFill>
                <a:latin typeface="Segoe Light" panose="020B0302040504020203" pitchFamily="34" charset="0"/>
              </a:rPr>
              <a:t>MicrosoftEDU</a:t>
            </a:r>
            <a:r>
              <a:rPr lang="en-GB" sz="1632">
                <a:solidFill>
                  <a:schemeClr val="bg1"/>
                </a:solidFill>
                <a:latin typeface="Segoe Light" panose="020B0302040504020203" pitchFamily="34" charset="0"/>
              </a:rPr>
              <a:t> 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2835471" y="4062135"/>
            <a:ext cx="5656310" cy="1036169"/>
          </a:xfrm>
        </p:spPr>
        <p:txBody>
          <a:bodyPr anchor="ctr"/>
          <a:lstStyle>
            <a:lvl1pPr>
              <a:lnSpc>
                <a:spcPct val="90000"/>
              </a:lnSpc>
              <a:defRPr sz="4896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05" y="405036"/>
            <a:ext cx="2571998" cy="305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979501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7137" y="2033595"/>
            <a:ext cx="7461885" cy="4392965"/>
          </a:xfrm>
        </p:spPr>
        <p:txBody>
          <a:bodyPr/>
          <a:lstStyle>
            <a:lvl4pPr>
              <a:buClr>
                <a:schemeClr val="accent4"/>
              </a:buCl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A2A82E-E5A3-46CC-8E54-690864029CA7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11" name="Graphic 9">
            <a:extLst>
              <a:ext uri="{FF2B5EF4-FFF2-40B4-BE49-F238E27FC236}">
                <a16:creationId xmlns:a16="http://schemas.microsoft.com/office/drawing/2014/main" id="{762795C3-EABC-4819-BAB0-112CEDEB4133}"/>
              </a:ext>
            </a:extLst>
          </p:cNvPr>
          <p:cNvGrpSpPr/>
          <p:nvPr/>
        </p:nvGrpSpPr>
        <p:grpSpPr>
          <a:xfrm>
            <a:off x="8594692" y="-9317"/>
            <a:ext cx="3061618" cy="5661766"/>
            <a:chOff x="8425738" y="-9137"/>
            <a:chExt cx="3001433" cy="5551255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CE590C4-2333-41F7-BA68-581052743902}"/>
                </a:ext>
              </a:extLst>
            </p:cNvPr>
            <p:cNvSpPr/>
            <p:nvPr userDrawn="1"/>
          </p:nvSpPr>
          <p:spPr>
            <a:xfrm>
              <a:off x="10630606" y="-9137"/>
              <a:ext cx="795867" cy="3409950"/>
            </a:xfrm>
            <a:custGeom>
              <a:avLst/>
              <a:gdLst>
                <a:gd name="connsiteX0" fmla="*/ 353 w 795866"/>
                <a:gd name="connsiteY0" fmla="*/ 353 h 3409949"/>
                <a:gd name="connsiteX1" fmla="*/ 353 w 795866"/>
                <a:gd name="connsiteY1" fmla="*/ 3409731 h 3409949"/>
                <a:gd name="connsiteX2" fmla="*/ 796262 w 795866"/>
                <a:gd name="connsiteY2" fmla="*/ 2613823 h 3409949"/>
                <a:gd name="connsiteX3" fmla="*/ 796262 w 795866"/>
                <a:gd name="connsiteY3" fmla="*/ 353 h 3409949"/>
                <a:gd name="connsiteX4" fmla="*/ 353 w 795866"/>
                <a:gd name="connsiteY4" fmla="*/ 353 h 3409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5866" h="3409949">
                  <a:moveTo>
                    <a:pt x="353" y="353"/>
                  </a:moveTo>
                  <a:lnTo>
                    <a:pt x="353" y="3409731"/>
                  </a:lnTo>
                  <a:lnTo>
                    <a:pt x="796262" y="2613823"/>
                  </a:lnTo>
                  <a:lnTo>
                    <a:pt x="796262" y="353"/>
                  </a:lnTo>
                  <a:lnTo>
                    <a:pt x="353" y="353"/>
                  </a:lnTo>
                  <a:close/>
                </a:path>
              </a:pathLst>
            </a:custGeom>
            <a:solidFill>
              <a:schemeClr val="accent4"/>
            </a:solidFill>
            <a:ln w="2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36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A135665-0431-4472-A4CC-160D2E2F2F50}"/>
                </a:ext>
              </a:extLst>
            </p:cNvPr>
            <p:cNvSpPr/>
            <p:nvPr/>
          </p:nvSpPr>
          <p:spPr>
            <a:xfrm>
              <a:off x="8425738" y="3389468"/>
              <a:ext cx="795867" cy="2152650"/>
            </a:xfrm>
            <a:custGeom>
              <a:avLst/>
              <a:gdLst>
                <a:gd name="connsiteX0" fmla="*/ 796262 w 795866"/>
                <a:gd name="connsiteY0" fmla="*/ 1756170 h 2152650"/>
                <a:gd name="connsiteX1" fmla="*/ 796262 w 795866"/>
                <a:gd name="connsiteY1" fmla="*/ 353 h 2152650"/>
                <a:gd name="connsiteX2" fmla="*/ 353 w 795866"/>
                <a:gd name="connsiteY2" fmla="*/ 8819 h 2152650"/>
                <a:gd name="connsiteX3" fmla="*/ 353 w 795866"/>
                <a:gd name="connsiteY3" fmla="*/ 1756170 h 2152650"/>
                <a:gd name="connsiteX4" fmla="*/ 398646 w 795866"/>
                <a:gd name="connsiteY4" fmla="*/ 2153786 h 2152650"/>
                <a:gd name="connsiteX5" fmla="*/ 796262 w 795866"/>
                <a:gd name="connsiteY5" fmla="*/ 1756170 h 2152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95866" h="2152650">
                  <a:moveTo>
                    <a:pt x="796262" y="1756170"/>
                  </a:moveTo>
                  <a:lnTo>
                    <a:pt x="796262" y="353"/>
                  </a:lnTo>
                  <a:lnTo>
                    <a:pt x="353" y="8819"/>
                  </a:lnTo>
                  <a:lnTo>
                    <a:pt x="353" y="1756170"/>
                  </a:lnTo>
                  <a:lnTo>
                    <a:pt x="398646" y="2153786"/>
                  </a:lnTo>
                  <a:lnTo>
                    <a:pt x="796262" y="1756170"/>
                  </a:lnTo>
                  <a:close/>
                </a:path>
              </a:pathLst>
            </a:custGeom>
            <a:solidFill>
              <a:schemeClr val="accent4"/>
            </a:solidFill>
            <a:ln w="2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36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45C9220F-87E3-47E6-AD48-8F548132A08C}"/>
                </a:ext>
              </a:extLst>
            </p:cNvPr>
            <p:cNvSpPr/>
            <p:nvPr/>
          </p:nvSpPr>
          <p:spPr>
            <a:xfrm>
              <a:off x="8425738" y="2604078"/>
              <a:ext cx="3001433" cy="795867"/>
            </a:xfrm>
            <a:custGeom>
              <a:avLst/>
              <a:gdLst>
                <a:gd name="connsiteX0" fmla="*/ 796262 w 3001433"/>
                <a:gd name="connsiteY0" fmla="*/ 607 h 795866"/>
                <a:gd name="connsiteX1" fmla="*/ 796262 w 3001433"/>
                <a:gd name="connsiteY1" fmla="*/ 353 h 795866"/>
                <a:gd name="connsiteX2" fmla="*/ 353 w 3001433"/>
                <a:gd name="connsiteY2" fmla="*/ 796262 h 795866"/>
                <a:gd name="connsiteX3" fmla="*/ 796262 w 3001433"/>
                <a:gd name="connsiteY3" fmla="*/ 796262 h 795866"/>
                <a:gd name="connsiteX4" fmla="*/ 796262 w 3001433"/>
                <a:gd name="connsiteY4" fmla="*/ 796516 h 795866"/>
                <a:gd name="connsiteX5" fmla="*/ 2205221 w 3001433"/>
                <a:gd name="connsiteY5" fmla="*/ 796516 h 795866"/>
                <a:gd name="connsiteX6" fmla="*/ 3001130 w 3001433"/>
                <a:gd name="connsiteY6" fmla="*/ 607 h 795866"/>
                <a:gd name="connsiteX7" fmla="*/ 796262 w 3001433"/>
                <a:gd name="connsiteY7" fmla="*/ 607 h 795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01433" h="795866">
                  <a:moveTo>
                    <a:pt x="796262" y="607"/>
                  </a:moveTo>
                  <a:lnTo>
                    <a:pt x="796262" y="353"/>
                  </a:lnTo>
                  <a:lnTo>
                    <a:pt x="353" y="796262"/>
                  </a:lnTo>
                  <a:lnTo>
                    <a:pt x="796262" y="796262"/>
                  </a:lnTo>
                  <a:lnTo>
                    <a:pt x="796262" y="796516"/>
                  </a:lnTo>
                  <a:lnTo>
                    <a:pt x="2205221" y="796516"/>
                  </a:lnTo>
                  <a:lnTo>
                    <a:pt x="3001130" y="607"/>
                  </a:lnTo>
                  <a:lnTo>
                    <a:pt x="796262" y="607"/>
                  </a:lnTo>
                  <a:close/>
                </a:path>
              </a:pathLst>
            </a:custGeom>
            <a:solidFill>
              <a:srgbClr val="FF9349"/>
            </a:solidFill>
            <a:ln w="2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36"/>
            </a:p>
          </p:txBody>
        </p:sp>
      </p:grpSp>
    </p:spTree>
    <p:extLst>
      <p:ext uri="{BB962C8B-B14F-4D97-AF65-F5344CB8AC3E}">
        <p14:creationId xmlns:p14="http://schemas.microsoft.com/office/powerpoint/2010/main" val="1047508999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7137" y="2033595"/>
            <a:ext cx="7461885" cy="4392965"/>
          </a:xfrm>
        </p:spPr>
        <p:txBody>
          <a:bodyPr/>
          <a:lstStyle>
            <a:lvl4pPr>
              <a:buClr>
                <a:schemeClr val="accent4"/>
              </a:buCl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A2A82E-E5A3-46CC-8E54-690864029CA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8234503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6853" y="2033595"/>
            <a:ext cx="7461885" cy="4392965"/>
          </a:xfrm>
        </p:spPr>
        <p:txBody>
          <a:bodyPr/>
          <a:lstStyle>
            <a:lvl4pPr>
              <a:buClr>
                <a:schemeClr val="accent4"/>
              </a:buCl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02420" y="1292570"/>
            <a:ext cx="7380375" cy="113446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A2A82E-E5A3-46CC-8E54-690864029CA7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19" name="Graphic 11">
            <a:extLst>
              <a:ext uri="{FF2B5EF4-FFF2-40B4-BE49-F238E27FC236}">
                <a16:creationId xmlns:a16="http://schemas.microsoft.com/office/drawing/2014/main" id="{65861E29-6A24-4FC5-A0C9-541FFE129C93}"/>
              </a:ext>
            </a:extLst>
          </p:cNvPr>
          <p:cNvGrpSpPr/>
          <p:nvPr userDrawn="1"/>
        </p:nvGrpSpPr>
        <p:grpSpPr>
          <a:xfrm flipH="1">
            <a:off x="0" y="0"/>
            <a:ext cx="12436475" cy="6994525"/>
            <a:chOff x="0" y="0"/>
            <a:chExt cx="12192000" cy="6858000"/>
          </a:xfrm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C889F0D-7DBF-405C-B292-360816848939}"/>
                </a:ext>
              </a:extLst>
            </p:cNvPr>
            <p:cNvSpPr/>
            <p:nvPr/>
          </p:nvSpPr>
          <p:spPr>
            <a:xfrm>
              <a:off x="-8460" y="185935"/>
              <a:ext cx="1310217" cy="795867"/>
            </a:xfrm>
            <a:custGeom>
              <a:avLst/>
              <a:gdLst>
                <a:gd name="connsiteX0" fmla="*/ 353 w 1310216"/>
                <a:gd name="connsiteY0" fmla="*/ 796262 h 795866"/>
                <a:gd name="connsiteX1" fmla="*/ 1309998 w 1310216"/>
                <a:gd name="connsiteY1" fmla="*/ 796262 h 795866"/>
                <a:gd name="connsiteX2" fmla="*/ 514089 w 1310216"/>
                <a:gd name="connsiteY2" fmla="*/ 353 h 795866"/>
                <a:gd name="connsiteX3" fmla="*/ 353 w 1310216"/>
                <a:gd name="connsiteY3" fmla="*/ 353 h 795866"/>
                <a:gd name="connsiteX4" fmla="*/ 353 w 1310216"/>
                <a:gd name="connsiteY4" fmla="*/ 796262 h 795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0216" h="795866">
                  <a:moveTo>
                    <a:pt x="353" y="796262"/>
                  </a:moveTo>
                  <a:lnTo>
                    <a:pt x="1309998" y="796262"/>
                  </a:lnTo>
                  <a:lnTo>
                    <a:pt x="514089" y="353"/>
                  </a:lnTo>
                  <a:lnTo>
                    <a:pt x="353" y="353"/>
                  </a:lnTo>
                  <a:lnTo>
                    <a:pt x="353" y="796262"/>
                  </a:lnTo>
                  <a:close/>
                </a:path>
              </a:pathLst>
            </a:custGeom>
            <a:solidFill>
              <a:srgbClr val="FF9349"/>
            </a:solidFill>
            <a:ln w="2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36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2E9D07A-9570-4880-80A4-903A9C7FCD3D}"/>
                </a:ext>
              </a:extLst>
            </p:cNvPr>
            <p:cNvSpPr/>
            <p:nvPr/>
          </p:nvSpPr>
          <p:spPr>
            <a:xfrm>
              <a:off x="1290412" y="5680103"/>
              <a:ext cx="5736167" cy="795867"/>
            </a:xfrm>
            <a:custGeom>
              <a:avLst/>
              <a:gdLst>
                <a:gd name="connsiteX0" fmla="*/ 5339687 w 5736166"/>
                <a:gd name="connsiteY0" fmla="*/ 353 h 795866"/>
                <a:gd name="connsiteX1" fmla="*/ 353 w 5736166"/>
                <a:gd name="connsiteY1" fmla="*/ 353 h 795866"/>
                <a:gd name="connsiteX2" fmla="*/ 8819 w 5736166"/>
                <a:gd name="connsiteY2" fmla="*/ 796262 h 795866"/>
                <a:gd name="connsiteX3" fmla="*/ 5339687 w 5736166"/>
                <a:gd name="connsiteY3" fmla="*/ 796262 h 795866"/>
                <a:gd name="connsiteX4" fmla="*/ 5737303 w 5736166"/>
                <a:gd name="connsiteY4" fmla="*/ 397969 h 795866"/>
                <a:gd name="connsiteX5" fmla="*/ 5339687 w 5736166"/>
                <a:gd name="connsiteY5" fmla="*/ 353 h 795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36166" h="795866">
                  <a:moveTo>
                    <a:pt x="5339687" y="353"/>
                  </a:moveTo>
                  <a:lnTo>
                    <a:pt x="353" y="353"/>
                  </a:lnTo>
                  <a:lnTo>
                    <a:pt x="8819" y="796262"/>
                  </a:lnTo>
                  <a:lnTo>
                    <a:pt x="5339687" y="796262"/>
                  </a:lnTo>
                  <a:lnTo>
                    <a:pt x="5737303" y="397969"/>
                  </a:lnTo>
                  <a:lnTo>
                    <a:pt x="5339687" y="353"/>
                  </a:lnTo>
                  <a:close/>
                </a:path>
              </a:pathLst>
            </a:custGeom>
            <a:solidFill>
              <a:srgbClr val="FF9349"/>
            </a:solidFill>
            <a:ln w="2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36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DFBF215E-1AA5-446A-8B6F-C322D9BBA641}"/>
                </a:ext>
              </a:extLst>
            </p:cNvPr>
            <p:cNvSpPr/>
            <p:nvPr/>
          </p:nvSpPr>
          <p:spPr>
            <a:xfrm>
              <a:off x="505023" y="185935"/>
              <a:ext cx="795867" cy="6290733"/>
            </a:xfrm>
            <a:custGeom>
              <a:avLst/>
              <a:gdLst>
                <a:gd name="connsiteX0" fmla="*/ 607 w 795866"/>
                <a:gd name="connsiteY0" fmla="*/ 5494521 h 6290733"/>
                <a:gd name="connsiteX1" fmla="*/ 353 w 795866"/>
                <a:gd name="connsiteY1" fmla="*/ 5494521 h 6290733"/>
                <a:gd name="connsiteX2" fmla="*/ 796283 w 795866"/>
                <a:gd name="connsiteY2" fmla="*/ 6290430 h 6290733"/>
                <a:gd name="connsiteX3" fmla="*/ 796283 w 795866"/>
                <a:gd name="connsiteY3" fmla="*/ 5494521 h 6290733"/>
                <a:gd name="connsiteX4" fmla="*/ 796516 w 795866"/>
                <a:gd name="connsiteY4" fmla="*/ 5494521 h 6290733"/>
                <a:gd name="connsiteX5" fmla="*/ 796516 w 795866"/>
                <a:gd name="connsiteY5" fmla="*/ 796262 h 6290733"/>
                <a:gd name="connsiteX6" fmla="*/ 607 w 795866"/>
                <a:gd name="connsiteY6" fmla="*/ 353 h 6290733"/>
                <a:gd name="connsiteX7" fmla="*/ 607 w 795866"/>
                <a:gd name="connsiteY7" fmla="*/ 5494521 h 6290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5866" h="6290733">
                  <a:moveTo>
                    <a:pt x="607" y="5494521"/>
                  </a:moveTo>
                  <a:lnTo>
                    <a:pt x="353" y="5494521"/>
                  </a:lnTo>
                  <a:lnTo>
                    <a:pt x="796283" y="6290430"/>
                  </a:lnTo>
                  <a:lnTo>
                    <a:pt x="796283" y="5494521"/>
                  </a:lnTo>
                  <a:lnTo>
                    <a:pt x="796516" y="5494521"/>
                  </a:lnTo>
                  <a:lnTo>
                    <a:pt x="796516" y="796262"/>
                  </a:lnTo>
                  <a:lnTo>
                    <a:pt x="607" y="353"/>
                  </a:lnTo>
                  <a:lnTo>
                    <a:pt x="607" y="5494521"/>
                  </a:lnTo>
                  <a:close/>
                </a:path>
              </a:pathLst>
            </a:custGeom>
            <a:solidFill>
              <a:schemeClr val="accent4"/>
            </a:solidFill>
            <a:ln w="2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36"/>
            </a:p>
          </p:txBody>
        </p:sp>
      </p:grpSp>
    </p:spTree>
    <p:extLst>
      <p:ext uri="{BB962C8B-B14F-4D97-AF65-F5344CB8AC3E}">
        <p14:creationId xmlns:p14="http://schemas.microsoft.com/office/powerpoint/2010/main" val="2547099415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7136" y="2033594"/>
            <a:ext cx="3443928" cy="4237193"/>
          </a:xfrm>
        </p:spPr>
        <p:txBody>
          <a:bodyPr/>
          <a:lstStyle>
            <a:lvl4pPr>
              <a:buClr>
                <a:schemeClr val="accent4"/>
              </a:buCl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490410" y="2033594"/>
            <a:ext cx="3443928" cy="4237193"/>
          </a:xfrm>
        </p:spPr>
        <p:txBody>
          <a:bodyPr/>
          <a:lstStyle>
            <a:lvl4pPr>
              <a:buClr>
                <a:schemeClr val="accent4"/>
              </a:buCl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A2A82E-E5A3-46CC-8E54-690864029CA7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28" name="Graphic 9">
            <a:extLst>
              <a:ext uri="{FF2B5EF4-FFF2-40B4-BE49-F238E27FC236}">
                <a16:creationId xmlns:a16="http://schemas.microsoft.com/office/drawing/2014/main" id="{77548FC3-70F7-4DB3-91B0-EBEB6953A22E}"/>
              </a:ext>
            </a:extLst>
          </p:cNvPr>
          <p:cNvGrpSpPr/>
          <p:nvPr userDrawn="1"/>
        </p:nvGrpSpPr>
        <p:grpSpPr>
          <a:xfrm>
            <a:off x="8594692" y="-9317"/>
            <a:ext cx="3061618" cy="5661766"/>
            <a:chOff x="8425738" y="-9137"/>
            <a:chExt cx="3001433" cy="5551255"/>
          </a:xfrm>
        </p:grpSpPr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F9901983-9922-49D5-BBBE-7EA7903309AB}"/>
                </a:ext>
              </a:extLst>
            </p:cNvPr>
            <p:cNvSpPr/>
            <p:nvPr userDrawn="1"/>
          </p:nvSpPr>
          <p:spPr>
            <a:xfrm>
              <a:off x="10630606" y="-9137"/>
              <a:ext cx="795867" cy="3409950"/>
            </a:xfrm>
            <a:custGeom>
              <a:avLst/>
              <a:gdLst>
                <a:gd name="connsiteX0" fmla="*/ 353 w 795866"/>
                <a:gd name="connsiteY0" fmla="*/ 353 h 3409949"/>
                <a:gd name="connsiteX1" fmla="*/ 353 w 795866"/>
                <a:gd name="connsiteY1" fmla="*/ 3409731 h 3409949"/>
                <a:gd name="connsiteX2" fmla="*/ 796262 w 795866"/>
                <a:gd name="connsiteY2" fmla="*/ 2613823 h 3409949"/>
                <a:gd name="connsiteX3" fmla="*/ 796262 w 795866"/>
                <a:gd name="connsiteY3" fmla="*/ 353 h 3409949"/>
                <a:gd name="connsiteX4" fmla="*/ 353 w 795866"/>
                <a:gd name="connsiteY4" fmla="*/ 353 h 3409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5866" h="3409949">
                  <a:moveTo>
                    <a:pt x="353" y="353"/>
                  </a:moveTo>
                  <a:lnTo>
                    <a:pt x="353" y="3409731"/>
                  </a:lnTo>
                  <a:lnTo>
                    <a:pt x="796262" y="2613823"/>
                  </a:lnTo>
                  <a:lnTo>
                    <a:pt x="796262" y="353"/>
                  </a:lnTo>
                  <a:lnTo>
                    <a:pt x="353" y="353"/>
                  </a:lnTo>
                  <a:close/>
                </a:path>
              </a:pathLst>
            </a:custGeom>
            <a:solidFill>
              <a:schemeClr val="accent4"/>
            </a:solidFill>
            <a:ln w="2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36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1D88F01C-4C63-4932-8A23-930BF7EC63E0}"/>
                </a:ext>
              </a:extLst>
            </p:cNvPr>
            <p:cNvSpPr/>
            <p:nvPr/>
          </p:nvSpPr>
          <p:spPr>
            <a:xfrm>
              <a:off x="8425738" y="3389468"/>
              <a:ext cx="795867" cy="2152650"/>
            </a:xfrm>
            <a:custGeom>
              <a:avLst/>
              <a:gdLst>
                <a:gd name="connsiteX0" fmla="*/ 796262 w 795866"/>
                <a:gd name="connsiteY0" fmla="*/ 1756170 h 2152650"/>
                <a:gd name="connsiteX1" fmla="*/ 796262 w 795866"/>
                <a:gd name="connsiteY1" fmla="*/ 353 h 2152650"/>
                <a:gd name="connsiteX2" fmla="*/ 353 w 795866"/>
                <a:gd name="connsiteY2" fmla="*/ 8819 h 2152650"/>
                <a:gd name="connsiteX3" fmla="*/ 353 w 795866"/>
                <a:gd name="connsiteY3" fmla="*/ 1756170 h 2152650"/>
                <a:gd name="connsiteX4" fmla="*/ 398646 w 795866"/>
                <a:gd name="connsiteY4" fmla="*/ 2153786 h 2152650"/>
                <a:gd name="connsiteX5" fmla="*/ 796262 w 795866"/>
                <a:gd name="connsiteY5" fmla="*/ 1756170 h 2152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95866" h="2152650">
                  <a:moveTo>
                    <a:pt x="796262" y="1756170"/>
                  </a:moveTo>
                  <a:lnTo>
                    <a:pt x="796262" y="353"/>
                  </a:lnTo>
                  <a:lnTo>
                    <a:pt x="353" y="8819"/>
                  </a:lnTo>
                  <a:lnTo>
                    <a:pt x="353" y="1756170"/>
                  </a:lnTo>
                  <a:lnTo>
                    <a:pt x="398646" y="2153786"/>
                  </a:lnTo>
                  <a:lnTo>
                    <a:pt x="796262" y="1756170"/>
                  </a:lnTo>
                  <a:close/>
                </a:path>
              </a:pathLst>
            </a:custGeom>
            <a:solidFill>
              <a:schemeClr val="accent4"/>
            </a:solidFill>
            <a:ln w="2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36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0C6A5A9-0AFF-437D-9C66-84D54CA8D534}"/>
                </a:ext>
              </a:extLst>
            </p:cNvPr>
            <p:cNvSpPr/>
            <p:nvPr/>
          </p:nvSpPr>
          <p:spPr>
            <a:xfrm>
              <a:off x="8425738" y="2604078"/>
              <a:ext cx="3001433" cy="795867"/>
            </a:xfrm>
            <a:custGeom>
              <a:avLst/>
              <a:gdLst>
                <a:gd name="connsiteX0" fmla="*/ 796262 w 3001433"/>
                <a:gd name="connsiteY0" fmla="*/ 607 h 795866"/>
                <a:gd name="connsiteX1" fmla="*/ 796262 w 3001433"/>
                <a:gd name="connsiteY1" fmla="*/ 353 h 795866"/>
                <a:gd name="connsiteX2" fmla="*/ 353 w 3001433"/>
                <a:gd name="connsiteY2" fmla="*/ 796262 h 795866"/>
                <a:gd name="connsiteX3" fmla="*/ 796262 w 3001433"/>
                <a:gd name="connsiteY3" fmla="*/ 796262 h 795866"/>
                <a:gd name="connsiteX4" fmla="*/ 796262 w 3001433"/>
                <a:gd name="connsiteY4" fmla="*/ 796516 h 795866"/>
                <a:gd name="connsiteX5" fmla="*/ 2205221 w 3001433"/>
                <a:gd name="connsiteY5" fmla="*/ 796516 h 795866"/>
                <a:gd name="connsiteX6" fmla="*/ 3001130 w 3001433"/>
                <a:gd name="connsiteY6" fmla="*/ 607 h 795866"/>
                <a:gd name="connsiteX7" fmla="*/ 796262 w 3001433"/>
                <a:gd name="connsiteY7" fmla="*/ 607 h 795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01433" h="795866">
                  <a:moveTo>
                    <a:pt x="796262" y="607"/>
                  </a:moveTo>
                  <a:lnTo>
                    <a:pt x="796262" y="353"/>
                  </a:lnTo>
                  <a:lnTo>
                    <a:pt x="353" y="796262"/>
                  </a:lnTo>
                  <a:lnTo>
                    <a:pt x="796262" y="796262"/>
                  </a:lnTo>
                  <a:lnTo>
                    <a:pt x="796262" y="796516"/>
                  </a:lnTo>
                  <a:lnTo>
                    <a:pt x="2205221" y="796516"/>
                  </a:lnTo>
                  <a:lnTo>
                    <a:pt x="3001130" y="607"/>
                  </a:lnTo>
                  <a:lnTo>
                    <a:pt x="796262" y="607"/>
                  </a:lnTo>
                  <a:close/>
                </a:path>
              </a:pathLst>
            </a:custGeom>
            <a:solidFill>
              <a:srgbClr val="FF9349"/>
            </a:solidFill>
            <a:ln w="2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36"/>
            </a:p>
          </p:txBody>
        </p:sp>
      </p:grpSp>
    </p:spTree>
    <p:extLst>
      <p:ext uri="{BB962C8B-B14F-4D97-AF65-F5344CB8AC3E}">
        <p14:creationId xmlns:p14="http://schemas.microsoft.com/office/powerpoint/2010/main" val="859034246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97136" y="2033594"/>
            <a:ext cx="3443928" cy="4237193"/>
          </a:xfrm>
        </p:spPr>
        <p:txBody>
          <a:bodyPr/>
          <a:lstStyle>
            <a:lvl4pPr>
              <a:buClr>
                <a:schemeClr val="accent4"/>
              </a:buCl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/>
          </p:nvPr>
        </p:nvSpPr>
        <p:spPr>
          <a:xfrm>
            <a:off x="4490410" y="2033594"/>
            <a:ext cx="3443928" cy="4237193"/>
          </a:xfrm>
        </p:spPr>
        <p:txBody>
          <a:bodyPr/>
          <a:lstStyle>
            <a:lvl4pPr>
              <a:buClr>
                <a:schemeClr val="accent4"/>
              </a:buCl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1"/>
          </p:nvPr>
        </p:nvSpPr>
        <p:spPr>
          <a:xfrm>
            <a:off x="8477207" y="2033593"/>
            <a:ext cx="3443928" cy="4237193"/>
          </a:xfrm>
        </p:spPr>
        <p:txBody>
          <a:bodyPr/>
          <a:lstStyle>
            <a:lvl4pPr>
              <a:buClr>
                <a:schemeClr val="accent4"/>
              </a:buCl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A2A82E-E5A3-46CC-8E54-690864029CA7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255DD1F-FFC4-4B73-A461-7AB4609D4D00}"/>
              </a:ext>
            </a:extLst>
          </p:cNvPr>
          <p:cNvGrpSpPr/>
          <p:nvPr userDrawn="1"/>
        </p:nvGrpSpPr>
        <p:grpSpPr>
          <a:xfrm>
            <a:off x="10084125" y="-22565"/>
            <a:ext cx="1863312" cy="1882369"/>
            <a:chOff x="10225379" y="-418071"/>
            <a:chExt cx="1826683" cy="1845627"/>
          </a:xfrm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0A6ABDFB-CEFB-4DF3-99B4-5CDE0D537D6C}"/>
                </a:ext>
              </a:extLst>
            </p:cNvPr>
            <p:cNvSpPr/>
            <p:nvPr/>
          </p:nvSpPr>
          <p:spPr>
            <a:xfrm>
              <a:off x="10225379" y="32673"/>
              <a:ext cx="400050" cy="1394883"/>
            </a:xfrm>
            <a:custGeom>
              <a:avLst/>
              <a:gdLst>
                <a:gd name="connsiteX0" fmla="*/ 400910 w 400050"/>
                <a:gd name="connsiteY0" fmla="*/ 1194428 h 1394883"/>
                <a:gd name="connsiteX1" fmla="*/ 400910 w 400050"/>
                <a:gd name="connsiteY1" fmla="*/ 353 h 1394883"/>
                <a:gd name="connsiteX2" fmla="*/ 353 w 400050"/>
                <a:gd name="connsiteY2" fmla="*/ 400911 h 1394883"/>
                <a:gd name="connsiteX3" fmla="*/ 353 w 400050"/>
                <a:gd name="connsiteY3" fmla="*/ 1194428 h 1394883"/>
                <a:gd name="connsiteX4" fmla="*/ 692 w 400050"/>
                <a:gd name="connsiteY4" fmla="*/ 1194428 h 1394883"/>
                <a:gd name="connsiteX5" fmla="*/ 200802 w 400050"/>
                <a:gd name="connsiteY5" fmla="*/ 1394538 h 1394883"/>
                <a:gd name="connsiteX6" fmla="*/ 400910 w 400050"/>
                <a:gd name="connsiteY6" fmla="*/ 1194428 h 1394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0050" h="1394883">
                  <a:moveTo>
                    <a:pt x="400910" y="1194428"/>
                  </a:moveTo>
                  <a:lnTo>
                    <a:pt x="400910" y="353"/>
                  </a:lnTo>
                  <a:lnTo>
                    <a:pt x="353" y="400911"/>
                  </a:lnTo>
                  <a:lnTo>
                    <a:pt x="353" y="1194428"/>
                  </a:lnTo>
                  <a:lnTo>
                    <a:pt x="692" y="1194428"/>
                  </a:lnTo>
                  <a:lnTo>
                    <a:pt x="200802" y="1394538"/>
                  </a:lnTo>
                  <a:lnTo>
                    <a:pt x="400910" y="1194428"/>
                  </a:lnTo>
                  <a:close/>
                </a:path>
              </a:pathLst>
            </a:custGeom>
            <a:solidFill>
              <a:srgbClr val="FF9349"/>
            </a:solidFill>
            <a:ln w="2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36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5A5B4550-849F-4E60-B886-4816109A14CB}"/>
                </a:ext>
              </a:extLst>
            </p:cNvPr>
            <p:cNvSpPr/>
            <p:nvPr/>
          </p:nvSpPr>
          <p:spPr>
            <a:xfrm>
              <a:off x="10225379" y="32673"/>
              <a:ext cx="1826683" cy="400050"/>
            </a:xfrm>
            <a:custGeom>
              <a:avLst/>
              <a:gdLst>
                <a:gd name="connsiteX0" fmla="*/ 1826761 w 1826683"/>
                <a:gd name="connsiteY0" fmla="*/ 353 h 400050"/>
                <a:gd name="connsiteX1" fmla="*/ 400910 w 1826683"/>
                <a:gd name="connsiteY1" fmla="*/ 353 h 400050"/>
                <a:gd name="connsiteX2" fmla="*/ 353 w 1826683"/>
                <a:gd name="connsiteY2" fmla="*/ 400911 h 400050"/>
                <a:gd name="connsiteX3" fmla="*/ 1426182 w 1826683"/>
                <a:gd name="connsiteY3" fmla="*/ 400911 h 400050"/>
                <a:gd name="connsiteX4" fmla="*/ 1826761 w 1826683"/>
                <a:gd name="connsiteY4" fmla="*/ 353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26683" h="400050">
                  <a:moveTo>
                    <a:pt x="1826761" y="353"/>
                  </a:moveTo>
                  <a:lnTo>
                    <a:pt x="400910" y="353"/>
                  </a:lnTo>
                  <a:lnTo>
                    <a:pt x="353" y="400911"/>
                  </a:lnTo>
                  <a:lnTo>
                    <a:pt x="1426182" y="400911"/>
                  </a:lnTo>
                  <a:lnTo>
                    <a:pt x="1826761" y="353"/>
                  </a:lnTo>
                  <a:close/>
                </a:path>
              </a:pathLst>
            </a:custGeom>
            <a:solidFill>
              <a:schemeClr val="accent4"/>
            </a:solidFill>
            <a:ln w="2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36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DB7A189-0BFD-4229-B4C6-B26F97EDE273}"/>
                </a:ext>
              </a:extLst>
            </p:cNvPr>
            <p:cNvSpPr/>
            <p:nvPr/>
          </p:nvSpPr>
          <p:spPr>
            <a:xfrm>
              <a:off x="11651208" y="-418071"/>
              <a:ext cx="400050" cy="850900"/>
            </a:xfrm>
            <a:custGeom>
              <a:avLst/>
              <a:gdLst>
                <a:gd name="connsiteX0" fmla="*/ 400932 w 400050"/>
                <a:gd name="connsiteY0" fmla="*/ 353 h 850899"/>
                <a:gd name="connsiteX1" fmla="*/ 353 w 400050"/>
                <a:gd name="connsiteY1" fmla="*/ 353 h 850899"/>
                <a:gd name="connsiteX2" fmla="*/ 353 w 400050"/>
                <a:gd name="connsiteY2" fmla="*/ 851655 h 850899"/>
                <a:gd name="connsiteX3" fmla="*/ 400932 w 400050"/>
                <a:gd name="connsiteY3" fmla="*/ 451097 h 850899"/>
                <a:gd name="connsiteX4" fmla="*/ 400932 w 400050"/>
                <a:gd name="connsiteY4" fmla="*/ 353 h 850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0050" h="850899">
                  <a:moveTo>
                    <a:pt x="400932" y="353"/>
                  </a:moveTo>
                  <a:lnTo>
                    <a:pt x="353" y="353"/>
                  </a:lnTo>
                  <a:lnTo>
                    <a:pt x="353" y="851655"/>
                  </a:lnTo>
                  <a:lnTo>
                    <a:pt x="400932" y="451097"/>
                  </a:lnTo>
                  <a:lnTo>
                    <a:pt x="400932" y="353"/>
                  </a:lnTo>
                  <a:close/>
                </a:path>
              </a:pathLst>
            </a:custGeom>
            <a:solidFill>
              <a:srgbClr val="FF9349"/>
            </a:solidFill>
            <a:ln w="2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36"/>
            </a:p>
          </p:txBody>
        </p:sp>
      </p:grpSp>
    </p:spTree>
    <p:extLst>
      <p:ext uri="{BB962C8B-B14F-4D97-AF65-F5344CB8AC3E}">
        <p14:creationId xmlns:p14="http://schemas.microsoft.com/office/powerpoint/2010/main" val="23497602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3807">
          <p15:clr>
            <a:srgbClr val="FBAE40"/>
          </p15:clr>
        </p15:guide>
        <p15:guide id="4" pos="393">
          <p15:clr>
            <a:srgbClr val="FBAE40"/>
          </p15:clr>
        </p15:guide>
        <p15:guide id="5" pos="2638">
          <p15:clr>
            <a:srgbClr val="FBAE40"/>
          </p15:clr>
        </p15:guide>
      </p15:sldGuideLst>
    </p:ext>
  </p:extLs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5440958" y="2"/>
            <a:ext cx="6995517" cy="7030394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97137" y="2033595"/>
            <a:ext cx="4443288" cy="4392965"/>
          </a:xfrm>
        </p:spPr>
        <p:txBody>
          <a:bodyPr/>
          <a:lstStyle>
            <a:lvl4pPr>
              <a:buClr>
                <a:schemeClr val="accent4"/>
              </a:buCl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92704" y="1292570"/>
            <a:ext cx="4447719" cy="113446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FDA2A82E-E5A3-46CC-8E54-690864029CA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934558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FBB042-2D45-43C2-BDF1-93A5C0E9C8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7CA658-9D12-408D-8946-B0D43F1F017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25F42B-B9B1-45A7-B5D1-97FC78303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DE2E20-C700-4A3A-A890-B84EE414F382}" type="datetime1">
              <a:rPr lang="en-US" smtClean="0"/>
              <a:t>5/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0217D-3F88-440A-B244-D9FA0FD65F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microsoft.com/education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97A83BA-55E3-4C04-AF88-11F05B1041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3C030-8119-439B-A7A2-330B51F4C00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0900826"/>
      </p:ext>
    </p:extLst>
  </p:cSld>
  <p:clrMapOvr>
    <a:masterClrMapping/>
  </p:clrMapOvr>
  <p:hf hdr="0" dt="0"/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FDA2A82E-E5A3-46CC-8E54-690864029CA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7784303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98579" y="2151537"/>
            <a:ext cx="10445796" cy="1017048"/>
          </a:xfrm>
        </p:spPr>
        <p:txBody>
          <a:bodyPr anchor="b" anchorCtr="0"/>
          <a:lstStyle>
            <a:lvl1pPr>
              <a:defRPr sz="7341" spc="-153" baseline="0"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998579" y="3494024"/>
            <a:ext cx="10445796" cy="50852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pc="-71" baseline="0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Titl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9724" y="4971004"/>
            <a:ext cx="4450767" cy="2087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2691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Content, 2-color,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29662" y="1476621"/>
            <a:ext cx="11375536" cy="4933472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2448"/>
              </a:spcBef>
              <a:buNone/>
              <a:defRPr sz="408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0" indent="0">
              <a:buNone/>
              <a:defRPr sz="2040">
                <a:solidFill>
                  <a:schemeClr val="bg2">
                    <a:lumMod val="50000"/>
                  </a:schemeClr>
                </a:solidFill>
              </a:defRPr>
            </a:lvl2pPr>
            <a:lvl3pPr marL="236341" indent="0">
              <a:buNone/>
              <a:defRPr sz="2040">
                <a:solidFill>
                  <a:schemeClr val="bg2">
                    <a:lumMod val="50000"/>
                  </a:schemeClr>
                </a:solidFill>
              </a:defRPr>
            </a:lvl3pPr>
            <a:lvl4pPr marL="466209" indent="0">
              <a:buNone/>
              <a:defRPr sz="2040">
                <a:solidFill>
                  <a:schemeClr val="bg2">
                    <a:lumMod val="50000"/>
                  </a:schemeClr>
                </a:solidFill>
              </a:defRPr>
            </a:lvl4pPr>
            <a:lvl5pPr marL="707407" indent="0">
              <a:buNone/>
              <a:defRPr sz="204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96979057"/>
      </p:ext>
    </p:extLst>
  </p:cSld>
  <p:clrMapOvr>
    <a:masterClrMapping/>
  </p:clrMapOvr>
  <p:transition>
    <p:fade/>
  </p:transition>
  <p:hf sldNum="0" hdr="0" ftr="0"/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Content,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29662" y="1476621"/>
            <a:ext cx="11375536" cy="493254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2448"/>
              </a:spcBef>
              <a:buNone/>
              <a:defRPr sz="4080">
                <a:solidFill>
                  <a:schemeClr val="tx2"/>
                </a:solidFill>
                <a:latin typeface="+mj-lt"/>
              </a:defRPr>
            </a:lvl1pPr>
            <a:lvl2pPr marL="0" indent="0">
              <a:buNone/>
              <a:defRPr sz="2040">
                <a:solidFill>
                  <a:schemeClr val="tx2"/>
                </a:solidFill>
              </a:defRPr>
            </a:lvl2pPr>
            <a:lvl3pPr marL="236341" indent="0">
              <a:buNone/>
              <a:defRPr sz="2040">
                <a:solidFill>
                  <a:schemeClr val="tx2"/>
                </a:solidFill>
              </a:defRPr>
            </a:lvl3pPr>
            <a:lvl4pPr marL="466209" indent="0">
              <a:buNone/>
              <a:defRPr sz="2040">
                <a:solidFill>
                  <a:schemeClr val="tx2"/>
                </a:solidFill>
              </a:defRPr>
            </a:lvl4pPr>
            <a:lvl5pPr marL="707407" indent="0">
              <a:buNone/>
              <a:defRPr sz="204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21514969"/>
      </p:ext>
    </p:extLst>
  </p:cSld>
  <p:clrMapOvr>
    <a:masterClrMapping/>
  </p:clrMapOvr>
  <p:transition>
    <p:fade/>
  </p:transition>
  <p:hf sldNum="0" hdr="0" ftr="0"/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Content w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9662" y="233152"/>
            <a:ext cx="11375536" cy="762786"/>
          </a:xfrm>
        </p:spPr>
        <p:txBody>
          <a:bodyPr/>
          <a:lstStyle>
            <a:lvl1pPr>
              <a:defRPr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29662" y="1476621"/>
            <a:ext cx="11375536" cy="4933472"/>
          </a:xfrm>
          <a:prstGeom prst="rect">
            <a:avLst/>
          </a:prstGeom>
        </p:spPr>
        <p:txBody>
          <a:bodyPr/>
          <a:lstStyle>
            <a:lvl1pPr marL="289763" indent="-289763">
              <a:buFont typeface="Wingdings" pitchFamily="2" charset="2"/>
              <a:buChar char=""/>
              <a:defRPr sz="4080">
                <a:solidFill>
                  <a:schemeClr val="tx2"/>
                </a:solidFill>
              </a:defRPr>
            </a:lvl1pPr>
            <a:lvl2pPr marL="527723" indent="-237961">
              <a:buFont typeface="Wingdings" pitchFamily="2" charset="2"/>
              <a:buChar char=""/>
              <a:defRPr>
                <a:solidFill>
                  <a:schemeClr val="tx2"/>
                </a:solidFill>
                <a:latin typeface="+mn-lt"/>
              </a:defRPr>
            </a:lvl2pPr>
            <a:lvl3pPr marL="755971" indent="-228249">
              <a:buFont typeface="Wingdings" pitchFamily="2" charset="2"/>
              <a:buChar char=""/>
              <a:tabLst/>
              <a:defRPr>
                <a:solidFill>
                  <a:schemeClr val="tx2"/>
                </a:solidFill>
                <a:latin typeface="+mn-lt"/>
              </a:defRPr>
            </a:lvl3pPr>
            <a:lvl4pPr marL="932418" indent="-176447">
              <a:buFont typeface="Wingdings" pitchFamily="2" charset="2"/>
              <a:buChar char=""/>
              <a:defRPr>
                <a:solidFill>
                  <a:schemeClr val="tx2"/>
                </a:solidFill>
                <a:latin typeface="+mn-lt"/>
              </a:defRPr>
            </a:lvl4pPr>
            <a:lvl5pPr marL="1108865" indent="-176447">
              <a:buFont typeface="Wingdings" pitchFamily="2" charset="2"/>
              <a:buChar char=""/>
              <a:tabLst/>
              <a:defRPr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58504499"/>
      </p:ext>
    </p:extLst>
  </p:cSld>
  <p:clrMapOvr>
    <a:masterClrMapping/>
  </p:clrMapOvr>
  <p:transition>
    <p:fade/>
  </p:transition>
  <p:hf sldNum="0" hdr="0" ftr="0"/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2-Content, 2-color,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31282" y="1476622"/>
            <a:ext cx="5504573" cy="4933472"/>
          </a:xfrm>
        </p:spPr>
        <p:txBody>
          <a:bodyPr/>
          <a:lstStyle>
            <a:lvl1pPr marL="0" indent="0">
              <a:spcBef>
                <a:spcPts val="1224"/>
              </a:spcBef>
              <a:buNone/>
              <a:defRPr sz="408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0" indent="0">
              <a:buNone/>
              <a:defRPr sz="2040">
                <a:solidFill>
                  <a:schemeClr val="bg2">
                    <a:lumMod val="50000"/>
                  </a:schemeClr>
                </a:solidFill>
              </a:defRPr>
            </a:lvl2pPr>
            <a:lvl3pPr marL="237961" indent="0">
              <a:buNone/>
              <a:defRPr sz="2040">
                <a:solidFill>
                  <a:schemeClr val="bg2">
                    <a:lumMod val="50000"/>
                  </a:schemeClr>
                </a:solidFill>
              </a:defRPr>
            </a:lvl3pPr>
            <a:lvl4pPr marL="466209" indent="0">
              <a:buNone/>
              <a:defRPr sz="2040">
                <a:solidFill>
                  <a:schemeClr val="bg2">
                    <a:lumMod val="50000"/>
                  </a:schemeClr>
                </a:solidFill>
              </a:defRPr>
            </a:lvl4pPr>
            <a:lvl5pPr marL="707407" indent="0">
              <a:buNone/>
              <a:defRPr sz="2040"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405483" y="1476622"/>
            <a:ext cx="5504573" cy="4933472"/>
          </a:xfrm>
        </p:spPr>
        <p:txBody>
          <a:bodyPr/>
          <a:lstStyle>
            <a:lvl1pPr marL="0" indent="0">
              <a:spcBef>
                <a:spcPts val="1224"/>
              </a:spcBef>
              <a:buNone/>
              <a:defRPr lang="en-US" sz="4080" kern="1200" spc="-71" baseline="0" dirty="0" smtClean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3237" marR="0" indent="0" algn="l" defTabSz="93238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040" kern="1200" spc="-71" baseline="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237961" marR="0" indent="0" algn="l" defTabSz="93238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040" kern="1200" spc="-71" baseline="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469446" marR="0" indent="0" algn="l" defTabSz="93238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040" kern="1200" spc="-71" baseline="0" dirty="0" smtClean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00932" marR="0" indent="0" algn="l" defTabSz="93238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040" kern="1200" spc="-71" baseline="0" dirty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marR="0" lvl="0" indent="0" algn="l" defTabSz="93238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Click to edit Master text styles</a:t>
            </a:r>
          </a:p>
          <a:p>
            <a:pPr marL="0" marR="0" lvl="1" indent="0" algn="l" defTabSz="93238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Second level</a:t>
            </a:r>
          </a:p>
          <a:p>
            <a:pPr marL="0" marR="0" lvl="2" indent="0" algn="l" defTabSz="93238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Third level</a:t>
            </a:r>
          </a:p>
          <a:p>
            <a:pPr marL="0" marR="0" lvl="3" indent="0" algn="l" defTabSz="93238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Fourth level</a:t>
            </a:r>
          </a:p>
          <a:p>
            <a:pPr marL="0" marR="0" lvl="4" indent="0" algn="l" defTabSz="93238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01079562"/>
      </p:ext>
    </p:extLst>
  </p:cSld>
  <p:clrMapOvr>
    <a:masterClrMapping/>
  </p:clrMapOvr>
  <p:transition>
    <p:fade/>
  </p:transition>
  <p:hf sldNum="0" hdr="0" ftr="0"/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2-Content,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31282" y="1476623"/>
            <a:ext cx="5504573" cy="4933472"/>
          </a:xfrm>
        </p:spPr>
        <p:txBody>
          <a:bodyPr/>
          <a:lstStyle>
            <a:lvl1pPr marL="0" indent="0">
              <a:spcBef>
                <a:spcPts val="1224"/>
              </a:spcBef>
              <a:buNone/>
              <a:defRPr sz="4080">
                <a:solidFill>
                  <a:schemeClr val="tx2"/>
                </a:solidFill>
                <a:latin typeface="+mj-lt"/>
              </a:defRPr>
            </a:lvl1pPr>
            <a:lvl2pPr marL="0" indent="0">
              <a:buNone/>
              <a:defRPr sz="2040">
                <a:solidFill>
                  <a:schemeClr val="tx2"/>
                </a:solidFill>
              </a:defRPr>
            </a:lvl2pPr>
            <a:lvl3pPr marL="237961" indent="0">
              <a:buNone/>
              <a:defRPr sz="2040">
                <a:solidFill>
                  <a:schemeClr val="tx2"/>
                </a:solidFill>
              </a:defRPr>
            </a:lvl3pPr>
            <a:lvl4pPr marL="466209" indent="0">
              <a:buNone/>
              <a:defRPr sz="2040">
                <a:solidFill>
                  <a:schemeClr val="tx2"/>
                </a:solidFill>
              </a:defRPr>
            </a:lvl4pPr>
            <a:lvl5pPr marL="707407" indent="0">
              <a:buNone/>
              <a:defRPr sz="204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405483" y="1476622"/>
            <a:ext cx="5504573" cy="4933472"/>
          </a:xfrm>
        </p:spPr>
        <p:txBody>
          <a:bodyPr/>
          <a:lstStyle>
            <a:lvl1pPr marL="0" indent="0">
              <a:spcBef>
                <a:spcPts val="1224"/>
              </a:spcBef>
              <a:buNone/>
              <a:defRPr lang="en-US" sz="4080" kern="1200" spc="-71" baseline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3237" marR="0" indent="0" algn="l" defTabSz="93238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040" kern="1200" spc="-71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37961" marR="0" indent="0" algn="l" defTabSz="93238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040" kern="1200" spc="-71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69446" marR="0" indent="0" algn="l" defTabSz="93238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040" kern="1200" spc="-71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700932" marR="0" indent="0" algn="l" defTabSz="93238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040" kern="1200" spc="-71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marR="0" lvl="0" indent="0" algn="l" defTabSz="93238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Click to edit Master text styles</a:t>
            </a:r>
          </a:p>
          <a:p>
            <a:pPr marL="0" marR="0" lvl="1" indent="0" algn="l" defTabSz="93238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Second level</a:t>
            </a:r>
          </a:p>
          <a:p>
            <a:pPr marL="0" marR="0" lvl="2" indent="0" algn="l" defTabSz="93238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Third level</a:t>
            </a:r>
          </a:p>
          <a:p>
            <a:pPr marL="0" marR="0" lvl="3" indent="0" algn="l" defTabSz="93238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Fourth level</a:t>
            </a:r>
          </a:p>
          <a:p>
            <a:pPr marL="0" marR="0" lvl="4" indent="0" algn="l" defTabSz="93238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68319327"/>
      </p:ext>
    </p:extLst>
  </p:cSld>
  <p:clrMapOvr>
    <a:masterClrMapping/>
  </p:clrMapOvr>
  <p:transition>
    <p:fade/>
  </p:transition>
  <p:hf sldNum="0" hdr="0" ftr="0"/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2-Content w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31282" y="1476621"/>
            <a:ext cx="5504573" cy="2398349"/>
          </a:xfrm>
        </p:spPr>
        <p:txBody>
          <a:bodyPr>
            <a:spAutoFit/>
          </a:bodyPr>
          <a:lstStyle>
            <a:lvl1pPr marL="297856" indent="-297856">
              <a:spcBef>
                <a:spcPts val="1224"/>
              </a:spcBef>
              <a:buClr>
                <a:schemeClr val="bg2"/>
              </a:buClr>
              <a:buSzPct val="100000"/>
              <a:buFont typeface="Wingdings" pitchFamily="2" charset="2"/>
              <a:buChar char=""/>
              <a:defRPr lang="en-US" sz="3672" kern="1200" spc="-71" baseline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530960" indent="-233104">
              <a:defRPr sz="2040">
                <a:solidFill>
                  <a:schemeClr val="tx2"/>
                </a:solidFill>
              </a:defRPr>
            </a:lvl2pPr>
            <a:lvl3pPr marL="699313" indent="-168353">
              <a:tabLst/>
              <a:defRPr sz="2040">
                <a:solidFill>
                  <a:schemeClr val="tx2"/>
                </a:solidFill>
              </a:defRPr>
            </a:lvl3pPr>
            <a:lvl4pPr marL="880617" indent="-181304">
              <a:defRPr>
                <a:solidFill>
                  <a:schemeClr val="tx2"/>
                </a:solidFill>
              </a:defRPr>
            </a:lvl4pPr>
            <a:lvl5pPr marL="1048969" indent="-168353">
              <a:tabLst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6405483" y="1476620"/>
            <a:ext cx="5504573" cy="2817808"/>
          </a:xfrm>
        </p:spPr>
        <p:txBody>
          <a:bodyPr>
            <a:spAutoFit/>
          </a:bodyPr>
          <a:lstStyle>
            <a:lvl1pPr marL="346419" indent="-346419">
              <a:spcBef>
                <a:spcPts val="1224"/>
              </a:spcBef>
              <a:buClr>
                <a:schemeClr val="bg2"/>
              </a:buClr>
              <a:buFont typeface="Arial" pitchFamily="34" charset="0"/>
              <a:buChar char="•"/>
              <a:defRPr lang="en-US" sz="3672" kern="1200" spc="-71" baseline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647513" indent="-349656">
              <a:defRPr lang="en-US" sz="2040" kern="1200" spc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80617" indent="-349656">
              <a:defRPr lang="en-US" sz="2040" kern="1200" spc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48969" indent="-349656">
              <a:defRPr lang="en-US" sz="2040" kern="1200" spc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230273" indent="-349656">
              <a:defRPr lang="en-US" sz="2040" kern="1200" spc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297856" marR="0" lvl="0" indent="-297856" algn="l" defTabSz="932380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" pitchFamily="2" charset="2"/>
              <a:buChar char=""/>
              <a:tabLst/>
            </a:pPr>
            <a:r>
              <a:rPr lang="en-US"/>
              <a:t>Click to edit Master text styles</a:t>
            </a:r>
          </a:p>
          <a:p>
            <a:pPr marL="297856" marR="0" lvl="1" indent="-297856" algn="l" defTabSz="932380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97856" marR="0" lvl="2" indent="-297856" algn="l" defTabSz="932380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97856" marR="0" lvl="3" indent="-297856" algn="l" defTabSz="932380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97856" marR="0" lvl="4" indent="-297856" algn="l" defTabSz="932380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91092375"/>
      </p:ext>
    </p:extLst>
  </p:cSld>
  <p:clrMapOvr>
    <a:masterClrMapping/>
  </p:clrMapOvr>
  <p:transition>
    <p:fade/>
  </p:transition>
  <p:hf sldNum="0" hdr="0" ftr="0"/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86921823"/>
      </p:ext>
    </p:extLst>
  </p:cSld>
  <p:clrMapOvr>
    <a:masterClrMapping/>
  </p:clrMapOvr>
  <p:transition>
    <p:fade/>
  </p:transition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002512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52650A-6E3D-4FDF-9B73-067938B6A3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8530" y="1743775"/>
            <a:ext cx="10726460" cy="2909528"/>
          </a:xfrm>
        </p:spPr>
        <p:txBody>
          <a:bodyPr anchor="b"/>
          <a:lstStyle>
            <a:lvl1pPr>
              <a:defRPr sz="6119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1F5727-E0B4-4EAD-866E-B89BD3BBC5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8530" y="4680828"/>
            <a:ext cx="10726460" cy="1530052"/>
          </a:xfrm>
        </p:spPr>
        <p:txBody>
          <a:bodyPr/>
          <a:lstStyle>
            <a:lvl1pPr marL="0" indent="0">
              <a:buNone/>
              <a:defRPr sz="2448">
                <a:solidFill>
                  <a:schemeClr val="tx1">
                    <a:tint val="75000"/>
                  </a:schemeClr>
                </a:solidFill>
              </a:defRPr>
            </a:lvl1pPr>
            <a:lvl2pPr marL="466298" indent="0">
              <a:buNone/>
              <a:defRPr sz="2040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0024A6-7A45-4FC3-8DB8-85C32FFCFD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DE2E20-C700-4A3A-A890-B84EE414F382}" type="datetime1">
              <a:rPr lang="en-US" smtClean="0"/>
              <a:t>5/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32B620-C1E0-47F1-B0A3-D942F71ACA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microsoft.com/education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88A1B5-4D56-4BC5-B7A7-F196C39F85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3C030-8119-439B-A7A2-330B51F4C00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0770204"/>
      </p:ext>
    </p:extLst>
  </p:cSld>
  <p:clrMapOvr>
    <a:masterClrMapping/>
  </p:clrMapOvr>
  <p:hf hdr="0" dt="0"/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68451479"/>
      </p:ext>
    </p:extLst>
  </p:cSld>
  <p:clrMapOvr>
    <a:masterClrMapping/>
  </p:clrMapOvr>
  <p:transition>
    <p:fade/>
  </p:transition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6629" y="466302"/>
            <a:ext cx="4011087" cy="1632056"/>
          </a:xfrm>
        </p:spPr>
        <p:txBody>
          <a:bodyPr anchor="b"/>
          <a:lstStyle>
            <a:lvl1pPr>
              <a:defRPr sz="3264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87123" y="1007084"/>
            <a:ext cx="6295965" cy="4970646"/>
          </a:xfrm>
        </p:spPr>
        <p:txBody>
          <a:bodyPr/>
          <a:lstStyle>
            <a:lvl1pPr>
              <a:defRPr sz="3264"/>
            </a:lvl1pPr>
            <a:lvl2pPr>
              <a:defRPr sz="2856"/>
            </a:lvl2pPr>
            <a:lvl3pPr>
              <a:defRPr sz="2448"/>
            </a:lvl3pPr>
            <a:lvl4pPr>
              <a:defRPr sz="2040"/>
            </a:lvl4pPr>
            <a:lvl5pPr>
              <a:defRPr sz="2040"/>
            </a:lvl5pPr>
            <a:lvl6pPr>
              <a:defRPr sz="2040"/>
            </a:lvl6pPr>
            <a:lvl7pPr>
              <a:defRPr sz="2040"/>
            </a:lvl7pPr>
            <a:lvl8pPr>
              <a:defRPr sz="2040"/>
            </a:lvl8pPr>
            <a:lvl9pPr>
              <a:defRPr sz="204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6629" y="2098357"/>
            <a:ext cx="4011087" cy="3887467"/>
          </a:xfrm>
        </p:spPr>
        <p:txBody>
          <a:bodyPr/>
          <a:lstStyle>
            <a:lvl1pPr marL="0" indent="0">
              <a:buNone/>
              <a:defRPr sz="1632"/>
            </a:lvl1pPr>
            <a:lvl2pPr marL="466209" indent="0">
              <a:buNone/>
              <a:defRPr sz="1428"/>
            </a:lvl2pPr>
            <a:lvl3pPr marL="932418" indent="0">
              <a:buNone/>
              <a:defRPr sz="1224"/>
            </a:lvl3pPr>
            <a:lvl4pPr marL="1398627" indent="0">
              <a:buNone/>
              <a:defRPr sz="1020"/>
            </a:lvl4pPr>
            <a:lvl5pPr marL="1864835" indent="0">
              <a:buNone/>
              <a:defRPr sz="1020"/>
            </a:lvl5pPr>
            <a:lvl6pPr marL="2331044" indent="0">
              <a:buNone/>
              <a:defRPr sz="1020"/>
            </a:lvl6pPr>
            <a:lvl7pPr marL="2797253" indent="0">
              <a:buNone/>
              <a:defRPr sz="1020"/>
            </a:lvl7pPr>
            <a:lvl8pPr marL="3263461" indent="0">
              <a:buNone/>
              <a:defRPr sz="1020"/>
            </a:lvl8pPr>
            <a:lvl9pPr marL="3729669" indent="0">
              <a:buNone/>
              <a:defRPr sz="102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FA7AC5-6045-4418-8E60-F48788734473}" type="datetimeFigureOut">
              <a:rPr lang="en-US" smtClean="0"/>
              <a:t>5/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71CAF9-4461-454A-B702-D536C37757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840461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&amp; Content w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02031" y="932605"/>
            <a:ext cx="11930132" cy="185830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1224"/>
              </a:spcBef>
              <a:buNone/>
              <a:defRPr sz="2040" b="1">
                <a:latin typeface="+mn-lt"/>
              </a:defRPr>
            </a:lvl1pPr>
            <a:lvl2pPr>
              <a:lnSpc>
                <a:spcPct val="100000"/>
              </a:lnSpc>
              <a:defRPr sz="1836"/>
            </a:lvl2pPr>
            <a:lvl3pPr>
              <a:lnSpc>
                <a:spcPct val="100000"/>
              </a:lnSpc>
              <a:defRPr sz="1836"/>
            </a:lvl3pPr>
            <a:lvl4pPr>
              <a:lnSpc>
                <a:spcPct val="100000"/>
              </a:lnSpc>
              <a:defRPr sz="1836"/>
            </a:lvl4pPr>
            <a:lvl5pPr>
              <a:lnSpc>
                <a:spcPct val="100000"/>
              </a:lnSpc>
              <a:defRPr sz="1836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02031" y="340014"/>
            <a:ext cx="11930132" cy="42383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09083944"/>
      </p:ext>
    </p:extLst>
  </p:cSld>
  <p:clrMapOvr>
    <a:masterClrMapping/>
  </p:clrMapOvr>
  <p:transition>
    <p:fade/>
  </p:transition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&amp; Content w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02030" y="932604"/>
            <a:ext cx="11930132" cy="5400217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1224"/>
              </a:spcBef>
              <a:buNone/>
              <a:defRPr sz="2040" b="1">
                <a:latin typeface="+mn-lt"/>
              </a:defRPr>
            </a:lvl1pPr>
            <a:lvl2pPr>
              <a:lnSpc>
                <a:spcPct val="100000"/>
              </a:lnSpc>
              <a:defRPr sz="1836"/>
            </a:lvl2pPr>
            <a:lvl3pPr>
              <a:lnSpc>
                <a:spcPct val="100000"/>
              </a:lnSpc>
              <a:defRPr sz="1836"/>
            </a:lvl3pPr>
            <a:lvl4pPr>
              <a:lnSpc>
                <a:spcPct val="100000"/>
              </a:lnSpc>
              <a:defRPr sz="1836"/>
            </a:lvl4pPr>
            <a:lvl5pPr>
              <a:lnSpc>
                <a:spcPct val="100000"/>
              </a:lnSpc>
              <a:defRPr sz="1836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02030" y="340013"/>
            <a:ext cx="11930132" cy="42383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16361236"/>
      </p:ext>
    </p:extLst>
  </p:cSld>
  <p:clrMapOvr>
    <a:masterClrMapping/>
  </p:clrMapOvr>
  <p:transition>
    <p:fade/>
  </p:transition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+imag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034349" y="4756092"/>
            <a:ext cx="3582987" cy="10937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4199" b="0" kern="1200" cap="none" spc="20" baseline="0">
                <a:ln w="3175">
                  <a:noFill/>
                </a:ln>
                <a:solidFill>
                  <a:srgbClr val="2D75BD"/>
                </a:solidFill>
                <a:effectLst/>
                <a:latin typeface="Segoe UI Light" charset="0"/>
                <a:ea typeface="Segoe UI Light" charset="0"/>
                <a:cs typeface="Segoe UI Light" charset="0"/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5104099" y="4516445"/>
            <a:ext cx="3103198" cy="18129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159"/>
              </a:lnSpc>
              <a:buNone/>
              <a:defRPr lang="en-US" sz="1299" kern="1200" dirty="0" smtClean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466209" indent="0">
              <a:buNone/>
              <a:defRPr lang="en-US" sz="1299" kern="1200" dirty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436475" cy="377983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8499188" y="4516445"/>
            <a:ext cx="3103198" cy="181292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159"/>
              </a:lnSpc>
              <a:buNone/>
              <a:defRPr lang="en-US" sz="1299" kern="1200" dirty="0" smtClean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  <a:lvl2pPr marL="466209" indent="0">
              <a:buNone/>
              <a:defRPr lang="en-US" sz="1299" kern="1200" dirty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36506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41">
          <p15:clr>
            <a:srgbClr val="FBAE40"/>
          </p15:clr>
        </p15:guide>
        <p15:guide id="3" pos="4017">
          <p15:clr>
            <a:srgbClr val="FBAE40"/>
          </p15:clr>
        </p15:guide>
      </p15:sldGuideLst>
    </p:ext>
  </p:extLs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+imag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-14063" y="0"/>
            <a:ext cx="6823076" cy="69945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7548564" y="821601"/>
            <a:ext cx="4029075" cy="11239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4440"/>
              </a:lnSpc>
              <a:buNone/>
              <a:defRPr lang="en-US" sz="4199" b="1" kern="1200" cap="none" spc="20" baseline="0">
                <a:ln w="3175">
                  <a:noFill/>
                </a:ln>
                <a:solidFill>
                  <a:srgbClr val="2E75BC"/>
                </a:solidFill>
                <a:effectLst/>
                <a:latin typeface="Segoe UI Light" charset="0"/>
                <a:ea typeface="Segoe UI Light" charset="0"/>
                <a:cs typeface="Segoe UI Light" charset="0"/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/>
          </p:nvPr>
        </p:nvSpPr>
        <p:spPr>
          <a:xfrm>
            <a:off x="7548563" y="2312989"/>
            <a:ext cx="4029075" cy="39379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lang="en-US" sz="1299" kern="1200" dirty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 sz="1299">
              <a:solidFill>
                <a:schemeClr val="tx1"/>
              </a:solidFill>
              <a:latin typeface="Segoe UI Light" charset="0"/>
              <a:ea typeface="Segoe UI Light" charset="0"/>
              <a:cs typeface="Segoe UI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1484371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+imag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1327646" y="821601"/>
            <a:ext cx="4029075" cy="112395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4440"/>
              </a:lnSpc>
              <a:buNone/>
              <a:defRPr lang="en-US" sz="4199" b="1" kern="1200" cap="none" spc="20" baseline="0">
                <a:ln w="3175">
                  <a:noFill/>
                </a:ln>
                <a:solidFill>
                  <a:srgbClr val="2E75BC"/>
                </a:solidFill>
                <a:effectLst/>
                <a:latin typeface="Segoe UI Light" charset="0"/>
                <a:ea typeface="Segoe UI Light" charset="0"/>
                <a:cs typeface="Segoe UI Light" charset="0"/>
              </a:defRPr>
            </a:lvl1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4" name="Text Placeholder 12"/>
          <p:cNvSpPr>
            <a:spLocks noGrp="1"/>
          </p:cNvSpPr>
          <p:nvPr>
            <p:ph type="body" sz="quarter" idx="12"/>
          </p:nvPr>
        </p:nvSpPr>
        <p:spPr>
          <a:xfrm>
            <a:off x="1327645" y="2312989"/>
            <a:ext cx="4029075" cy="39379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lang="en-US" sz="1299" kern="1200" dirty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 sz="1299">
              <a:solidFill>
                <a:schemeClr val="tx1"/>
              </a:solidFill>
              <a:latin typeface="Segoe UI Light" charset="0"/>
              <a:ea typeface="Segoe UI Light" charset="0"/>
              <a:cs typeface="Segoe UI Light" charset="0"/>
            </a:endParaRP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6509906" y="742951"/>
            <a:ext cx="2670175" cy="1336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6509905" y="2160588"/>
            <a:ext cx="2670175" cy="24368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5"/>
          </p:nvPr>
        </p:nvSpPr>
        <p:spPr>
          <a:xfrm>
            <a:off x="6509904" y="4692651"/>
            <a:ext cx="2670175" cy="17811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6" name="Picture Placeholder 14"/>
          <p:cNvSpPr>
            <a:spLocks noGrp="1"/>
          </p:cNvSpPr>
          <p:nvPr>
            <p:ph type="pic" sz="quarter" idx="16"/>
          </p:nvPr>
        </p:nvSpPr>
        <p:spPr>
          <a:xfrm>
            <a:off x="9283347" y="4692651"/>
            <a:ext cx="2515629" cy="17811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7" name="Picture Placeholder 14"/>
          <p:cNvSpPr>
            <a:spLocks noGrp="1"/>
          </p:cNvSpPr>
          <p:nvPr>
            <p:ph type="pic" sz="quarter" idx="17"/>
          </p:nvPr>
        </p:nvSpPr>
        <p:spPr>
          <a:xfrm>
            <a:off x="9283347" y="742951"/>
            <a:ext cx="2515629" cy="3853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7852210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+image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5366480" y="0"/>
            <a:ext cx="7069995" cy="69945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2"/>
          </p:nvPr>
        </p:nvSpPr>
        <p:spPr>
          <a:xfrm>
            <a:off x="675404" y="2477880"/>
            <a:ext cx="4029075" cy="39379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defRPr lang="en-US" sz="1299" kern="1200" dirty="0">
                <a:solidFill>
                  <a:schemeClr val="tx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US" sz="1299">
              <a:solidFill>
                <a:schemeClr val="tx1"/>
              </a:solidFill>
              <a:latin typeface="Segoe UI Light" charset="0"/>
              <a:ea typeface="Segoe UI Light" charset="0"/>
              <a:cs typeface="Segoe UI Light" charset="0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74688" y="739791"/>
            <a:ext cx="4029075" cy="15446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3199" b="0" kern="1200" cap="none" spc="20" baseline="0">
                <a:ln w="3175">
                  <a:noFill/>
                </a:ln>
                <a:solidFill>
                  <a:srgbClr val="2D75BD"/>
                </a:solidFill>
                <a:effectLst/>
                <a:latin typeface="Segoe UI Light" charset="0"/>
                <a:ea typeface="Segoe UI Light" charset="0"/>
                <a:cs typeface="Segoe UI Light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6709029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1220567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2" y="3050675"/>
            <a:ext cx="7315137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0" y="5758901"/>
            <a:ext cx="12435840" cy="1235624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19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62280" y="6209084"/>
            <a:ext cx="1456418" cy="310896"/>
          </a:xfrm>
          <a:prstGeom prst="rect">
            <a:avLst/>
          </a:prstGeom>
        </p:spPr>
      </p:pic>
      <p:pic>
        <p:nvPicPr>
          <p:cNvPr id="6" name="Picture 5" descr="Decorative: Picture of Peter Frem">
            <a:extLst>
              <a:ext uri="{FF2B5EF4-FFF2-40B4-BE49-F238E27FC236}">
                <a16:creationId xmlns:a16="http://schemas.microsoft.com/office/drawing/2014/main" id="{75372531-CDFA-4955-875D-C7798A11E76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68351" y="3192462"/>
            <a:ext cx="1371600" cy="1371600"/>
          </a:xfrm>
          <a:prstGeom prst="rect">
            <a:avLst/>
          </a:prstGeom>
        </p:spPr>
      </p:pic>
      <p:pic>
        <p:nvPicPr>
          <p:cNvPr id="10" name="Picture 9" descr="Decorative: Picture of Karen McCall">
            <a:extLst>
              <a:ext uri="{FF2B5EF4-FFF2-40B4-BE49-F238E27FC236}">
                <a16:creationId xmlns:a16="http://schemas.microsoft.com/office/drawing/2014/main" id="{FAAC9C0B-BC91-4FEC-A0C8-984ACD21053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192226" y="3192462"/>
            <a:ext cx="1371600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3774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8787" cy="2308324"/>
          </a:xfrm>
        </p:spPr>
        <p:txBody>
          <a:bodyPr>
            <a:spAutoFit/>
          </a:bodyPr>
          <a:lstStyle>
            <a:lvl1pPr marL="0" indent="0">
              <a:buNone/>
              <a:defRPr/>
            </a:lvl1pPr>
            <a:lvl2pPr marL="228557" indent="0">
              <a:buNone/>
              <a:defRPr/>
            </a:lvl2pPr>
            <a:lvl3pPr marL="457112" indent="0">
              <a:buNone/>
              <a:defRPr/>
            </a:lvl3pPr>
            <a:lvl4pPr marL="685669" indent="0">
              <a:buNone/>
              <a:defRPr/>
            </a:lvl4pPr>
            <a:lvl5pPr marL="914224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38945673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157615-0B78-4269-809F-AF64692E08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A446089-EDB2-4A23-B67D-A782BFB0D0E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55008" y="1861968"/>
            <a:ext cx="5285502" cy="44379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3BB0BB0-69C0-407B-A431-F0FD716A480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5965" y="1861968"/>
            <a:ext cx="5285502" cy="44379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3BCE75F-1A46-45F3-989D-7CD70D4E21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DE2E20-C700-4A3A-A890-B84EE414F382}" type="datetime1">
              <a:rPr lang="en-US" smtClean="0"/>
              <a:t>5/7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10FF190-3CD6-40A0-9C85-B80AE09CE9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microsoft.com/education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E41A84F-AFF1-41A8-BD92-9FD031AC9B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3C030-8119-439B-A7A2-330B51F4C00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8347921"/>
      </p:ext>
    </p:extLst>
  </p:cSld>
  <p:clrMapOvr>
    <a:masterClrMapping/>
  </p:clrMapOvr>
  <p:hf hdr="0" dt="0"/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74703" y="1211287"/>
            <a:ext cx="11888787" cy="231170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97597382"/>
      </p:ext>
    </p:extLst>
  </p:cSld>
  <p:clrMapOvr>
    <a:masterClrMapping/>
  </p:clrMapOvr>
  <p:transition>
    <p:fade/>
  </p:transition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1287"/>
            <a:ext cx="5486399" cy="2157514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None/>
              <a:defRPr sz="3000" b="0">
                <a:latin typeface="+mn-lt"/>
              </a:defRPr>
            </a:lvl1pPr>
            <a:lvl2pPr marL="255539" indent="0">
              <a:buFont typeface="Wingdings" panose="05000000000000000000" pitchFamily="2" charset="2"/>
              <a:buNone/>
              <a:defRPr sz="2400" b="0"/>
            </a:lvl2pPr>
            <a:lvl3pPr marL="450763" indent="0">
              <a:buFont typeface="Wingdings" panose="05000000000000000000" pitchFamily="2" charset="2"/>
              <a:buNone/>
              <a:tabLst/>
              <a:defRPr sz="2200" b="0"/>
            </a:lvl3pPr>
            <a:lvl4pPr marL="652336" indent="0">
              <a:buFont typeface="Wingdings" panose="05000000000000000000" pitchFamily="2" charset="2"/>
              <a:buNone/>
              <a:defRPr sz="2200" b="0"/>
            </a:lvl4pPr>
            <a:lvl5pPr marL="853911" indent="0">
              <a:buFont typeface="Wingdings" panose="05000000000000000000" pitchFamily="2" charset="2"/>
              <a:buNone/>
              <a:tabLst/>
              <a:defRPr sz="22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65935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Arial" panose="020B0604020202020204" pitchFamily="34" charset="0"/>
              <a:buNone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255539" indent="0">
              <a:buFont typeface="Arial" panose="020B0604020202020204" pitchFamily="34" charset="0"/>
              <a:buNone/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450763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652336" indent="0">
              <a:buFont typeface="Arial" panose="020B0604020202020204" pitchFamily="34" charset="0"/>
              <a:buNone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853911" indent="0">
              <a:buFont typeface="Arial" panose="020B0604020202020204" pitchFamily="34" charset="0"/>
              <a:buNone/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514251" marR="0" lvl="0" indent="-514251" algn="l" defTabSz="932563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tabLst/>
            </a:pPr>
            <a:r>
              <a:rPr lang="en-US"/>
              <a:t>Click to edit Master text styles</a:t>
            </a:r>
          </a:p>
          <a:p>
            <a:pPr marL="712651" marR="0" lvl="1" indent="-457112" algn="l" defTabSz="9325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/>
              <a:t>Second level</a:t>
            </a:r>
          </a:p>
          <a:p>
            <a:pPr marL="907875" marR="0" lvl="2" indent="-457112" algn="l" defTabSz="9325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/>
              <a:t>Third level</a:t>
            </a:r>
          </a:p>
          <a:p>
            <a:pPr marL="1109449" marR="0" lvl="3" indent="-457112" algn="l" defTabSz="9325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/>
              <a:t>Fourth level</a:t>
            </a:r>
          </a:p>
          <a:p>
            <a:pPr marL="1311023" marR="0" lvl="4" indent="-457112" algn="l" defTabSz="9325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01876753"/>
      </p:ext>
    </p:extLst>
  </p:cSld>
  <p:clrMapOvr>
    <a:masterClrMapping/>
  </p:clrMapOvr>
  <p:transition>
    <p:fade/>
  </p:transition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1287"/>
            <a:ext cx="5486399" cy="2157514"/>
          </a:xfrm>
        </p:spPr>
        <p:txBody>
          <a:bodyPr wrap="square">
            <a:spAutoFit/>
          </a:bodyPr>
          <a:lstStyle>
            <a:lvl1pPr marL="231730" indent="-231730">
              <a:spcBef>
                <a:spcPts val="1224"/>
              </a:spcBef>
              <a:buClr>
                <a:schemeClr val="tx1"/>
              </a:buClr>
              <a:buFont typeface="Wingdings" panose="05000000000000000000" pitchFamily="2" charset="2"/>
              <a:buChar char=""/>
              <a:defRPr sz="3000" b="0">
                <a:latin typeface="+mn-lt"/>
              </a:defRPr>
            </a:lvl1pPr>
            <a:lvl2pPr marL="426956" indent="-171417">
              <a:buFont typeface="Wingdings" panose="05000000000000000000" pitchFamily="2" charset="2"/>
              <a:buChar char=""/>
              <a:defRPr sz="2400" b="0"/>
            </a:lvl2pPr>
            <a:lvl3pPr marL="639640" indent="-188876">
              <a:buFont typeface="Wingdings" panose="05000000000000000000" pitchFamily="2" charset="2"/>
              <a:buChar char=""/>
              <a:tabLst/>
              <a:defRPr sz="2200" b="0"/>
            </a:lvl3pPr>
            <a:lvl4pPr marL="828516" indent="-176180">
              <a:buFont typeface="Wingdings" panose="05000000000000000000" pitchFamily="2" charset="2"/>
              <a:buChar char=""/>
              <a:defRPr sz="2200" b="0"/>
            </a:lvl4pPr>
            <a:lvl5pPr marL="1023741" indent="-169831">
              <a:buFont typeface="Wingdings" panose="05000000000000000000" pitchFamily="2" charset="2"/>
              <a:buChar char=""/>
              <a:tabLst/>
              <a:defRPr sz="2200"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1287"/>
            <a:ext cx="5486399" cy="2165935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lang="en-US" sz="30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marL="598373" indent="-342834">
              <a:defRPr lang="en-US" sz="24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793597" indent="-342834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995170" indent="-342834"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196746" indent="-342834">
              <a:tabLst/>
              <a:defRPr lang="en-US" sz="2200" b="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31730" marR="0" lvl="0" indent="-231730" algn="l" defTabSz="932563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Click to edit Master text styles</a:t>
            </a:r>
          </a:p>
          <a:p>
            <a:pPr marL="426956" marR="0" lvl="1" indent="-171417" algn="l" defTabSz="9325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639640" marR="0" lvl="2" indent="-188876" algn="l" defTabSz="9325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828516" marR="0" lvl="3" indent="-176180" algn="l" defTabSz="9325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1023741" marR="0" lvl="4" indent="-169831" algn="l" defTabSz="9325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84214290"/>
      </p:ext>
    </p:extLst>
  </p:cSld>
  <p:clrMapOvr>
    <a:masterClrMapping/>
  </p:clrMapOvr>
  <p:transition>
    <p:fade/>
  </p:transition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90906804"/>
      </p:ext>
    </p:extLst>
  </p:cSld>
  <p:clrMapOvr>
    <a:masterClrMapping/>
  </p:clrMapOvr>
  <p:transition>
    <p:fade/>
  </p:transition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Evidenc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gradFill>
                  <a:gsLst>
                    <a:gs pos="18584">
                      <a:schemeClr val="tx2"/>
                    </a:gs>
                    <a:gs pos="57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ustomer evidence slid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 bwMode="gray">
          <a:xfrm>
            <a:off x="274638" y="1434070"/>
            <a:ext cx="5486400" cy="1827214"/>
          </a:xfrm>
          <a:blipFill>
            <a:blip r:embed="rId2"/>
            <a:stretch>
              <a:fillRect/>
            </a:stretch>
          </a:blipFill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lang="en-US" sz="2400" kern="1200" spc="0" baseline="0" dirty="0">
                <a:noFill/>
                <a:latin typeface="+mn-lt"/>
                <a:ea typeface="+mn-ea"/>
                <a:cs typeface="+mn-cs"/>
              </a:defRPr>
            </a:lvl1pPr>
            <a:lvl2pPr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</a:lstStyle>
          <a:p>
            <a:pPr marL="0" marR="0" lvl="0" indent="0" algn="l" defTabSz="9325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endParaRPr lang="en-US"/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6218237" y="4868863"/>
            <a:ext cx="5945966" cy="182880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82854" tIns="146283" rIns="182854" bIns="146283" numCol="1" rtlCol="0" anchor="ctr" anchorCtr="0" compatLnSpc="1">
            <a:prstTxWarp prst="textNoShape">
              <a:avLst/>
            </a:prstTxWarp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en-US" sz="200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</a:endParaRP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218237" y="1434069"/>
            <a:ext cx="5943601" cy="3433208"/>
          </a:xfrm>
          <a:blipFill>
            <a:blip r:embed="rId3"/>
            <a:stretch>
              <a:fillRect/>
            </a:stretch>
          </a:blipFill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algn="ctr"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</a:lstStyle>
          <a:p>
            <a:pPr marL="0" marR="0" lvl="0" indent="0" algn="l" defTabSz="9325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Your image her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989638" y="1836883"/>
            <a:ext cx="0" cy="4754828"/>
          </a:xfrm>
          <a:prstGeom prst="line">
            <a:avLst/>
          </a:prstGeom>
          <a:ln w="3175">
            <a:solidFill>
              <a:schemeClr val="tx1">
                <a:alpha val="2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274638" y="3260725"/>
            <a:ext cx="5486400" cy="3436938"/>
          </a:xfrm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sz="2400"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6218239" y="4868863"/>
            <a:ext cx="5943600" cy="1827214"/>
          </a:xfrm>
        </p:spPr>
        <p:txBody>
          <a:bodyPr lIns="182880" tIns="146304" rIns="182880" bIns="146304" anchor="ctr">
            <a:noAutofit/>
          </a:bodyPr>
          <a:lstStyle>
            <a:lvl1pPr marL="0" indent="0" algn="ctr">
              <a:buNone/>
              <a:defRPr sz="3199">
                <a:gradFill>
                  <a:gsLst>
                    <a:gs pos="27434">
                      <a:srgbClr val="FFFFFF"/>
                    </a:gs>
                    <a:gs pos="54000">
                      <a:srgbClr val="FFFFFF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078919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9" y="3954463"/>
            <a:ext cx="10058401" cy="7386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7723761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77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198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974188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712864125"/>
      </p:ext>
    </p:extLst>
  </p:cSld>
  <p:clrMapOvr>
    <a:masterClrMapping/>
  </p:clrMapOvr>
  <p:transition>
    <p:fade/>
  </p:transition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0910729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740132"/>
            <a:ext cx="4892040" cy="1514261"/>
          </a:xfrm>
        </p:spPr>
        <p:txBody>
          <a:bodyPr wrap="square" anchor="ctr">
            <a:spAutoFit/>
          </a:bodyPr>
          <a:lstStyle>
            <a:lvl1pPr>
              <a:defRPr sz="479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quare photo layout</a:t>
            </a:r>
          </a:p>
        </p:txBody>
      </p:sp>
      <p:sp>
        <p:nvSpPr>
          <p:cNvPr id="6" name="Picture Placeholder 4"/>
          <p:cNvSpPr>
            <a:spLocks noGrp="1" noChangeAspect="1"/>
          </p:cNvSpPr>
          <p:nvPr>
            <p:ph type="pic" sz="quarter" idx="10"/>
          </p:nvPr>
        </p:nvSpPr>
        <p:spPr bwMode="ltGray">
          <a:xfrm>
            <a:off x="5441315" y="0"/>
            <a:ext cx="6995160" cy="699258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99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5562743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42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C85C84-11B6-48BC-82B5-CC58E8CB51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8530" y="1743775"/>
            <a:ext cx="10726460" cy="2909528"/>
          </a:xfrm>
        </p:spPr>
        <p:txBody>
          <a:bodyPr anchor="b"/>
          <a:lstStyle>
            <a:lvl1pPr>
              <a:defRPr sz="6119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DDA01B3-DDBE-42B2-8CA3-4C6FA7BCEF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8530" y="4680828"/>
            <a:ext cx="10726460" cy="1530052"/>
          </a:xfrm>
        </p:spPr>
        <p:txBody>
          <a:bodyPr/>
          <a:lstStyle>
            <a:lvl1pPr marL="0" indent="0">
              <a:buNone/>
              <a:defRPr sz="2448">
                <a:solidFill>
                  <a:schemeClr val="tx1">
                    <a:tint val="75000"/>
                  </a:schemeClr>
                </a:solidFill>
              </a:defRPr>
            </a:lvl1pPr>
            <a:lvl2pPr marL="466298" indent="0">
              <a:buNone/>
              <a:defRPr sz="2040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67B91A-B5ED-440A-929E-6B2898E350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47F7F1-0E89-4D7B-8516-36A4AC75346A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35A320-C890-468E-A53C-2CBDEB7EC1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A09EA7-B441-4898-B5EB-466690892A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792400-19F6-4B13-9EA1-2A330825251F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78649467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351542-D3E8-45FC-BC24-E555DBA1DE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627" y="372394"/>
            <a:ext cx="10726460" cy="135195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AE70F4-167E-4096-A159-0A2896D3AF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56628" y="1714631"/>
            <a:ext cx="5261211" cy="840314"/>
          </a:xfrm>
        </p:spPr>
        <p:txBody>
          <a:bodyPr anchor="b"/>
          <a:lstStyle>
            <a:lvl1pPr marL="0" indent="0">
              <a:buNone/>
              <a:defRPr sz="2448" b="1"/>
            </a:lvl1pPr>
            <a:lvl2pPr marL="466298" indent="0">
              <a:buNone/>
              <a:defRPr sz="2040" b="1"/>
            </a:lvl2pPr>
            <a:lvl3pPr marL="932597" indent="0">
              <a:buNone/>
              <a:defRPr sz="1836" b="1"/>
            </a:lvl3pPr>
            <a:lvl4pPr marL="1398895" indent="0">
              <a:buNone/>
              <a:defRPr sz="1632" b="1"/>
            </a:lvl4pPr>
            <a:lvl5pPr marL="1865193" indent="0">
              <a:buNone/>
              <a:defRPr sz="1632" b="1"/>
            </a:lvl5pPr>
            <a:lvl6pPr marL="2331491" indent="0">
              <a:buNone/>
              <a:defRPr sz="1632" b="1"/>
            </a:lvl6pPr>
            <a:lvl7pPr marL="2797790" indent="0">
              <a:buNone/>
              <a:defRPr sz="1632" b="1"/>
            </a:lvl7pPr>
            <a:lvl8pPr marL="3264088" indent="0">
              <a:buNone/>
              <a:defRPr sz="1632" b="1"/>
            </a:lvl8pPr>
            <a:lvl9pPr marL="3730386" indent="0">
              <a:buNone/>
              <a:defRPr sz="1632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6878470-9A98-4B3F-BA33-0FA93CE430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56628" y="2554944"/>
            <a:ext cx="5261211" cy="37579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8268BAF-BBE5-4DE2-8794-9CE79EA8173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95965" y="1714631"/>
            <a:ext cx="5287122" cy="840314"/>
          </a:xfrm>
        </p:spPr>
        <p:txBody>
          <a:bodyPr anchor="b"/>
          <a:lstStyle>
            <a:lvl1pPr marL="0" indent="0">
              <a:buNone/>
              <a:defRPr sz="2448" b="1"/>
            </a:lvl1pPr>
            <a:lvl2pPr marL="466298" indent="0">
              <a:buNone/>
              <a:defRPr sz="2040" b="1"/>
            </a:lvl2pPr>
            <a:lvl3pPr marL="932597" indent="0">
              <a:buNone/>
              <a:defRPr sz="1836" b="1"/>
            </a:lvl3pPr>
            <a:lvl4pPr marL="1398895" indent="0">
              <a:buNone/>
              <a:defRPr sz="1632" b="1"/>
            </a:lvl4pPr>
            <a:lvl5pPr marL="1865193" indent="0">
              <a:buNone/>
              <a:defRPr sz="1632" b="1"/>
            </a:lvl5pPr>
            <a:lvl6pPr marL="2331491" indent="0">
              <a:buNone/>
              <a:defRPr sz="1632" b="1"/>
            </a:lvl6pPr>
            <a:lvl7pPr marL="2797790" indent="0">
              <a:buNone/>
              <a:defRPr sz="1632" b="1"/>
            </a:lvl7pPr>
            <a:lvl8pPr marL="3264088" indent="0">
              <a:buNone/>
              <a:defRPr sz="1632" b="1"/>
            </a:lvl8pPr>
            <a:lvl9pPr marL="3730386" indent="0">
              <a:buNone/>
              <a:defRPr sz="1632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14127AA-F556-4E02-A0B0-C7734775AA1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95965" y="2554944"/>
            <a:ext cx="5287122" cy="37579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698A724-4567-4D56-9C97-EDE77A6C98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DE2E20-C700-4A3A-A890-B84EE414F382}" type="datetime1">
              <a:rPr lang="en-US" smtClean="0"/>
              <a:t>5/7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37F1877-4A69-4662-9AF6-9A409F6459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microsoft.com/education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301538F-00AC-485D-8ACD-D83BFA939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3C030-8119-439B-A7A2-330B51F4C00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4533363"/>
      </p:ext>
    </p:extLst>
  </p:cSld>
  <p:clrMapOvr>
    <a:masterClrMapping/>
  </p:clrMapOvr>
  <p:hf hdr="0" dt="0"/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valua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20970" y="295275"/>
            <a:ext cx="7043233" cy="917575"/>
          </a:xfrm>
        </p:spPr>
        <p:txBody>
          <a:bodyPr/>
          <a:lstStyle>
            <a:lvl1pPr>
              <a:defRPr sz="39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120970" y="4868863"/>
            <a:ext cx="7042456" cy="1828800"/>
          </a:xfrm>
        </p:spPr>
        <p:txBody>
          <a:bodyPr wrap="square">
            <a:noAutofit/>
          </a:bodyPr>
          <a:lstStyle>
            <a:lvl1pPr marL="0" indent="0">
              <a:spcBef>
                <a:spcPts val="1800"/>
              </a:spcBef>
              <a:buNone/>
              <a:defRPr sz="2000">
                <a:latin typeface="+mn-lt"/>
              </a:defRPr>
            </a:lvl1pPr>
            <a:lvl2pPr marL="228557" indent="0">
              <a:buNone/>
              <a:defRPr/>
            </a:lvl2pPr>
            <a:lvl3pPr marL="457112" indent="0">
              <a:buNone/>
              <a:defRPr/>
            </a:lvl3pPr>
            <a:lvl4pPr marL="685669" indent="0">
              <a:buNone/>
              <a:defRPr/>
            </a:lvl4pPr>
            <a:lvl5pPr marL="914224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5" name="Picture 4" descr="Image of Ignite app on a Windows Device." title="Ignite event image">
            <a:extLst>
              <a:ext uri="{FF2B5EF4-FFF2-40B4-BE49-F238E27FC236}">
                <a16:creationId xmlns:a16="http://schemas.microsoft.com/office/drawing/2014/main" id="{E803C22C-E970-4ADA-A60C-5127C1C2C1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7119" r="5881"/>
          <a:stretch/>
        </p:blipFill>
        <p:spPr>
          <a:xfrm>
            <a:off x="0" y="0"/>
            <a:ext cx="4925696" cy="6995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6111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93050926"/>
      </p:ext>
    </p:extLst>
  </p:cSld>
  <p:clrMapOvr>
    <a:masterClrMapping/>
  </p:clrMapOvr>
  <p:transition>
    <p:fade/>
  </p:transition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799478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2" tIns="46632" rIns="46632" bIns="46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en-US" sz="18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8"/>
            <a:ext cx="11887199" cy="2270177"/>
          </a:xfrm>
        </p:spPr>
        <p:txBody>
          <a:bodyPr/>
          <a:lstStyle>
            <a:lvl1pPr marL="0" indent="0">
              <a:buNone/>
              <a:defRPr sz="3299"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87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94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406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795" indent="0">
              <a:buNone/>
              <a:defRPr>
                <a:gradFill>
                  <a:gsLst>
                    <a:gs pos="8718">
                      <a:srgbClr val="353535"/>
                    </a:gs>
                    <a:gs pos="34000">
                      <a:srgbClr val="353535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77833656"/>
      </p:ext>
    </p:extLst>
  </p:cSld>
  <p:clrMapOvr>
    <a:masterClrMapping/>
  </p:clrMapOvr>
  <p:transition>
    <p:fade/>
  </p:transition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82854" rIns="182854" bIns="182854" numCol="1" anchor="t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invGray">
          <a:xfrm>
            <a:off x="464013" y="479425"/>
            <a:ext cx="1436313" cy="306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32984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58362063"/>
      </p:ext>
    </p:extLst>
  </p:cSld>
  <p:clrMapOvr>
    <a:masterClrMapping/>
  </p:clrMapOvr>
  <p:transition>
    <p:fade/>
  </p:transition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999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A121271-FA95-4DD0-9359-064F0EC092C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92967" y="1363663"/>
            <a:ext cx="11871236" cy="1058751"/>
          </a:xfrm>
        </p:spPr>
        <p:txBody>
          <a:bodyPr/>
          <a:lstStyle>
            <a:lvl1pPr>
              <a:defRPr sz="2400">
                <a:solidFill>
                  <a:schemeClr val="tx1">
                    <a:lumMod val="7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75000"/>
                  </a:schemeClr>
                </a:solidFill>
              </a:defRPr>
            </a:lvl2pPr>
            <a:lvl3pPr>
              <a:defRPr sz="1399">
                <a:solidFill>
                  <a:schemeClr val="tx1">
                    <a:lumMod val="75000"/>
                  </a:schemeClr>
                </a:solidFill>
              </a:defRPr>
            </a:lvl3pPr>
            <a:lvl4pPr>
              <a:defRPr sz="1399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399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1322726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hapter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7" y="1"/>
            <a:ext cx="12436488" cy="699452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362326" y="1561933"/>
            <a:ext cx="5711826" cy="16839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en-US" sz="5399" b="0" kern="1200" cap="none" spc="20" baseline="0" dirty="0">
                <a:ln w="3175">
                  <a:noFill/>
                </a:ln>
                <a:solidFill>
                  <a:schemeClr val="bg1"/>
                </a:solidFill>
                <a:effectLst/>
                <a:latin typeface="Segoe UI Light" charset="0"/>
                <a:ea typeface="Segoe UI Light" charset="0"/>
                <a:cs typeface="Segoe UI Light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3362326" y="3133727"/>
            <a:ext cx="5711826" cy="46529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en-US" sz="2000" kern="1200" spc="0" dirty="0">
                <a:solidFill>
                  <a:schemeClr val="bg1"/>
                </a:solidFill>
                <a:latin typeface="Segoe UI Light" charset="0"/>
                <a:ea typeface="Segoe UI Light" charset="0"/>
                <a:cs typeface="Segoe UI Light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594449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03">
          <p15:clr>
            <a:srgbClr val="FBAE40"/>
          </p15:clr>
        </p15:guide>
        <p15:guide id="2" pos="3917">
          <p15:clr>
            <a:srgbClr val="FBAE40"/>
          </p15:clr>
        </p15:guide>
      </p15:sldGuideLst>
    </p:ext>
  </p:extLs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aphic 22">
            <a:extLst>
              <a:ext uri="{FF2B5EF4-FFF2-40B4-BE49-F238E27FC236}">
                <a16:creationId xmlns:a16="http://schemas.microsoft.com/office/drawing/2014/main" id="{6A6F30AB-AF29-46B0-A1EA-1B076617EB61}"/>
              </a:ext>
            </a:extLst>
          </p:cNvPr>
          <p:cNvGrpSpPr/>
          <p:nvPr userDrawn="1"/>
        </p:nvGrpSpPr>
        <p:grpSpPr>
          <a:xfrm>
            <a:off x="485656" y="1416075"/>
            <a:ext cx="9310084" cy="5579818"/>
            <a:chOff x="209409" y="1378910"/>
            <a:chExt cx="9127067" cy="5470906"/>
          </a:xfrm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9534263D-94AE-4587-AD0A-06333132079F}"/>
                </a:ext>
              </a:extLst>
            </p:cNvPr>
            <p:cNvSpPr/>
            <p:nvPr/>
          </p:nvSpPr>
          <p:spPr>
            <a:xfrm>
              <a:off x="7334193" y="1378910"/>
              <a:ext cx="2000250" cy="4131733"/>
            </a:xfrm>
            <a:custGeom>
              <a:avLst/>
              <a:gdLst>
                <a:gd name="connsiteX0" fmla="*/ 353 w 2000249"/>
                <a:gd name="connsiteY0" fmla="*/ 1000287 h 4131733"/>
                <a:gd name="connsiteX1" fmla="*/ 353 w 2000249"/>
                <a:gd name="connsiteY1" fmla="*/ 4132763 h 4131733"/>
                <a:gd name="connsiteX2" fmla="*/ 2001937 w 2000249"/>
                <a:gd name="connsiteY2" fmla="*/ 2131159 h 4131733"/>
                <a:gd name="connsiteX3" fmla="*/ 2001937 w 2000249"/>
                <a:gd name="connsiteY3" fmla="*/ 1000287 h 4131733"/>
                <a:gd name="connsiteX4" fmla="*/ 2000264 w 2000249"/>
                <a:gd name="connsiteY4" fmla="*/ 1000287 h 4131733"/>
                <a:gd name="connsiteX5" fmla="*/ 1000288 w 2000249"/>
                <a:gd name="connsiteY5" fmla="*/ 353 h 4131733"/>
                <a:gd name="connsiteX6" fmla="*/ 353 w 2000249"/>
                <a:gd name="connsiteY6" fmla="*/ 1000287 h 4131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00249" h="4131733">
                  <a:moveTo>
                    <a:pt x="353" y="1000287"/>
                  </a:moveTo>
                  <a:lnTo>
                    <a:pt x="353" y="4132763"/>
                  </a:lnTo>
                  <a:lnTo>
                    <a:pt x="2001937" y="2131159"/>
                  </a:lnTo>
                  <a:lnTo>
                    <a:pt x="2001937" y="1000287"/>
                  </a:lnTo>
                  <a:lnTo>
                    <a:pt x="2000264" y="1000287"/>
                  </a:lnTo>
                  <a:lnTo>
                    <a:pt x="1000288" y="353"/>
                  </a:lnTo>
                  <a:lnTo>
                    <a:pt x="353" y="1000287"/>
                  </a:lnTo>
                  <a:close/>
                </a:path>
              </a:pathLst>
            </a:custGeom>
            <a:solidFill>
              <a:srgbClr val="FF9349"/>
            </a:solidFill>
            <a:ln w="2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36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A2E85B61-BBCC-42F9-A168-A3A5B55B6406}"/>
                </a:ext>
              </a:extLst>
            </p:cNvPr>
            <p:cNvSpPr/>
            <p:nvPr/>
          </p:nvSpPr>
          <p:spPr>
            <a:xfrm>
              <a:off x="209409" y="3509716"/>
              <a:ext cx="9127067" cy="2000250"/>
            </a:xfrm>
            <a:custGeom>
              <a:avLst/>
              <a:gdLst>
                <a:gd name="connsiteX0" fmla="*/ 353 w 9127066"/>
                <a:gd name="connsiteY0" fmla="*/ 2001936 h 2000249"/>
                <a:gd name="connsiteX1" fmla="*/ 7125137 w 9127066"/>
                <a:gd name="connsiteY1" fmla="*/ 2001936 h 2000249"/>
                <a:gd name="connsiteX2" fmla="*/ 9126742 w 9127066"/>
                <a:gd name="connsiteY2" fmla="*/ 353 h 2000249"/>
                <a:gd name="connsiteX3" fmla="*/ 2001957 w 9127066"/>
                <a:gd name="connsiteY3" fmla="*/ 353 h 2000249"/>
                <a:gd name="connsiteX4" fmla="*/ 353 w 9127066"/>
                <a:gd name="connsiteY4" fmla="*/ 2001936 h 2000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27066" h="2000249">
                  <a:moveTo>
                    <a:pt x="353" y="2001936"/>
                  </a:moveTo>
                  <a:lnTo>
                    <a:pt x="7125137" y="2001936"/>
                  </a:lnTo>
                  <a:lnTo>
                    <a:pt x="9126742" y="353"/>
                  </a:lnTo>
                  <a:lnTo>
                    <a:pt x="2001957" y="353"/>
                  </a:lnTo>
                  <a:lnTo>
                    <a:pt x="353" y="2001936"/>
                  </a:lnTo>
                  <a:close/>
                </a:path>
              </a:pathLst>
            </a:custGeom>
            <a:solidFill>
              <a:schemeClr val="accent4"/>
            </a:solidFill>
            <a:ln w="2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36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84D19879-69FE-440A-86ED-713460CCDF89}"/>
                </a:ext>
              </a:extLst>
            </p:cNvPr>
            <p:cNvSpPr/>
            <p:nvPr/>
          </p:nvSpPr>
          <p:spPr>
            <a:xfrm>
              <a:off x="209409" y="3509716"/>
              <a:ext cx="2000250" cy="3340100"/>
            </a:xfrm>
            <a:custGeom>
              <a:avLst/>
              <a:gdLst>
                <a:gd name="connsiteX0" fmla="*/ 353 w 2000249"/>
                <a:gd name="connsiteY0" fmla="*/ 3339818 h 3340099"/>
                <a:gd name="connsiteX1" fmla="*/ 2001936 w 2000249"/>
                <a:gd name="connsiteY1" fmla="*/ 3339818 h 3340099"/>
                <a:gd name="connsiteX2" fmla="*/ 2001936 w 2000249"/>
                <a:gd name="connsiteY2" fmla="*/ 353 h 3340099"/>
                <a:gd name="connsiteX3" fmla="*/ 353 w 2000249"/>
                <a:gd name="connsiteY3" fmla="*/ 2001957 h 3340099"/>
                <a:gd name="connsiteX4" fmla="*/ 353 w 2000249"/>
                <a:gd name="connsiteY4" fmla="*/ 3339818 h 3340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0249" h="3340099">
                  <a:moveTo>
                    <a:pt x="353" y="3339818"/>
                  </a:moveTo>
                  <a:lnTo>
                    <a:pt x="2001936" y="3339818"/>
                  </a:lnTo>
                  <a:lnTo>
                    <a:pt x="2001936" y="353"/>
                  </a:lnTo>
                  <a:lnTo>
                    <a:pt x="353" y="2001957"/>
                  </a:lnTo>
                  <a:lnTo>
                    <a:pt x="353" y="3339818"/>
                  </a:lnTo>
                  <a:close/>
                </a:path>
              </a:pathLst>
            </a:custGeom>
            <a:solidFill>
              <a:srgbClr val="FF9349"/>
            </a:solidFill>
            <a:ln w="2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36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7666" y="4751949"/>
            <a:ext cx="5347037" cy="487233"/>
          </a:xfrm>
        </p:spPr>
        <p:txBody>
          <a:bodyPr/>
          <a:lstStyle>
            <a:lvl1pPr>
              <a:defRPr sz="2448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2739626" y="3715780"/>
            <a:ext cx="5757457" cy="1036169"/>
          </a:xfrm>
        </p:spPr>
        <p:txBody>
          <a:bodyPr anchor="b"/>
          <a:lstStyle>
            <a:lvl1pPr>
              <a:lnSpc>
                <a:spcPct val="85000"/>
              </a:lnSpc>
              <a:defRPr sz="408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object 5"/>
          <p:cNvSpPr/>
          <p:nvPr userDrawn="1"/>
        </p:nvSpPr>
        <p:spPr>
          <a:xfrm>
            <a:off x="12415426" y="3332581"/>
            <a:ext cx="21045" cy="28808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36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2E05329-9C28-4672-8C05-7BC7A9B38898}"/>
              </a:ext>
            </a:extLst>
          </p:cNvPr>
          <p:cNvSpPr/>
          <p:nvPr userDrawn="1"/>
        </p:nvSpPr>
        <p:spPr>
          <a:xfrm>
            <a:off x="769186" y="6562224"/>
            <a:ext cx="1564247" cy="345294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lvl="0" algn="l"/>
            <a:r>
              <a:rPr lang="en-GB" sz="1632">
                <a:solidFill>
                  <a:schemeClr val="bg1"/>
                </a:solidFill>
                <a:latin typeface="Segoe Light" panose="020B0302040504020203" pitchFamily="34" charset="0"/>
              </a:rPr>
              <a:t>#</a:t>
            </a:r>
            <a:r>
              <a:rPr lang="en-GB" sz="1632" err="1">
                <a:solidFill>
                  <a:schemeClr val="bg1"/>
                </a:solidFill>
                <a:latin typeface="Segoe Light" panose="020B0302040504020203" pitchFamily="34" charset="0"/>
              </a:rPr>
              <a:t>MicrosoftEDU</a:t>
            </a:r>
            <a:r>
              <a:rPr lang="en-GB" sz="1632">
                <a:solidFill>
                  <a:schemeClr val="bg1"/>
                </a:solidFill>
                <a:latin typeface="Segoe Light" panose="020B0302040504020203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15447904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95573" y="2946824"/>
            <a:ext cx="6765534" cy="1036169"/>
          </a:xfrm>
        </p:spPr>
        <p:txBody>
          <a:bodyPr anchor="b"/>
          <a:lstStyle>
            <a:lvl1pPr>
              <a:lnSpc>
                <a:spcPct val="90000"/>
              </a:lnSpc>
              <a:defRPr sz="4896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0" name="Graphic 8">
            <a:extLst>
              <a:ext uri="{FF2B5EF4-FFF2-40B4-BE49-F238E27FC236}">
                <a16:creationId xmlns:a16="http://schemas.microsoft.com/office/drawing/2014/main" id="{D69A276E-F078-4EFA-878C-2CDDD1CC3755}"/>
              </a:ext>
            </a:extLst>
          </p:cNvPr>
          <p:cNvGrpSpPr/>
          <p:nvPr userDrawn="1"/>
        </p:nvGrpSpPr>
        <p:grpSpPr>
          <a:xfrm>
            <a:off x="9033749" y="3059316"/>
            <a:ext cx="3404917" cy="3939818"/>
            <a:chOff x="8856162" y="3028174"/>
            <a:chExt cx="3337983" cy="3862917"/>
          </a:xfrm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AB311D71-F5D9-4CF8-8B4C-49AFD856DB95}"/>
                </a:ext>
              </a:extLst>
            </p:cNvPr>
            <p:cNvSpPr/>
            <p:nvPr/>
          </p:nvSpPr>
          <p:spPr>
            <a:xfrm>
              <a:off x="8856162" y="3028174"/>
              <a:ext cx="3337983" cy="2010833"/>
            </a:xfrm>
            <a:custGeom>
              <a:avLst/>
              <a:gdLst>
                <a:gd name="connsiteX0" fmla="*/ 2012540 w 3337983"/>
                <a:gd name="connsiteY0" fmla="*/ 353 h 2010833"/>
                <a:gd name="connsiteX1" fmla="*/ 353 w 3337983"/>
                <a:gd name="connsiteY1" fmla="*/ 2012541 h 2010833"/>
                <a:gd name="connsiteX2" fmla="*/ 3337955 w 3337983"/>
                <a:gd name="connsiteY2" fmla="*/ 2012541 h 2010833"/>
                <a:gd name="connsiteX3" fmla="*/ 3337955 w 3337983"/>
                <a:gd name="connsiteY3" fmla="*/ 353 h 2010833"/>
                <a:gd name="connsiteX4" fmla="*/ 2012540 w 3337983"/>
                <a:gd name="connsiteY4" fmla="*/ 353 h 2010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37983" h="2010833">
                  <a:moveTo>
                    <a:pt x="2012540" y="353"/>
                  </a:moveTo>
                  <a:lnTo>
                    <a:pt x="353" y="2012541"/>
                  </a:lnTo>
                  <a:lnTo>
                    <a:pt x="3337955" y="2012541"/>
                  </a:lnTo>
                  <a:lnTo>
                    <a:pt x="3337955" y="353"/>
                  </a:lnTo>
                  <a:lnTo>
                    <a:pt x="2012540" y="353"/>
                  </a:lnTo>
                  <a:close/>
                </a:path>
              </a:pathLst>
            </a:custGeom>
            <a:solidFill>
              <a:srgbClr val="FF9349"/>
            </a:solidFill>
            <a:ln w="2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36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4BE08BF1-547B-4D9F-BDBD-3BCE6D9DB353}"/>
                </a:ext>
              </a:extLst>
            </p:cNvPr>
            <p:cNvSpPr/>
            <p:nvPr/>
          </p:nvSpPr>
          <p:spPr>
            <a:xfrm>
              <a:off x="8856162" y="3028174"/>
              <a:ext cx="2010833" cy="3862917"/>
            </a:xfrm>
            <a:custGeom>
              <a:avLst/>
              <a:gdLst>
                <a:gd name="connsiteX0" fmla="*/ 353 w 2010833"/>
                <a:gd name="connsiteY0" fmla="*/ 2012519 h 3862916"/>
                <a:gd name="connsiteX1" fmla="*/ 353 w 2010833"/>
                <a:gd name="connsiteY1" fmla="*/ 3863841 h 3862916"/>
                <a:gd name="connsiteX2" fmla="*/ 2012540 w 2010833"/>
                <a:gd name="connsiteY2" fmla="*/ 3863841 h 3862916"/>
                <a:gd name="connsiteX3" fmla="*/ 2012540 w 2010833"/>
                <a:gd name="connsiteY3" fmla="*/ 353 h 3862916"/>
                <a:gd name="connsiteX4" fmla="*/ 353 w 2010833"/>
                <a:gd name="connsiteY4" fmla="*/ 2012519 h 3862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0833" h="3862916">
                  <a:moveTo>
                    <a:pt x="353" y="2012519"/>
                  </a:moveTo>
                  <a:lnTo>
                    <a:pt x="353" y="3863841"/>
                  </a:lnTo>
                  <a:lnTo>
                    <a:pt x="2012540" y="3863841"/>
                  </a:lnTo>
                  <a:lnTo>
                    <a:pt x="2012540" y="353"/>
                  </a:lnTo>
                  <a:lnTo>
                    <a:pt x="353" y="2012519"/>
                  </a:lnTo>
                  <a:close/>
                </a:path>
              </a:pathLst>
            </a:custGeom>
            <a:solidFill>
              <a:schemeClr val="accent4"/>
            </a:solidFill>
            <a:ln w="2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36"/>
            </a:p>
          </p:txBody>
        </p: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A3D90677-F141-4018-BCE0-3B2B85945881}"/>
              </a:ext>
            </a:extLst>
          </p:cNvPr>
          <p:cNvSpPr/>
          <p:nvPr userDrawn="1"/>
        </p:nvSpPr>
        <p:spPr>
          <a:xfrm>
            <a:off x="497138" y="6552509"/>
            <a:ext cx="1564247" cy="345294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lvl="0" algn="l"/>
            <a:r>
              <a:rPr lang="en-GB" sz="1632">
                <a:solidFill>
                  <a:schemeClr val="tx1"/>
                </a:solidFill>
                <a:latin typeface="Segoe Light" panose="020B0302040504020203" pitchFamily="34" charset="0"/>
              </a:rPr>
              <a:t>#</a:t>
            </a:r>
            <a:r>
              <a:rPr lang="en-GB" sz="1632" err="1">
                <a:solidFill>
                  <a:schemeClr val="tx1"/>
                </a:solidFill>
                <a:latin typeface="Segoe Light" panose="020B0302040504020203" pitchFamily="34" charset="0"/>
              </a:rPr>
              <a:t>MicrosoftEDU</a:t>
            </a:r>
            <a:r>
              <a:rPr lang="en-GB" sz="1632">
                <a:solidFill>
                  <a:schemeClr val="tx1"/>
                </a:solidFill>
                <a:latin typeface="Segoe Light" panose="020B0302040504020203" pitchFamily="34" charset="0"/>
              </a:rPr>
              <a:t> 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05" y="405036"/>
            <a:ext cx="2571998" cy="305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389755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F6B72B-20F1-42D0-B105-C5C83D58F1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4E2A75D-BA18-4FE4-88FB-C9CDF3C998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DE2E20-C700-4A3A-A890-B84EE414F382}" type="datetime1">
              <a:rPr lang="en-US" smtClean="0"/>
              <a:t>5/7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C2F0A4-5D4A-40CB-94F4-364591CB75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microsoft.com/education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EE94D29-12AF-4DC4-8375-4A2A77D957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3C030-8119-439B-A7A2-330B51F4C00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0301378"/>
      </p:ext>
    </p:extLst>
  </p:cSld>
  <p:clrMapOvr>
    <a:masterClrMapping/>
  </p:clrMapOvr>
  <p:transition>
    <p:fade/>
  </p:transition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CF35A821-5F96-47D5-8626-7ECC48B1AFC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436475" cy="6994525"/>
          </a:xfrm>
        </p:spPr>
        <p:txBody>
          <a:bodyPr/>
          <a:lstStyle/>
          <a:p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495573" y="2946824"/>
            <a:ext cx="6765534" cy="1036169"/>
          </a:xfrm>
        </p:spPr>
        <p:txBody>
          <a:bodyPr anchor="b"/>
          <a:lstStyle>
            <a:lvl1pPr>
              <a:lnSpc>
                <a:spcPct val="90000"/>
              </a:lnSpc>
              <a:defRPr sz="4896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0" name="Graphic 8">
            <a:extLst>
              <a:ext uri="{FF2B5EF4-FFF2-40B4-BE49-F238E27FC236}">
                <a16:creationId xmlns:a16="http://schemas.microsoft.com/office/drawing/2014/main" id="{D69A276E-F078-4EFA-878C-2CDDD1CC3755}"/>
              </a:ext>
            </a:extLst>
          </p:cNvPr>
          <p:cNvGrpSpPr/>
          <p:nvPr userDrawn="1"/>
        </p:nvGrpSpPr>
        <p:grpSpPr>
          <a:xfrm>
            <a:off x="9033749" y="3059316"/>
            <a:ext cx="3404917" cy="3939818"/>
            <a:chOff x="8856162" y="3028174"/>
            <a:chExt cx="3337983" cy="3862917"/>
          </a:xfrm>
        </p:grpSpPr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AB311D71-F5D9-4CF8-8B4C-49AFD856DB95}"/>
                </a:ext>
              </a:extLst>
            </p:cNvPr>
            <p:cNvSpPr/>
            <p:nvPr/>
          </p:nvSpPr>
          <p:spPr>
            <a:xfrm>
              <a:off x="8856162" y="3028174"/>
              <a:ext cx="3337983" cy="2010833"/>
            </a:xfrm>
            <a:custGeom>
              <a:avLst/>
              <a:gdLst>
                <a:gd name="connsiteX0" fmla="*/ 2012540 w 3337983"/>
                <a:gd name="connsiteY0" fmla="*/ 353 h 2010833"/>
                <a:gd name="connsiteX1" fmla="*/ 353 w 3337983"/>
                <a:gd name="connsiteY1" fmla="*/ 2012541 h 2010833"/>
                <a:gd name="connsiteX2" fmla="*/ 3337955 w 3337983"/>
                <a:gd name="connsiteY2" fmla="*/ 2012541 h 2010833"/>
                <a:gd name="connsiteX3" fmla="*/ 3337955 w 3337983"/>
                <a:gd name="connsiteY3" fmla="*/ 353 h 2010833"/>
                <a:gd name="connsiteX4" fmla="*/ 2012540 w 3337983"/>
                <a:gd name="connsiteY4" fmla="*/ 353 h 20108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37983" h="2010833">
                  <a:moveTo>
                    <a:pt x="2012540" y="353"/>
                  </a:moveTo>
                  <a:lnTo>
                    <a:pt x="353" y="2012541"/>
                  </a:lnTo>
                  <a:lnTo>
                    <a:pt x="3337955" y="2012541"/>
                  </a:lnTo>
                  <a:lnTo>
                    <a:pt x="3337955" y="353"/>
                  </a:lnTo>
                  <a:lnTo>
                    <a:pt x="2012540" y="353"/>
                  </a:lnTo>
                  <a:close/>
                </a:path>
              </a:pathLst>
            </a:custGeom>
            <a:solidFill>
              <a:srgbClr val="FF9349"/>
            </a:solidFill>
            <a:ln w="2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36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4BE08BF1-547B-4D9F-BDBD-3BCE6D9DB353}"/>
                </a:ext>
              </a:extLst>
            </p:cNvPr>
            <p:cNvSpPr/>
            <p:nvPr/>
          </p:nvSpPr>
          <p:spPr>
            <a:xfrm>
              <a:off x="8856162" y="3028174"/>
              <a:ext cx="2010833" cy="3862917"/>
            </a:xfrm>
            <a:custGeom>
              <a:avLst/>
              <a:gdLst>
                <a:gd name="connsiteX0" fmla="*/ 353 w 2010833"/>
                <a:gd name="connsiteY0" fmla="*/ 2012519 h 3862916"/>
                <a:gd name="connsiteX1" fmla="*/ 353 w 2010833"/>
                <a:gd name="connsiteY1" fmla="*/ 3863841 h 3862916"/>
                <a:gd name="connsiteX2" fmla="*/ 2012540 w 2010833"/>
                <a:gd name="connsiteY2" fmla="*/ 3863841 h 3862916"/>
                <a:gd name="connsiteX3" fmla="*/ 2012540 w 2010833"/>
                <a:gd name="connsiteY3" fmla="*/ 353 h 3862916"/>
                <a:gd name="connsiteX4" fmla="*/ 353 w 2010833"/>
                <a:gd name="connsiteY4" fmla="*/ 2012519 h 3862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0833" h="3862916">
                  <a:moveTo>
                    <a:pt x="353" y="2012519"/>
                  </a:moveTo>
                  <a:lnTo>
                    <a:pt x="353" y="3863841"/>
                  </a:lnTo>
                  <a:lnTo>
                    <a:pt x="2012540" y="3863841"/>
                  </a:lnTo>
                  <a:lnTo>
                    <a:pt x="2012540" y="353"/>
                  </a:lnTo>
                  <a:lnTo>
                    <a:pt x="353" y="2012519"/>
                  </a:lnTo>
                  <a:close/>
                </a:path>
              </a:pathLst>
            </a:custGeom>
            <a:solidFill>
              <a:schemeClr val="accent4"/>
            </a:solidFill>
            <a:ln w="2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36"/>
            </a:p>
          </p:txBody>
        </p: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A3D90677-F141-4018-BCE0-3B2B85945881}"/>
              </a:ext>
            </a:extLst>
          </p:cNvPr>
          <p:cNvSpPr/>
          <p:nvPr userDrawn="1"/>
        </p:nvSpPr>
        <p:spPr>
          <a:xfrm>
            <a:off x="497138" y="6552509"/>
            <a:ext cx="1564247" cy="345294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lvl="0" algn="l"/>
            <a:r>
              <a:rPr lang="en-GB" sz="1632">
                <a:solidFill>
                  <a:schemeClr val="tx1"/>
                </a:solidFill>
                <a:latin typeface="Segoe Light" panose="020B0302040504020203" pitchFamily="34" charset="0"/>
              </a:rPr>
              <a:t>#</a:t>
            </a:r>
            <a:r>
              <a:rPr lang="en-GB" sz="1632" err="1">
                <a:solidFill>
                  <a:schemeClr val="tx1"/>
                </a:solidFill>
                <a:latin typeface="Segoe Light" panose="020B0302040504020203" pitchFamily="34" charset="0"/>
              </a:rPr>
              <a:t>MicrosoftEDU</a:t>
            </a:r>
            <a:r>
              <a:rPr lang="en-GB" sz="1632">
                <a:solidFill>
                  <a:schemeClr val="tx1"/>
                </a:solidFill>
                <a:latin typeface="Segoe Light" panose="020B0302040504020203" pitchFamily="34" charset="0"/>
              </a:rPr>
              <a:t> 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05" y="405036"/>
            <a:ext cx="2571998" cy="305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3909632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aphic 22">
            <a:extLst>
              <a:ext uri="{FF2B5EF4-FFF2-40B4-BE49-F238E27FC236}">
                <a16:creationId xmlns:a16="http://schemas.microsoft.com/office/drawing/2014/main" id="{57FAE471-7101-4903-A9B4-674163EB622B}"/>
              </a:ext>
            </a:extLst>
          </p:cNvPr>
          <p:cNvGrpSpPr/>
          <p:nvPr userDrawn="1"/>
        </p:nvGrpSpPr>
        <p:grpSpPr>
          <a:xfrm>
            <a:off x="492707" y="1414707"/>
            <a:ext cx="9310084" cy="5579818"/>
            <a:chOff x="209409" y="1378910"/>
            <a:chExt cx="9127067" cy="5470906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5E1EB4A-161E-4515-8FE0-F1A84C210BD9}"/>
                </a:ext>
              </a:extLst>
            </p:cNvPr>
            <p:cNvSpPr/>
            <p:nvPr/>
          </p:nvSpPr>
          <p:spPr>
            <a:xfrm>
              <a:off x="7334193" y="1378910"/>
              <a:ext cx="2000250" cy="4131733"/>
            </a:xfrm>
            <a:custGeom>
              <a:avLst/>
              <a:gdLst>
                <a:gd name="connsiteX0" fmla="*/ 353 w 2000249"/>
                <a:gd name="connsiteY0" fmla="*/ 1000287 h 4131733"/>
                <a:gd name="connsiteX1" fmla="*/ 353 w 2000249"/>
                <a:gd name="connsiteY1" fmla="*/ 4132763 h 4131733"/>
                <a:gd name="connsiteX2" fmla="*/ 2001937 w 2000249"/>
                <a:gd name="connsiteY2" fmla="*/ 2131159 h 4131733"/>
                <a:gd name="connsiteX3" fmla="*/ 2001937 w 2000249"/>
                <a:gd name="connsiteY3" fmla="*/ 1000287 h 4131733"/>
                <a:gd name="connsiteX4" fmla="*/ 2000264 w 2000249"/>
                <a:gd name="connsiteY4" fmla="*/ 1000287 h 4131733"/>
                <a:gd name="connsiteX5" fmla="*/ 1000288 w 2000249"/>
                <a:gd name="connsiteY5" fmla="*/ 353 h 4131733"/>
                <a:gd name="connsiteX6" fmla="*/ 353 w 2000249"/>
                <a:gd name="connsiteY6" fmla="*/ 1000287 h 4131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00249" h="4131733">
                  <a:moveTo>
                    <a:pt x="353" y="1000287"/>
                  </a:moveTo>
                  <a:lnTo>
                    <a:pt x="353" y="4132763"/>
                  </a:lnTo>
                  <a:lnTo>
                    <a:pt x="2001937" y="2131159"/>
                  </a:lnTo>
                  <a:lnTo>
                    <a:pt x="2001937" y="1000287"/>
                  </a:lnTo>
                  <a:lnTo>
                    <a:pt x="2000264" y="1000287"/>
                  </a:lnTo>
                  <a:lnTo>
                    <a:pt x="1000288" y="353"/>
                  </a:lnTo>
                  <a:lnTo>
                    <a:pt x="353" y="1000287"/>
                  </a:lnTo>
                  <a:close/>
                </a:path>
              </a:pathLst>
            </a:custGeom>
            <a:solidFill>
              <a:srgbClr val="FF9349"/>
            </a:solidFill>
            <a:ln w="2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36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25F9BF3F-BE15-49E9-A50E-24E32BA20307}"/>
                </a:ext>
              </a:extLst>
            </p:cNvPr>
            <p:cNvSpPr/>
            <p:nvPr/>
          </p:nvSpPr>
          <p:spPr>
            <a:xfrm>
              <a:off x="209409" y="3509716"/>
              <a:ext cx="9127067" cy="2000250"/>
            </a:xfrm>
            <a:custGeom>
              <a:avLst/>
              <a:gdLst>
                <a:gd name="connsiteX0" fmla="*/ 353 w 9127066"/>
                <a:gd name="connsiteY0" fmla="*/ 2001936 h 2000249"/>
                <a:gd name="connsiteX1" fmla="*/ 7125137 w 9127066"/>
                <a:gd name="connsiteY1" fmla="*/ 2001936 h 2000249"/>
                <a:gd name="connsiteX2" fmla="*/ 9126742 w 9127066"/>
                <a:gd name="connsiteY2" fmla="*/ 353 h 2000249"/>
                <a:gd name="connsiteX3" fmla="*/ 2001957 w 9127066"/>
                <a:gd name="connsiteY3" fmla="*/ 353 h 2000249"/>
                <a:gd name="connsiteX4" fmla="*/ 353 w 9127066"/>
                <a:gd name="connsiteY4" fmla="*/ 2001936 h 2000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27066" h="2000249">
                  <a:moveTo>
                    <a:pt x="353" y="2001936"/>
                  </a:moveTo>
                  <a:lnTo>
                    <a:pt x="7125137" y="2001936"/>
                  </a:lnTo>
                  <a:lnTo>
                    <a:pt x="9126742" y="353"/>
                  </a:lnTo>
                  <a:lnTo>
                    <a:pt x="2001957" y="353"/>
                  </a:lnTo>
                  <a:lnTo>
                    <a:pt x="353" y="2001936"/>
                  </a:lnTo>
                  <a:close/>
                </a:path>
              </a:pathLst>
            </a:custGeom>
            <a:solidFill>
              <a:schemeClr val="accent4"/>
            </a:solidFill>
            <a:ln w="2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36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C889BC2D-4841-4DF2-8C40-8A2114DE0A72}"/>
                </a:ext>
              </a:extLst>
            </p:cNvPr>
            <p:cNvSpPr/>
            <p:nvPr/>
          </p:nvSpPr>
          <p:spPr>
            <a:xfrm>
              <a:off x="209409" y="3509716"/>
              <a:ext cx="2000250" cy="3340100"/>
            </a:xfrm>
            <a:custGeom>
              <a:avLst/>
              <a:gdLst>
                <a:gd name="connsiteX0" fmla="*/ 353 w 2000249"/>
                <a:gd name="connsiteY0" fmla="*/ 3339818 h 3340099"/>
                <a:gd name="connsiteX1" fmla="*/ 2001936 w 2000249"/>
                <a:gd name="connsiteY1" fmla="*/ 3339818 h 3340099"/>
                <a:gd name="connsiteX2" fmla="*/ 2001936 w 2000249"/>
                <a:gd name="connsiteY2" fmla="*/ 353 h 3340099"/>
                <a:gd name="connsiteX3" fmla="*/ 353 w 2000249"/>
                <a:gd name="connsiteY3" fmla="*/ 2001957 h 3340099"/>
                <a:gd name="connsiteX4" fmla="*/ 353 w 2000249"/>
                <a:gd name="connsiteY4" fmla="*/ 3339818 h 3340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00249" h="3340099">
                  <a:moveTo>
                    <a:pt x="353" y="3339818"/>
                  </a:moveTo>
                  <a:lnTo>
                    <a:pt x="2001936" y="3339818"/>
                  </a:lnTo>
                  <a:lnTo>
                    <a:pt x="2001936" y="353"/>
                  </a:lnTo>
                  <a:lnTo>
                    <a:pt x="353" y="2001957"/>
                  </a:lnTo>
                  <a:lnTo>
                    <a:pt x="353" y="3339818"/>
                  </a:lnTo>
                  <a:close/>
                </a:path>
              </a:pathLst>
            </a:custGeom>
            <a:solidFill>
              <a:srgbClr val="FF9349"/>
            </a:solidFill>
            <a:ln w="2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36"/>
            </a:p>
          </p:txBody>
        </p: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A790704F-E0C2-4DB3-A1E4-2DF6141F9424}"/>
              </a:ext>
            </a:extLst>
          </p:cNvPr>
          <p:cNvSpPr/>
          <p:nvPr userDrawn="1"/>
        </p:nvSpPr>
        <p:spPr>
          <a:xfrm>
            <a:off x="769186" y="6562224"/>
            <a:ext cx="1564247" cy="345294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lvl="0" algn="l"/>
            <a:r>
              <a:rPr lang="en-GB" sz="1632">
                <a:solidFill>
                  <a:schemeClr val="bg1"/>
                </a:solidFill>
                <a:latin typeface="Segoe Light" panose="020B0302040504020203" pitchFamily="34" charset="0"/>
              </a:rPr>
              <a:t>#</a:t>
            </a:r>
            <a:r>
              <a:rPr lang="en-GB" sz="1632" err="1">
                <a:solidFill>
                  <a:schemeClr val="bg1"/>
                </a:solidFill>
                <a:latin typeface="Segoe Light" panose="020B0302040504020203" pitchFamily="34" charset="0"/>
              </a:rPr>
              <a:t>MicrosoftEDU</a:t>
            </a:r>
            <a:r>
              <a:rPr lang="en-GB" sz="1632">
                <a:solidFill>
                  <a:schemeClr val="bg1"/>
                </a:solidFill>
                <a:latin typeface="Segoe Light" panose="020B0302040504020203" pitchFamily="34" charset="0"/>
              </a:rPr>
              <a:t> 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2835471" y="4062135"/>
            <a:ext cx="5656310" cy="1036169"/>
          </a:xfrm>
        </p:spPr>
        <p:txBody>
          <a:bodyPr anchor="ctr"/>
          <a:lstStyle>
            <a:lvl1pPr>
              <a:lnSpc>
                <a:spcPct val="90000"/>
              </a:lnSpc>
              <a:defRPr sz="4896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05" y="405036"/>
            <a:ext cx="2571998" cy="305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2101514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7138" y="2033596"/>
            <a:ext cx="7461885" cy="4392965"/>
          </a:xfrm>
        </p:spPr>
        <p:txBody>
          <a:bodyPr/>
          <a:lstStyle>
            <a:lvl4pPr>
              <a:buClr>
                <a:schemeClr val="accent4"/>
              </a:buCl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A2A82E-E5A3-46CC-8E54-690864029CA7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11" name="Graphic 9">
            <a:extLst>
              <a:ext uri="{FF2B5EF4-FFF2-40B4-BE49-F238E27FC236}">
                <a16:creationId xmlns:a16="http://schemas.microsoft.com/office/drawing/2014/main" id="{762795C3-EABC-4819-BAB0-112CEDEB4133}"/>
              </a:ext>
            </a:extLst>
          </p:cNvPr>
          <p:cNvGrpSpPr/>
          <p:nvPr/>
        </p:nvGrpSpPr>
        <p:grpSpPr>
          <a:xfrm>
            <a:off x="8594692" y="-9316"/>
            <a:ext cx="3061618" cy="5661766"/>
            <a:chOff x="8425738" y="-9137"/>
            <a:chExt cx="3001433" cy="5551255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CE590C4-2333-41F7-BA68-581052743902}"/>
                </a:ext>
              </a:extLst>
            </p:cNvPr>
            <p:cNvSpPr/>
            <p:nvPr userDrawn="1"/>
          </p:nvSpPr>
          <p:spPr>
            <a:xfrm>
              <a:off x="10630606" y="-9137"/>
              <a:ext cx="795867" cy="3409950"/>
            </a:xfrm>
            <a:custGeom>
              <a:avLst/>
              <a:gdLst>
                <a:gd name="connsiteX0" fmla="*/ 353 w 795866"/>
                <a:gd name="connsiteY0" fmla="*/ 353 h 3409949"/>
                <a:gd name="connsiteX1" fmla="*/ 353 w 795866"/>
                <a:gd name="connsiteY1" fmla="*/ 3409731 h 3409949"/>
                <a:gd name="connsiteX2" fmla="*/ 796262 w 795866"/>
                <a:gd name="connsiteY2" fmla="*/ 2613823 h 3409949"/>
                <a:gd name="connsiteX3" fmla="*/ 796262 w 795866"/>
                <a:gd name="connsiteY3" fmla="*/ 353 h 3409949"/>
                <a:gd name="connsiteX4" fmla="*/ 353 w 795866"/>
                <a:gd name="connsiteY4" fmla="*/ 353 h 3409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5866" h="3409949">
                  <a:moveTo>
                    <a:pt x="353" y="353"/>
                  </a:moveTo>
                  <a:lnTo>
                    <a:pt x="353" y="3409731"/>
                  </a:lnTo>
                  <a:lnTo>
                    <a:pt x="796262" y="2613823"/>
                  </a:lnTo>
                  <a:lnTo>
                    <a:pt x="796262" y="353"/>
                  </a:lnTo>
                  <a:lnTo>
                    <a:pt x="353" y="353"/>
                  </a:lnTo>
                  <a:close/>
                </a:path>
              </a:pathLst>
            </a:custGeom>
            <a:solidFill>
              <a:schemeClr val="accent4"/>
            </a:solidFill>
            <a:ln w="2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36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A135665-0431-4472-A4CC-160D2E2F2F50}"/>
                </a:ext>
              </a:extLst>
            </p:cNvPr>
            <p:cNvSpPr/>
            <p:nvPr/>
          </p:nvSpPr>
          <p:spPr>
            <a:xfrm>
              <a:off x="8425738" y="3389468"/>
              <a:ext cx="795867" cy="2152650"/>
            </a:xfrm>
            <a:custGeom>
              <a:avLst/>
              <a:gdLst>
                <a:gd name="connsiteX0" fmla="*/ 796262 w 795866"/>
                <a:gd name="connsiteY0" fmla="*/ 1756170 h 2152650"/>
                <a:gd name="connsiteX1" fmla="*/ 796262 w 795866"/>
                <a:gd name="connsiteY1" fmla="*/ 353 h 2152650"/>
                <a:gd name="connsiteX2" fmla="*/ 353 w 795866"/>
                <a:gd name="connsiteY2" fmla="*/ 8819 h 2152650"/>
                <a:gd name="connsiteX3" fmla="*/ 353 w 795866"/>
                <a:gd name="connsiteY3" fmla="*/ 1756170 h 2152650"/>
                <a:gd name="connsiteX4" fmla="*/ 398646 w 795866"/>
                <a:gd name="connsiteY4" fmla="*/ 2153786 h 2152650"/>
                <a:gd name="connsiteX5" fmla="*/ 796262 w 795866"/>
                <a:gd name="connsiteY5" fmla="*/ 1756170 h 2152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95866" h="2152650">
                  <a:moveTo>
                    <a:pt x="796262" y="1756170"/>
                  </a:moveTo>
                  <a:lnTo>
                    <a:pt x="796262" y="353"/>
                  </a:lnTo>
                  <a:lnTo>
                    <a:pt x="353" y="8819"/>
                  </a:lnTo>
                  <a:lnTo>
                    <a:pt x="353" y="1756170"/>
                  </a:lnTo>
                  <a:lnTo>
                    <a:pt x="398646" y="2153786"/>
                  </a:lnTo>
                  <a:lnTo>
                    <a:pt x="796262" y="1756170"/>
                  </a:lnTo>
                  <a:close/>
                </a:path>
              </a:pathLst>
            </a:custGeom>
            <a:solidFill>
              <a:schemeClr val="accent4"/>
            </a:solidFill>
            <a:ln w="2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36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45C9220F-87E3-47E6-AD48-8F548132A08C}"/>
                </a:ext>
              </a:extLst>
            </p:cNvPr>
            <p:cNvSpPr/>
            <p:nvPr/>
          </p:nvSpPr>
          <p:spPr>
            <a:xfrm>
              <a:off x="8425738" y="2604078"/>
              <a:ext cx="3001433" cy="795867"/>
            </a:xfrm>
            <a:custGeom>
              <a:avLst/>
              <a:gdLst>
                <a:gd name="connsiteX0" fmla="*/ 796262 w 3001433"/>
                <a:gd name="connsiteY0" fmla="*/ 607 h 795866"/>
                <a:gd name="connsiteX1" fmla="*/ 796262 w 3001433"/>
                <a:gd name="connsiteY1" fmla="*/ 353 h 795866"/>
                <a:gd name="connsiteX2" fmla="*/ 353 w 3001433"/>
                <a:gd name="connsiteY2" fmla="*/ 796262 h 795866"/>
                <a:gd name="connsiteX3" fmla="*/ 796262 w 3001433"/>
                <a:gd name="connsiteY3" fmla="*/ 796262 h 795866"/>
                <a:gd name="connsiteX4" fmla="*/ 796262 w 3001433"/>
                <a:gd name="connsiteY4" fmla="*/ 796516 h 795866"/>
                <a:gd name="connsiteX5" fmla="*/ 2205221 w 3001433"/>
                <a:gd name="connsiteY5" fmla="*/ 796516 h 795866"/>
                <a:gd name="connsiteX6" fmla="*/ 3001130 w 3001433"/>
                <a:gd name="connsiteY6" fmla="*/ 607 h 795866"/>
                <a:gd name="connsiteX7" fmla="*/ 796262 w 3001433"/>
                <a:gd name="connsiteY7" fmla="*/ 607 h 795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01433" h="795866">
                  <a:moveTo>
                    <a:pt x="796262" y="607"/>
                  </a:moveTo>
                  <a:lnTo>
                    <a:pt x="796262" y="353"/>
                  </a:lnTo>
                  <a:lnTo>
                    <a:pt x="353" y="796262"/>
                  </a:lnTo>
                  <a:lnTo>
                    <a:pt x="796262" y="796262"/>
                  </a:lnTo>
                  <a:lnTo>
                    <a:pt x="796262" y="796516"/>
                  </a:lnTo>
                  <a:lnTo>
                    <a:pt x="2205221" y="796516"/>
                  </a:lnTo>
                  <a:lnTo>
                    <a:pt x="3001130" y="607"/>
                  </a:lnTo>
                  <a:lnTo>
                    <a:pt x="796262" y="607"/>
                  </a:lnTo>
                  <a:close/>
                </a:path>
              </a:pathLst>
            </a:custGeom>
            <a:solidFill>
              <a:srgbClr val="FF9349"/>
            </a:solidFill>
            <a:ln w="2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36"/>
            </a:p>
          </p:txBody>
        </p:sp>
      </p:grpSp>
    </p:spTree>
    <p:extLst>
      <p:ext uri="{BB962C8B-B14F-4D97-AF65-F5344CB8AC3E}">
        <p14:creationId xmlns:p14="http://schemas.microsoft.com/office/powerpoint/2010/main" val="3897797801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7138" y="2033596"/>
            <a:ext cx="7461885" cy="4392965"/>
          </a:xfrm>
        </p:spPr>
        <p:txBody>
          <a:bodyPr/>
          <a:lstStyle>
            <a:lvl4pPr>
              <a:buClr>
                <a:schemeClr val="accent4"/>
              </a:buCl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A2A82E-E5A3-46CC-8E54-690864029CA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2214947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6854" y="2033596"/>
            <a:ext cx="7461885" cy="4392965"/>
          </a:xfrm>
        </p:spPr>
        <p:txBody>
          <a:bodyPr/>
          <a:lstStyle>
            <a:lvl4pPr>
              <a:buClr>
                <a:schemeClr val="accent4"/>
              </a:buCl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02420" y="1292571"/>
            <a:ext cx="7380375" cy="113446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A2A82E-E5A3-46CC-8E54-690864029CA7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19" name="Graphic 11">
            <a:extLst>
              <a:ext uri="{FF2B5EF4-FFF2-40B4-BE49-F238E27FC236}">
                <a16:creationId xmlns:a16="http://schemas.microsoft.com/office/drawing/2014/main" id="{65861E29-6A24-4FC5-A0C9-541FFE129C93}"/>
              </a:ext>
            </a:extLst>
          </p:cNvPr>
          <p:cNvGrpSpPr/>
          <p:nvPr userDrawn="1"/>
        </p:nvGrpSpPr>
        <p:grpSpPr>
          <a:xfrm flipH="1">
            <a:off x="0" y="0"/>
            <a:ext cx="12436475" cy="6994525"/>
            <a:chOff x="0" y="0"/>
            <a:chExt cx="12192000" cy="6858000"/>
          </a:xfrm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AC889F0D-7DBF-405C-B292-360816848939}"/>
                </a:ext>
              </a:extLst>
            </p:cNvPr>
            <p:cNvSpPr/>
            <p:nvPr/>
          </p:nvSpPr>
          <p:spPr>
            <a:xfrm>
              <a:off x="-8460" y="185935"/>
              <a:ext cx="1310217" cy="795867"/>
            </a:xfrm>
            <a:custGeom>
              <a:avLst/>
              <a:gdLst>
                <a:gd name="connsiteX0" fmla="*/ 353 w 1310216"/>
                <a:gd name="connsiteY0" fmla="*/ 796262 h 795866"/>
                <a:gd name="connsiteX1" fmla="*/ 1309998 w 1310216"/>
                <a:gd name="connsiteY1" fmla="*/ 796262 h 795866"/>
                <a:gd name="connsiteX2" fmla="*/ 514089 w 1310216"/>
                <a:gd name="connsiteY2" fmla="*/ 353 h 795866"/>
                <a:gd name="connsiteX3" fmla="*/ 353 w 1310216"/>
                <a:gd name="connsiteY3" fmla="*/ 353 h 795866"/>
                <a:gd name="connsiteX4" fmla="*/ 353 w 1310216"/>
                <a:gd name="connsiteY4" fmla="*/ 796262 h 795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0216" h="795866">
                  <a:moveTo>
                    <a:pt x="353" y="796262"/>
                  </a:moveTo>
                  <a:lnTo>
                    <a:pt x="1309998" y="796262"/>
                  </a:lnTo>
                  <a:lnTo>
                    <a:pt x="514089" y="353"/>
                  </a:lnTo>
                  <a:lnTo>
                    <a:pt x="353" y="353"/>
                  </a:lnTo>
                  <a:lnTo>
                    <a:pt x="353" y="796262"/>
                  </a:lnTo>
                  <a:close/>
                </a:path>
              </a:pathLst>
            </a:custGeom>
            <a:solidFill>
              <a:srgbClr val="FF9349"/>
            </a:solidFill>
            <a:ln w="2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36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F2E9D07A-9570-4880-80A4-903A9C7FCD3D}"/>
                </a:ext>
              </a:extLst>
            </p:cNvPr>
            <p:cNvSpPr/>
            <p:nvPr/>
          </p:nvSpPr>
          <p:spPr>
            <a:xfrm>
              <a:off x="1290412" y="5680103"/>
              <a:ext cx="5736167" cy="795867"/>
            </a:xfrm>
            <a:custGeom>
              <a:avLst/>
              <a:gdLst>
                <a:gd name="connsiteX0" fmla="*/ 5339687 w 5736166"/>
                <a:gd name="connsiteY0" fmla="*/ 353 h 795866"/>
                <a:gd name="connsiteX1" fmla="*/ 353 w 5736166"/>
                <a:gd name="connsiteY1" fmla="*/ 353 h 795866"/>
                <a:gd name="connsiteX2" fmla="*/ 8819 w 5736166"/>
                <a:gd name="connsiteY2" fmla="*/ 796262 h 795866"/>
                <a:gd name="connsiteX3" fmla="*/ 5339687 w 5736166"/>
                <a:gd name="connsiteY3" fmla="*/ 796262 h 795866"/>
                <a:gd name="connsiteX4" fmla="*/ 5737303 w 5736166"/>
                <a:gd name="connsiteY4" fmla="*/ 397969 h 795866"/>
                <a:gd name="connsiteX5" fmla="*/ 5339687 w 5736166"/>
                <a:gd name="connsiteY5" fmla="*/ 353 h 795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736166" h="795866">
                  <a:moveTo>
                    <a:pt x="5339687" y="353"/>
                  </a:moveTo>
                  <a:lnTo>
                    <a:pt x="353" y="353"/>
                  </a:lnTo>
                  <a:lnTo>
                    <a:pt x="8819" y="796262"/>
                  </a:lnTo>
                  <a:lnTo>
                    <a:pt x="5339687" y="796262"/>
                  </a:lnTo>
                  <a:lnTo>
                    <a:pt x="5737303" y="397969"/>
                  </a:lnTo>
                  <a:lnTo>
                    <a:pt x="5339687" y="353"/>
                  </a:lnTo>
                  <a:close/>
                </a:path>
              </a:pathLst>
            </a:custGeom>
            <a:solidFill>
              <a:srgbClr val="FF9349"/>
            </a:solidFill>
            <a:ln w="2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36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DFBF215E-1AA5-446A-8B6F-C322D9BBA641}"/>
                </a:ext>
              </a:extLst>
            </p:cNvPr>
            <p:cNvSpPr/>
            <p:nvPr/>
          </p:nvSpPr>
          <p:spPr>
            <a:xfrm>
              <a:off x="505023" y="185935"/>
              <a:ext cx="795867" cy="6290733"/>
            </a:xfrm>
            <a:custGeom>
              <a:avLst/>
              <a:gdLst>
                <a:gd name="connsiteX0" fmla="*/ 607 w 795866"/>
                <a:gd name="connsiteY0" fmla="*/ 5494521 h 6290733"/>
                <a:gd name="connsiteX1" fmla="*/ 353 w 795866"/>
                <a:gd name="connsiteY1" fmla="*/ 5494521 h 6290733"/>
                <a:gd name="connsiteX2" fmla="*/ 796283 w 795866"/>
                <a:gd name="connsiteY2" fmla="*/ 6290430 h 6290733"/>
                <a:gd name="connsiteX3" fmla="*/ 796283 w 795866"/>
                <a:gd name="connsiteY3" fmla="*/ 5494521 h 6290733"/>
                <a:gd name="connsiteX4" fmla="*/ 796516 w 795866"/>
                <a:gd name="connsiteY4" fmla="*/ 5494521 h 6290733"/>
                <a:gd name="connsiteX5" fmla="*/ 796516 w 795866"/>
                <a:gd name="connsiteY5" fmla="*/ 796262 h 6290733"/>
                <a:gd name="connsiteX6" fmla="*/ 607 w 795866"/>
                <a:gd name="connsiteY6" fmla="*/ 353 h 6290733"/>
                <a:gd name="connsiteX7" fmla="*/ 607 w 795866"/>
                <a:gd name="connsiteY7" fmla="*/ 5494521 h 6290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95866" h="6290733">
                  <a:moveTo>
                    <a:pt x="607" y="5494521"/>
                  </a:moveTo>
                  <a:lnTo>
                    <a:pt x="353" y="5494521"/>
                  </a:lnTo>
                  <a:lnTo>
                    <a:pt x="796283" y="6290430"/>
                  </a:lnTo>
                  <a:lnTo>
                    <a:pt x="796283" y="5494521"/>
                  </a:lnTo>
                  <a:lnTo>
                    <a:pt x="796516" y="5494521"/>
                  </a:lnTo>
                  <a:lnTo>
                    <a:pt x="796516" y="796262"/>
                  </a:lnTo>
                  <a:lnTo>
                    <a:pt x="607" y="353"/>
                  </a:lnTo>
                  <a:lnTo>
                    <a:pt x="607" y="5494521"/>
                  </a:lnTo>
                  <a:close/>
                </a:path>
              </a:pathLst>
            </a:custGeom>
            <a:solidFill>
              <a:schemeClr val="accent4"/>
            </a:solidFill>
            <a:ln w="2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36"/>
            </a:p>
          </p:txBody>
        </p:sp>
      </p:grpSp>
    </p:spTree>
    <p:extLst>
      <p:ext uri="{BB962C8B-B14F-4D97-AF65-F5344CB8AC3E}">
        <p14:creationId xmlns:p14="http://schemas.microsoft.com/office/powerpoint/2010/main" val="3607434291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7136" y="2033594"/>
            <a:ext cx="3443928" cy="4237193"/>
          </a:xfrm>
        </p:spPr>
        <p:txBody>
          <a:bodyPr/>
          <a:lstStyle>
            <a:lvl4pPr>
              <a:buClr>
                <a:schemeClr val="accent4"/>
              </a:buCl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4490410" y="2033594"/>
            <a:ext cx="3443928" cy="4237193"/>
          </a:xfrm>
        </p:spPr>
        <p:txBody>
          <a:bodyPr/>
          <a:lstStyle>
            <a:lvl4pPr>
              <a:buClr>
                <a:schemeClr val="accent4"/>
              </a:buCl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DA2A82E-E5A3-46CC-8E54-690864029CA7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28" name="Graphic 9">
            <a:extLst>
              <a:ext uri="{FF2B5EF4-FFF2-40B4-BE49-F238E27FC236}">
                <a16:creationId xmlns:a16="http://schemas.microsoft.com/office/drawing/2014/main" id="{77548FC3-70F7-4DB3-91B0-EBEB6953A22E}"/>
              </a:ext>
            </a:extLst>
          </p:cNvPr>
          <p:cNvGrpSpPr/>
          <p:nvPr userDrawn="1"/>
        </p:nvGrpSpPr>
        <p:grpSpPr>
          <a:xfrm>
            <a:off x="8594692" y="-9316"/>
            <a:ext cx="3061618" cy="5661766"/>
            <a:chOff x="8425738" y="-9137"/>
            <a:chExt cx="3001433" cy="5551255"/>
          </a:xfrm>
        </p:grpSpPr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F9901983-9922-49D5-BBBE-7EA7903309AB}"/>
                </a:ext>
              </a:extLst>
            </p:cNvPr>
            <p:cNvSpPr/>
            <p:nvPr userDrawn="1"/>
          </p:nvSpPr>
          <p:spPr>
            <a:xfrm>
              <a:off x="10630606" y="-9137"/>
              <a:ext cx="795867" cy="3409950"/>
            </a:xfrm>
            <a:custGeom>
              <a:avLst/>
              <a:gdLst>
                <a:gd name="connsiteX0" fmla="*/ 353 w 795866"/>
                <a:gd name="connsiteY0" fmla="*/ 353 h 3409949"/>
                <a:gd name="connsiteX1" fmla="*/ 353 w 795866"/>
                <a:gd name="connsiteY1" fmla="*/ 3409731 h 3409949"/>
                <a:gd name="connsiteX2" fmla="*/ 796262 w 795866"/>
                <a:gd name="connsiteY2" fmla="*/ 2613823 h 3409949"/>
                <a:gd name="connsiteX3" fmla="*/ 796262 w 795866"/>
                <a:gd name="connsiteY3" fmla="*/ 353 h 3409949"/>
                <a:gd name="connsiteX4" fmla="*/ 353 w 795866"/>
                <a:gd name="connsiteY4" fmla="*/ 353 h 34099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5866" h="3409949">
                  <a:moveTo>
                    <a:pt x="353" y="353"/>
                  </a:moveTo>
                  <a:lnTo>
                    <a:pt x="353" y="3409731"/>
                  </a:lnTo>
                  <a:lnTo>
                    <a:pt x="796262" y="2613823"/>
                  </a:lnTo>
                  <a:lnTo>
                    <a:pt x="796262" y="353"/>
                  </a:lnTo>
                  <a:lnTo>
                    <a:pt x="353" y="353"/>
                  </a:lnTo>
                  <a:close/>
                </a:path>
              </a:pathLst>
            </a:custGeom>
            <a:solidFill>
              <a:schemeClr val="accent4"/>
            </a:solidFill>
            <a:ln w="2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36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1D88F01C-4C63-4932-8A23-930BF7EC63E0}"/>
                </a:ext>
              </a:extLst>
            </p:cNvPr>
            <p:cNvSpPr/>
            <p:nvPr/>
          </p:nvSpPr>
          <p:spPr>
            <a:xfrm>
              <a:off x="8425738" y="3389468"/>
              <a:ext cx="795867" cy="2152650"/>
            </a:xfrm>
            <a:custGeom>
              <a:avLst/>
              <a:gdLst>
                <a:gd name="connsiteX0" fmla="*/ 796262 w 795866"/>
                <a:gd name="connsiteY0" fmla="*/ 1756170 h 2152650"/>
                <a:gd name="connsiteX1" fmla="*/ 796262 w 795866"/>
                <a:gd name="connsiteY1" fmla="*/ 353 h 2152650"/>
                <a:gd name="connsiteX2" fmla="*/ 353 w 795866"/>
                <a:gd name="connsiteY2" fmla="*/ 8819 h 2152650"/>
                <a:gd name="connsiteX3" fmla="*/ 353 w 795866"/>
                <a:gd name="connsiteY3" fmla="*/ 1756170 h 2152650"/>
                <a:gd name="connsiteX4" fmla="*/ 398646 w 795866"/>
                <a:gd name="connsiteY4" fmla="*/ 2153786 h 2152650"/>
                <a:gd name="connsiteX5" fmla="*/ 796262 w 795866"/>
                <a:gd name="connsiteY5" fmla="*/ 1756170 h 2152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95866" h="2152650">
                  <a:moveTo>
                    <a:pt x="796262" y="1756170"/>
                  </a:moveTo>
                  <a:lnTo>
                    <a:pt x="796262" y="353"/>
                  </a:lnTo>
                  <a:lnTo>
                    <a:pt x="353" y="8819"/>
                  </a:lnTo>
                  <a:lnTo>
                    <a:pt x="353" y="1756170"/>
                  </a:lnTo>
                  <a:lnTo>
                    <a:pt x="398646" y="2153786"/>
                  </a:lnTo>
                  <a:lnTo>
                    <a:pt x="796262" y="1756170"/>
                  </a:lnTo>
                  <a:close/>
                </a:path>
              </a:pathLst>
            </a:custGeom>
            <a:solidFill>
              <a:schemeClr val="accent4"/>
            </a:solidFill>
            <a:ln w="2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36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0C6A5A9-0AFF-437D-9C66-84D54CA8D534}"/>
                </a:ext>
              </a:extLst>
            </p:cNvPr>
            <p:cNvSpPr/>
            <p:nvPr/>
          </p:nvSpPr>
          <p:spPr>
            <a:xfrm>
              <a:off x="8425738" y="2604078"/>
              <a:ext cx="3001433" cy="795867"/>
            </a:xfrm>
            <a:custGeom>
              <a:avLst/>
              <a:gdLst>
                <a:gd name="connsiteX0" fmla="*/ 796262 w 3001433"/>
                <a:gd name="connsiteY0" fmla="*/ 607 h 795866"/>
                <a:gd name="connsiteX1" fmla="*/ 796262 w 3001433"/>
                <a:gd name="connsiteY1" fmla="*/ 353 h 795866"/>
                <a:gd name="connsiteX2" fmla="*/ 353 w 3001433"/>
                <a:gd name="connsiteY2" fmla="*/ 796262 h 795866"/>
                <a:gd name="connsiteX3" fmla="*/ 796262 w 3001433"/>
                <a:gd name="connsiteY3" fmla="*/ 796262 h 795866"/>
                <a:gd name="connsiteX4" fmla="*/ 796262 w 3001433"/>
                <a:gd name="connsiteY4" fmla="*/ 796516 h 795866"/>
                <a:gd name="connsiteX5" fmla="*/ 2205221 w 3001433"/>
                <a:gd name="connsiteY5" fmla="*/ 796516 h 795866"/>
                <a:gd name="connsiteX6" fmla="*/ 3001130 w 3001433"/>
                <a:gd name="connsiteY6" fmla="*/ 607 h 795866"/>
                <a:gd name="connsiteX7" fmla="*/ 796262 w 3001433"/>
                <a:gd name="connsiteY7" fmla="*/ 607 h 795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001433" h="795866">
                  <a:moveTo>
                    <a:pt x="796262" y="607"/>
                  </a:moveTo>
                  <a:lnTo>
                    <a:pt x="796262" y="353"/>
                  </a:lnTo>
                  <a:lnTo>
                    <a:pt x="353" y="796262"/>
                  </a:lnTo>
                  <a:lnTo>
                    <a:pt x="796262" y="796262"/>
                  </a:lnTo>
                  <a:lnTo>
                    <a:pt x="796262" y="796516"/>
                  </a:lnTo>
                  <a:lnTo>
                    <a:pt x="2205221" y="796516"/>
                  </a:lnTo>
                  <a:lnTo>
                    <a:pt x="3001130" y="607"/>
                  </a:lnTo>
                  <a:lnTo>
                    <a:pt x="796262" y="607"/>
                  </a:lnTo>
                  <a:close/>
                </a:path>
              </a:pathLst>
            </a:custGeom>
            <a:solidFill>
              <a:srgbClr val="FF9349"/>
            </a:solidFill>
            <a:ln w="2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36"/>
            </a:p>
          </p:txBody>
        </p:sp>
      </p:grpSp>
    </p:spTree>
    <p:extLst>
      <p:ext uri="{BB962C8B-B14F-4D97-AF65-F5344CB8AC3E}">
        <p14:creationId xmlns:p14="http://schemas.microsoft.com/office/powerpoint/2010/main" val="2117479745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97136" y="2033594"/>
            <a:ext cx="3443928" cy="4237193"/>
          </a:xfrm>
        </p:spPr>
        <p:txBody>
          <a:bodyPr/>
          <a:lstStyle>
            <a:lvl4pPr>
              <a:buClr>
                <a:schemeClr val="accent4"/>
              </a:buCl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/>
          </p:nvPr>
        </p:nvSpPr>
        <p:spPr>
          <a:xfrm>
            <a:off x="4490410" y="2033594"/>
            <a:ext cx="3443928" cy="4237193"/>
          </a:xfrm>
        </p:spPr>
        <p:txBody>
          <a:bodyPr/>
          <a:lstStyle>
            <a:lvl4pPr>
              <a:buClr>
                <a:schemeClr val="accent4"/>
              </a:buCl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1"/>
          </p:nvPr>
        </p:nvSpPr>
        <p:spPr>
          <a:xfrm>
            <a:off x="8477207" y="2033593"/>
            <a:ext cx="3443928" cy="4237193"/>
          </a:xfrm>
        </p:spPr>
        <p:txBody>
          <a:bodyPr/>
          <a:lstStyle>
            <a:lvl4pPr>
              <a:buClr>
                <a:schemeClr val="accent4"/>
              </a:buCl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A2A82E-E5A3-46CC-8E54-690864029CA7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255DD1F-FFC4-4B73-A461-7AB4609D4D00}"/>
              </a:ext>
            </a:extLst>
          </p:cNvPr>
          <p:cNvGrpSpPr/>
          <p:nvPr userDrawn="1"/>
        </p:nvGrpSpPr>
        <p:grpSpPr>
          <a:xfrm>
            <a:off x="10084125" y="-22564"/>
            <a:ext cx="1863312" cy="1882369"/>
            <a:chOff x="10225379" y="-418071"/>
            <a:chExt cx="1826683" cy="1845627"/>
          </a:xfrm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0A6ABDFB-CEFB-4DF3-99B4-5CDE0D537D6C}"/>
                </a:ext>
              </a:extLst>
            </p:cNvPr>
            <p:cNvSpPr/>
            <p:nvPr/>
          </p:nvSpPr>
          <p:spPr>
            <a:xfrm>
              <a:off x="10225379" y="32673"/>
              <a:ext cx="400050" cy="1394883"/>
            </a:xfrm>
            <a:custGeom>
              <a:avLst/>
              <a:gdLst>
                <a:gd name="connsiteX0" fmla="*/ 400910 w 400050"/>
                <a:gd name="connsiteY0" fmla="*/ 1194428 h 1394883"/>
                <a:gd name="connsiteX1" fmla="*/ 400910 w 400050"/>
                <a:gd name="connsiteY1" fmla="*/ 353 h 1394883"/>
                <a:gd name="connsiteX2" fmla="*/ 353 w 400050"/>
                <a:gd name="connsiteY2" fmla="*/ 400911 h 1394883"/>
                <a:gd name="connsiteX3" fmla="*/ 353 w 400050"/>
                <a:gd name="connsiteY3" fmla="*/ 1194428 h 1394883"/>
                <a:gd name="connsiteX4" fmla="*/ 692 w 400050"/>
                <a:gd name="connsiteY4" fmla="*/ 1194428 h 1394883"/>
                <a:gd name="connsiteX5" fmla="*/ 200802 w 400050"/>
                <a:gd name="connsiteY5" fmla="*/ 1394538 h 1394883"/>
                <a:gd name="connsiteX6" fmla="*/ 400910 w 400050"/>
                <a:gd name="connsiteY6" fmla="*/ 1194428 h 1394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0050" h="1394883">
                  <a:moveTo>
                    <a:pt x="400910" y="1194428"/>
                  </a:moveTo>
                  <a:lnTo>
                    <a:pt x="400910" y="353"/>
                  </a:lnTo>
                  <a:lnTo>
                    <a:pt x="353" y="400911"/>
                  </a:lnTo>
                  <a:lnTo>
                    <a:pt x="353" y="1194428"/>
                  </a:lnTo>
                  <a:lnTo>
                    <a:pt x="692" y="1194428"/>
                  </a:lnTo>
                  <a:lnTo>
                    <a:pt x="200802" y="1394538"/>
                  </a:lnTo>
                  <a:lnTo>
                    <a:pt x="400910" y="1194428"/>
                  </a:lnTo>
                  <a:close/>
                </a:path>
              </a:pathLst>
            </a:custGeom>
            <a:solidFill>
              <a:srgbClr val="FF9349"/>
            </a:solidFill>
            <a:ln w="2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36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5A5B4550-849F-4E60-B886-4816109A14CB}"/>
                </a:ext>
              </a:extLst>
            </p:cNvPr>
            <p:cNvSpPr/>
            <p:nvPr/>
          </p:nvSpPr>
          <p:spPr>
            <a:xfrm>
              <a:off x="10225379" y="32673"/>
              <a:ext cx="1826683" cy="400050"/>
            </a:xfrm>
            <a:custGeom>
              <a:avLst/>
              <a:gdLst>
                <a:gd name="connsiteX0" fmla="*/ 1826761 w 1826683"/>
                <a:gd name="connsiteY0" fmla="*/ 353 h 400050"/>
                <a:gd name="connsiteX1" fmla="*/ 400910 w 1826683"/>
                <a:gd name="connsiteY1" fmla="*/ 353 h 400050"/>
                <a:gd name="connsiteX2" fmla="*/ 353 w 1826683"/>
                <a:gd name="connsiteY2" fmla="*/ 400911 h 400050"/>
                <a:gd name="connsiteX3" fmla="*/ 1426182 w 1826683"/>
                <a:gd name="connsiteY3" fmla="*/ 400911 h 400050"/>
                <a:gd name="connsiteX4" fmla="*/ 1826761 w 1826683"/>
                <a:gd name="connsiteY4" fmla="*/ 353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26683" h="400050">
                  <a:moveTo>
                    <a:pt x="1826761" y="353"/>
                  </a:moveTo>
                  <a:lnTo>
                    <a:pt x="400910" y="353"/>
                  </a:lnTo>
                  <a:lnTo>
                    <a:pt x="353" y="400911"/>
                  </a:lnTo>
                  <a:lnTo>
                    <a:pt x="1426182" y="400911"/>
                  </a:lnTo>
                  <a:lnTo>
                    <a:pt x="1826761" y="353"/>
                  </a:lnTo>
                  <a:close/>
                </a:path>
              </a:pathLst>
            </a:custGeom>
            <a:solidFill>
              <a:schemeClr val="accent4"/>
            </a:solidFill>
            <a:ln w="2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36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DB7A189-0BFD-4229-B4C6-B26F97EDE273}"/>
                </a:ext>
              </a:extLst>
            </p:cNvPr>
            <p:cNvSpPr/>
            <p:nvPr/>
          </p:nvSpPr>
          <p:spPr>
            <a:xfrm>
              <a:off x="11651208" y="-418071"/>
              <a:ext cx="400050" cy="850900"/>
            </a:xfrm>
            <a:custGeom>
              <a:avLst/>
              <a:gdLst>
                <a:gd name="connsiteX0" fmla="*/ 400932 w 400050"/>
                <a:gd name="connsiteY0" fmla="*/ 353 h 850899"/>
                <a:gd name="connsiteX1" fmla="*/ 353 w 400050"/>
                <a:gd name="connsiteY1" fmla="*/ 353 h 850899"/>
                <a:gd name="connsiteX2" fmla="*/ 353 w 400050"/>
                <a:gd name="connsiteY2" fmla="*/ 851655 h 850899"/>
                <a:gd name="connsiteX3" fmla="*/ 400932 w 400050"/>
                <a:gd name="connsiteY3" fmla="*/ 451097 h 850899"/>
                <a:gd name="connsiteX4" fmla="*/ 400932 w 400050"/>
                <a:gd name="connsiteY4" fmla="*/ 353 h 850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0050" h="850899">
                  <a:moveTo>
                    <a:pt x="400932" y="353"/>
                  </a:moveTo>
                  <a:lnTo>
                    <a:pt x="353" y="353"/>
                  </a:lnTo>
                  <a:lnTo>
                    <a:pt x="353" y="851655"/>
                  </a:lnTo>
                  <a:lnTo>
                    <a:pt x="400932" y="451097"/>
                  </a:lnTo>
                  <a:lnTo>
                    <a:pt x="400932" y="353"/>
                  </a:lnTo>
                  <a:close/>
                </a:path>
              </a:pathLst>
            </a:custGeom>
            <a:solidFill>
              <a:srgbClr val="FF9349"/>
            </a:solidFill>
            <a:ln w="211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836"/>
            </a:p>
          </p:txBody>
        </p:sp>
      </p:grpSp>
    </p:spTree>
    <p:extLst>
      <p:ext uri="{BB962C8B-B14F-4D97-AF65-F5344CB8AC3E}">
        <p14:creationId xmlns:p14="http://schemas.microsoft.com/office/powerpoint/2010/main" val="25496596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3807">
          <p15:clr>
            <a:srgbClr val="FBAE40"/>
          </p15:clr>
        </p15:guide>
        <p15:guide id="4" pos="393">
          <p15:clr>
            <a:srgbClr val="FBAE40"/>
          </p15:clr>
        </p15:guide>
        <p15:guide id="5" pos="2638">
          <p15:clr>
            <a:srgbClr val="FBAE40"/>
          </p15:clr>
        </p15:guide>
      </p15:sldGuideLst>
    </p:ext>
  </p:extLs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5440959" y="3"/>
            <a:ext cx="6995517" cy="7030394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97137" y="2033596"/>
            <a:ext cx="4443288" cy="4392965"/>
          </a:xfrm>
        </p:spPr>
        <p:txBody>
          <a:bodyPr/>
          <a:lstStyle>
            <a:lvl4pPr>
              <a:buClr>
                <a:schemeClr val="accent4"/>
              </a:buClr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92704" y="1292571"/>
            <a:ext cx="4447719" cy="113446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FDA2A82E-E5A3-46CC-8E54-690864029CA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8441360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FDA2A82E-E5A3-46CC-8E54-690864029CA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31847812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7BB65B-F7FF-4763-8DCE-7C2F92A63ED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420031" y="2984331"/>
            <a:ext cx="5596414" cy="1025864"/>
          </a:xfrm>
          <a:solidFill>
            <a:schemeClr val="bg1">
              <a:alpha val="80000"/>
            </a:schemeClr>
          </a:solidFill>
        </p:spPr>
        <p:txBody>
          <a:bodyPr anchor="ctr">
            <a:normAutofit/>
          </a:bodyPr>
          <a:lstStyle>
            <a:lvl1pPr algn="ctr">
              <a:defRPr sz="3672"/>
            </a:lvl1pPr>
          </a:lstStyle>
          <a:p>
            <a:r>
              <a:rPr lang="en-US"/>
              <a:t>Click to edit copy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588CE5-ABB2-4AC4-A0AF-15093785E1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32418">
              <a:defRPr/>
            </a:pPr>
            <a:fld id="{A0CB07F5-FCA8-473A-A92A-75110A9676DE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32418">
                <a:defRPr/>
              </a:pPr>
              <a:t>5/7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F5CE41-71C2-44ED-8EBA-E08B42B706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32418"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E461F0-AEF5-4CAF-B4D6-4B600DB818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32418">
              <a:defRPr/>
            </a:pPr>
            <a:fld id="{89959EFB-9E9F-44F9-94E0-ADADD634312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32418"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95839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120E794-0C51-45BF-A6CD-A3B158918C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DE2E20-C700-4A3A-A890-B84EE414F382}" type="datetime1">
              <a:rPr lang="en-US" smtClean="0"/>
              <a:t>5/7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F3F16A8-5EC6-4AB3-9E04-153C3ECDC3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microsoft.com/education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C44795C-41C1-43DB-A1C6-14130EAD8B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3C030-8119-439B-A7A2-330B51F4C00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2913041"/>
      </p:ext>
    </p:extLst>
  </p:cSld>
  <p:clrMapOvr>
    <a:masterClrMapping/>
  </p:clrMapOvr>
  <p:transition>
    <p:fade/>
  </p:transition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14"/>
            <a:ext cx="12436472" cy="6993497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>
          <a:xfrm>
            <a:off x="2175" y="3"/>
            <a:ext cx="12434300" cy="6994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4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394902" y="3737090"/>
            <a:ext cx="5597871" cy="556620"/>
          </a:xfrm>
        </p:spPr>
        <p:txBody>
          <a:bodyPr anchor="t">
            <a:noAutofit/>
          </a:bodyPr>
          <a:lstStyle>
            <a:lvl1pPr marL="0" indent="0" algn="l" defTabSz="932418" rtl="0" eaLnBrk="1" latinLnBrk="0" hangingPunct="1">
              <a:spcBef>
                <a:spcPts val="0"/>
              </a:spcBef>
              <a:spcAft>
                <a:spcPts val="612"/>
              </a:spcAft>
              <a:buSzPct val="90000"/>
              <a:buFont typeface="Wingdings" pitchFamily="2" charset="2"/>
              <a:buNone/>
              <a:defRPr lang="en-US" sz="1428" kern="1200" dirty="0">
                <a:solidFill>
                  <a:srgbClr val="737373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662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32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986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648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310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972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634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296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394902" y="4305809"/>
            <a:ext cx="5597871" cy="588872"/>
          </a:xfrm>
        </p:spPr>
        <p:txBody>
          <a:bodyPr>
            <a:noAutofit/>
          </a:bodyPr>
          <a:lstStyle>
            <a:lvl1pPr marL="0" indent="0">
              <a:buNone/>
              <a:defRPr lang="en-US" sz="1428" kern="1200" dirty="0" smtClean="0">
                <a:solidFill>
                  <a:srgbClr val="737373">
                    <a:alpha val="99000"/>
                  </a:srgb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</a:lstStyle>
          <a:p>
            <a:pPr marL="0" lvl="0" indent="0" algn="l" defTabSz="932418" rtl="0" eaLnBrk="1" latinLnBrk="0" hangingPunct="1">
              <a:spcBef>
                <a:spcPts val="0"/>
              </a:spcBef>
              <a:spcAft>
                <a:spcPts val="612"/>
              </a:spcAft>
              <a:buSzPct val="90000"/>
              <a:buFont typeface="Wingdings" pitchFamily="2" charset="2"/>
              <a:buNone/>
            </a:pPr>
            <a:r>
              <a:rPr lang="en-US"/>
              <a:t>Edit Master text style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0628" y="6217274"/>
            <a:ext cx="2508028" cy="73675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369516" y="2311842"/>
            <a:ext cx="5597871" cy="1499289"/>
          </a:xfrm>
        </p:spPr>
        <p:txBody>
          <a:bodyPr anchor="b"/>
          <a:lstStyle>
            <a:lvl1pPr algn="l">
              <a:defRPr sz="4080" spc="0">
                <a:solidFill>
                  <a:srgbClr val="737373"/>
                </a:solidFill>
              </a:defRPr>
            </a:lvl1pPr>
          </a:lstStyle>
          <a:p>
            <a:r>
              <a:rPr lang="en-US"/>
              <a:t/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61036922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3640" y="-24424"/>
            <a:ext cx="12437388" cy="6994012"/>
          </a:xfrm>
          <a:prstGeom prst="rect">
            <a:avLst/>
          </a:prstGeom>
        </p:spPr>
      </p:pic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394902" y="3737090"/>
            <a:ext cx="5597871" cy="556620"/>
          </a:xfrm>
        </p:spPr>
        <p:txBody>
          <a:bodyPr anchor="t">
            <a:noAutofit/>
          </a:bodyPr>
          <a:lstStyle>
            <a:lvl1pPr marL="0" indent="0" algn="l" defTabSz="932418" rtl="0" eaLnBrk="1" latinLnBrk="0" hangingPunct="1">
              <a:spcBef>
                <a:spcPts val="0"/>
              </a:spcBef>
              <a:spcAft>
                <a:spcPts val="612"/>
              </a:spcAft>
              <a:buSzPct val="90000"/>
              <a:buFont typeface="Wingdings" pitchFamily="2" charset="2"/>
              <a:buNone/>
              <a:defRPr lang="en-US" sz="1428" kern="1200" dirty="0">
                <a:solidFill>
                  <a:srgbClr val="737373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662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32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986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648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310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972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634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296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394902" y="4305809"/>
            <a:ext cx="5597871" cy="588872"/>
          </a:xfrm>
        </p:spPr>
        <p:txBody>
          <a:bodyPr>
            <a:noAutofit/>
          </a:bodyPr>
          <a:lstStyle>
            <a:lvl1pPr marL="0" indent="0">
              <a:buNone/>
              <a:defRPr lang="en-US" sz="1428" kern="1200" dirty="0" smtClean="0">
                <a:solidFill>
                  <a:srgbClr val="737373">
                    <a:alpha val="99000"/>
                  </a:srgb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</a:lstStyle>
          <a:p>
            <a:pPr marL="0" lvl="0" indent="0" algn="l" defTabSz="932418" rtl="0" eaLnBrk="1" latinLnBrk="0" hangingPunct="1">
              <a:spcBef>
                <a:spcPts val="0"/>
              </a:spcBef>
              <a:spcAft>
                <a:spcPts val="612"/>
              </a:spcAft>
              <a:buSzPct val="90000"/>
              <a:buFont typeface="Wingdings" pitchFamily="2" charset="2"/>
              <a:buNone/>
            </a:pPr>
            <a:r>
              <a:rPr lang="en-US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0628" y="6217274"/>
            <a:ext cx="2508028" cy="736757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69516" y="2311842"/>
            <a:ext cx="5597871" cy="1499289"/>
          </a:xfrm>
        </p:spPr>
        <p:txBody>
          <a:bodyPr anchor="b"/>
          <a:lstStyle>
            <a:lvl1pPr algn="l">
              <a:defRPr sz="4080" spc="0">
                <a:solidFill>
                  <a:srgbClr val="737373"/>
                </a:solidFill>
              </a:defRPr>
            </a:lvl1pPr>
          </a:lstStyle>
          <a:p>
            <a:r>
              <a:rPr lang="en-US"/>
              <a:t/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17853207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1" y="0"/>
            <a:ext cx="6218239" cy="6994525"/>
          </a:xfrm>
          <a:prstGeom prst="rect">
            <a:avLst/>
          </a:prstGeom>
          <a:solidFill>
            <a:srgbClr val="E6E6E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23" tIns="46623" rIns="46623" bIns="46623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11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31798" y="3041122"/>
            <a:ext cx="5454853" cy="727357"/>
          </a:xfrm>
        </p:spPr>
        <p:txBody>
          <a:bodyPr anchor="t"/>
          <a:lstStyle>
            <a:lvl1pPr algn="l">
              <a:defRPr sz="4896" b="0" cap="none" spc="0" baseline="0">
                <a:solidFill>
                  <a:srgbClr val="737373">
                    <a:alpha val="99000"/>
                  </a:srgbClr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31798" y="3871127"/>
            <a:ext cx="5467687" cy="384262"/>
          </a:xfrm>
        </p:spPr>
        <p:txBody>
          <a:bodyPr anchor="t"/>
          <a:lstStyle>
            <a:lvl1pPr marL="0" indent="0" algn="l">
              <a:buNone/>
              <a:defRPr sz="2040">
                <a:solidFill>
                  <a:srgbClr val="737373">
                    <a:alpha val="99000"/>
                  </a:srgbClr>
                </a:solidFill>
              </a:defRPr>
            </a:lvl1pPr>
            <a:lvl2pPr marL="466209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418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627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483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044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25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346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29669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0"/>
          </p:nvPr>
        </p:nvSpPr>
        <p:spPr>
          <a:xfrm>
            <a:off x="531798" y="4356699"/>
            <a:ext cx="5467687" cy="384262"/>
          </a:xfrm>
        </p:spPr>
        <p:txBody>
          <a:bodyPr anchor="t"/>
          <a:lstStyle>
            <a:lvl1pPr marL="0" indent="0" algn="l">
              <a:buNone/>
              <a:defRPr sz="2040">
                <a:solidFill>
                  <a:srgbClr val="737373">
                    <a:alpha val="99000"/>
                  </a:srgbClr>
                </a:solidFill>
              </a:defRPr>
            </a:lvl1pPr>
            <a:lvl2pPr marL="466209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418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627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483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1044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725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3461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29669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6762475" y="1165754"/>
            <a:ext cx="3032180" cy="388585"/>
          </a:xfrm>
        </p:spPr>
        <p:txBody>
          <a:bodyPr/>
          <a:lstStyle>
            <a:lvl1pPr marL="0" indent="0">
              <a:buFontTx/>
              <a:buNone/>
              <a:defRPr sz="2550" baseline="0">
                <a:latin typeface="+mj-lt"/>
              </a:defRPr>
            </a:lvl1pPr>
          </a:lstStyle>
          <a:p>
            <a:pPr lvl="0"/>
            <a:r>
              <a:rPr lang="en-US" sz="2550">
                <a:latin typeface="+mj-lt"/>
              </a:rPr>
              <a:t>Agenda Item 01</a:t>
            </a:r>
            <a:endParaRPr lang="en-US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6762475" y="1656343"/>
            <a:ext cx="3032180" cy="364299"/>
          </a:xfrm>
        </p:spPr>
        <p:txBody>
          <a:bodyPr/>
          <a:lstStyle>
            <a:lvl1pPr marL="0" indent="0">
              <a:buFontTx/>
              <a:buNone/>
              <a:defRPr sz="1836"/>
            </a:lvl1pPr>
          </a:lstStyle>
          <a:p>
            <a:pPr lvl="0"/>
            <a:r>
              <a:rPr lang="en-US" sz="1836"/>
              <a:t>Presenter</a:t>
            </a:r>
            <a:endParaRPr lang="en-US"/>
          </a:p>
        </p:txBody>
      </p:sp>
      <p:sp>
        <p:nvSpPr>
          <p:cNvPr id="66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6762475" y="2179310"/>
            <a:ext cx="3032180" cy="388585"/>
          </a:xfrm>
        </p:spPr>
        <p:txBody>
          <a:bodyPr/>
          <a:lstStyle>
            <a:lvl1pPr marL="0" indent="0">
              <a:buFontTx/>
              <a:buNone/>
              <a:defRPr sz="2550" baseline="0">
                <a:latin typeface="+mj-lt"/>
              </a:defRPr>
            </a:lvl1pPr>
          </a:lstStyle>
          <a:p>
            <a:pPr lvl="0"/>
            <a:r>
              <a:rPr lang="en-US" sz="2550">
                <a:latin typeface="+mj-lt"/>
              </a:rPr>
              <a:t>Agenda Item 02</a:t>
            </a:r>
            <a:endParaRPr lang="en-US"/>
          </a:p>
        </p:txBody>
      </p:sp>
      <p:sp>
        <p:nvSpPr>
          <p:cNvPr id="67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6762475" y="2669898"/>
            <a:ext cx="3032180" cy="364299"/>
          </a:xfrm>
        </p:spPr>
        <p:txBody>
          <a:bodyPr/>
          <a:lstStyle>
            <a:lvl1pPr marL="0" indent="0">
              <a:buFontTx/>
              <a:buNone/>
              <a:defRPr sz="1836"/>
            </a:lvl1pPr>
          </a:lstStyle>
          <a:p>
            <a:pPr lvl="0"/>
            <a:r>
              <a:rPr lang="en-US" sz="1836"/>
              <a:t>Presenter</a:t>
            </a:r>
            <a:endParaRPr lang="en-US"/>
          </a:p>
        </p:txBody>
      </p:sp>
      <p:sp>
        <p:nvSpPr>
          <p:cNvPr id="68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6762475" y="3186396"/>
            <a:ext cx="3032180" cy="388585"/>
          </a:xfrm>
        </p:spPr>
        <p:txBody>
          <a:bodyPr/>
          <a:lstStyle>
            <a:lvl1pPr marL="0" indent="0">
              <a:buFontTx/>
              <a:buNone/>
              <a:defRPr sz="2550" baseline="0">
                <a:latin typeface="+mj-lt"/>
              </a:defRPr>
            </a:lvl1pPr>
          </a:lstStyle>
          <a:p>
            <a:pPr lvl="0"/>
            <a:r>
              <a:rPr lang="en-US" sz="2550">
                <a:latin typeface="+mj-lt"/>
              </a:rPr>
              <a:t>Agenda Item 03</a:t>
            </a:r>
            <a:endParaRPr lang="en-US"/>
          </a:p>
        </p:txBody>
      </p:sp>
      <p:sp>
        <p:nvSpPr>
          <p:cNvPr id="69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6762475" y="3676982"/>
            <a:ext cx="3032180" cy="364299"/>
          </a:xfrm>
        </p:spPr>
        <p:txBody>
          <a:bodyPr/>
          <a:lstStyle>
            <a:lvl1pPr marL="0" indent="0">
              <a:buFontTx/>
              <a:buNone/>
              <a:defRPr sz="1836"/>
            </a:lvl1pPr>
          </a:lstStyle>
          <a:p>
            <a:pPr lvl="0"/>
            <a:r>
              <a:rPr lang="en-US" sz="1836"/>
              <a:t>Presenter</a:t>
            </a:r>
            <a:endParaRPr lang="en-US"/>
          </a:p>
        </p:txBody>
      </p:sp>
      <p:sp>
        <p:nvSpPr>
          <p:cNvPr id="70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6762475" y="4143285"/>
            <a:ext cx="3032180" cy="388585"/>
          </a:xfrm>
        </p:spPr>
        <p:txBody>
          <a:bodyPr/>
          <a:lstStyle>
            <a:lvl1pPr marL="0" indent="0">
              <a:buFontTx/>
              <a:buNone/>
              <a:defRPr sz="2550" baseline="0">
                <a:latin typeface="+mj-lt"/>
              </a:defRPr>
            </a:lvl1pPr>
          </a:lstStyle>
          <a:p>
            <a:pPr lvl="0"/>
            <a:r>
              <a:rPr lang="en-US" sz="2550">
                <a:latin typeface="+mj-lt"/>
              </a:rPr>
              <a:t>Agenda Item 04</a:t>
            </a:r>
            <a:endParaRPr lang="en-US"/>
          </a:p>
        </p:txBody>
      </p:sp>
      <p:sp>
        <p:nvSpPr>
          <p:cNvPr id="71" name="Text Placeholder 14"/>
          <p:cNvSpPr>
            <a:spLocks noGrp="1"/>
          </p:cNvSpPr>
          <p:nvPr>
            <p:ph type="body" sz="quarter" idx="18" hasCustomPrompt="1"/>
          </p:nvPr>
        </p:nvSpPr>
        <p:spPr>
          <a:xfrm>
            <a:off x="6762475" y="4633873"/>
            <a:ext cx="3032180" cy="364299"/>
          </a:xfrm>
        </p:spPr>
        <p:txBody>
          <a:bodyPr/>
          <a:lstStyle>
            <a:lvl1pPr marL="0" indent="0">
              <a:buFontTx/>
              <a:buNone/>
              <a:defRPr sz="1836"/>
            </a:lvl1pPr>
          </a:lstStyle>
          <a:p>
            <a:pPr lvl="0"/>
            <a:r>
              <a:rPr lang="en-US" sz="1836"/>
              <a:t>Presenter</a:t>
            </a:r>
            <a:endParaRPr lang="en-US"/>
          </a:p>
        </p:txBody>
      </p:sp>
      <p:sp>
        <p:nvSpPr>
          <p:cNvPr id="72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6762475" y="5100173"/>
            <a:ext cx="3032180" cy="388585"/>
          </a:xfrm>
        </p:spPr>
        <p:txBody>
          <a:bodyPr/>
          <a:lstStyle>
            <a:lvl1pPr marL="0" indent="0">
              <a:buFontTx/>
              <a:buNone/>
              <a:defRPr sz="2550" baseline="0">
                <a:latin typeface="+mj-lt"/>
              </a:defRPr>
            </a:lvl1pPr>
          </a:lstStyle>
          <a:p>
            <a:pPr lvl="0"/>
            <a:r>
              <a:rPr lang="en-US" sz="2550">
                <a:latin typeface="+mj-lt"/>
              </a:rPr>
              <a:t>Agenda Item 05</a:t>
            </a:r>
            <a:endParaRPr lang="en-US"/>
          </a:p>
        </p:txBody>
      </p:sp>
      <p:sp>
        <p:nvSpPr>
          <p:cNvPr id="73" name="Text Placeholder 14"/>
          <p:cNvSpPr>
            <a:spLocks noGrp="1"/>
          </p:cNvSpPr>
          <p:nvPr>
            <p:ph type="body" sz="quarter" idx="20" hasCustomPrompt="1"/>
          </p:nvPr>
        </p:nvSpPr>
        <p:spPr>
          <a:xfrm>
            <a:off x="6762475" y="5590761"/>
            <a:ext cx="3032180" cy="364299"/>
          </a:xfrm>
        </p:spPr>
        <p:txBody>
          <a:bodyPr/>
          <a:lstStyle>
            <a:lvl1pPr marL="0" indent="0">
              <a:buFontTx/>
              <a:buNone/>
              <a:defRPr sz="1836"/>
            </a:lvl1pPr>
          </a:lstStyle>
          <a:p>
            <a:pPr lvl="0"/>
            <a:r>
              <a:rPr lang="en-US" sz="1836"/>
              <a:t>Presente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9472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  <p15:guide id="3" pos="4175">
          <p15:clr>
            <a:srgbClr val="FBAE40"/>
          </p15:clr>
        </p15:guide>
        <p15:guide id="4" orient="horz" pos="720">
          <p15:clr>
            <a:srgbClr val="FBAE40"/>
          </p15:clr>
        </p15:guide>
        <p15:guide id="5" orient="horz" pos="1008">
          <p15:clr>
            <a:srgbClr val="FBAE40"/>
          </p15:clr>
        </p15:guide>
        <p15:guide id="6" orient="horz" pos="1392">
          <p15:clr>
            <a:srgbClr val="FBAE40"/>
          </p15:clr>
        </p15:guide>
        <p15:guide id="7" orient="horz" pos="1584">
          <p15:clr>
            <a:srgbClr val="FBAE40"/>
          </p15:clr>
        </p15:guide>
      </p15:sldGuideLst>
    </p:ext>
  </p:extLs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Lifestyl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8111" y="1068075"/>
            <a:ext cx="3223236" cy="1789250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3672" spc="0">
                <a:latin typeface="+mj-lt"/>
              </a:defRPr>
            </a:lvl1pPr>
          </a:lstStyle>
          <a:p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ed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t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erspiciati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</a:t>
            </a:r>
            <a:endParaRPr lang="en-GB">
              <a:solidFill>
                <a:srgbClr val="737373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8111" y="2804883"/>
            <a:ext cx="3223236" cy="3855782"/>
          </a:xfrm>
        </p:spPr>
        <p:txBody>
          <a:bodyPr wrap="square" numCol="1">
            <a:spAutoFit/>
          </a:bodyPr>
          <a:lstStyle>
            <a:lvl1pPr marL="181233" indent="-181233" algn="l">
              <a:lnSpc>
                <a:spcPct val="120000"/>
              </a:lnSpc>
              <a:buFont typeface="Arial" charset="0"/>
              <a:buChar char="•"/>
              <a:defRPr sz="1530"/>
            </a:lvl1pPr>
          </a:lstStyle>
          <a:p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lor</a:t>
            </a:r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sit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met</a:t>
            </a:r>
            <a:endParaRPr lang="en-GB" b="1">
              <a:solidFill>
                <a:srgbClr val="737373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r>
              <a:rPr lang="en-GB" err="1">
                <a:solidFill>
                  <a:srgbClr val="737373"/>
                </a:solidFill>
                <a:latin typeface="+mj-lt"/>
              </a:rPr>
              <a:t>Consetetu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adipscing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litr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nonumy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irmo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tempo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invidun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u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labore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</a:t>
            </a:r>
            <a:r>
              <a:rPr lang="en-GB">
                <a:solidFill>
                  <a:srgbClr val="737373"/>
                </a:solidFill>
                <a:latin typeface="+mj-lt"/>
              </a:rPr>
              <a:t> magna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liquy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rat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oluptua</a:t>
            </a:r>
            <a:r>
              <a:rPr lang="en-GB">
                <a:solidFill>
                  <a:srgbClr val="737373"/>
                </a:solidFill>
                <a:latin typeface="+mj-lt"/>
              </a:rPr>
              <a:t>. A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ero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o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ccusam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justo</a:t>
            </a:r>
            <a:r>
              <a:rPr lang="en-GB">
                <a:solidFill>
                  <a:srgbClr val="737373"/>
                </a:solidFill>
                <a:latin typeface="+mj-lt"/>
              </a:rPr>
              <a:t> duo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a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rebum</a:t>
            </a:r>
            <a:r>
              <a:rPr lang="en-GB">
                <a:solidFill>
                  <a:srgbClr val="737373"/>
                </a:solidFill>
                <a:latin typeface="+mj-lt"/>
              </a:rPr>
              <a:t>. </a:t>
            </a:r>
          </a:p>
          <a:p>
            <a:pPr marL="177697" indent="-177697">
              <a:buFont typeface="Arial" charset="0"/>
              <a:buChar char="•"/>
            </a:pPr>
            <a:endParaRPr lang="en-GB">
              <a:solidFill>
                <a:srgbClr val="737373"/>
              </a:solidFill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26263" y="0"/>
            <a:ext cx="8210212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7296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_Lifestyl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erson standing in a kitchen preparing food&#10;&#10;Description generated with high confidence">
            <a:extLst>
              <a:ext uri="{FF2B5EF4-FFF2-40B4-BE49-F238E27FC236}">
                <a16:creationId xmlns:a16="http://schemas.microsoft.com/office/drawing/2014/main" id="{F4E86CAB-B8F0-4798-AA3E-681792D8FE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83" r="9000"/>
          <a:stretch/>
        </p:blipFill>
        <p:spPr>
          <a:xfrm>
            <a:off x="4226263" y="0"/>
            <a:ext cx="8210212" cy="6994525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8111" y="1068899"/>
            <a:ext cx="3223236" cy="1787605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3672" spc="0">
                <a:latin typeface="+mj-lt"/>
              </a:defRPr>
            </a:lvl1pPr>
          </a:lstStyle>
          <a:p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ed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t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erspiciati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</a:t>
            </a:r>
            <a:endParaRPr lang="en-GB">
              <a:solidFill>
                <a:srgbClr val="737373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8111" y="2804885"/>
            <a:ext cx="3223236" cy="3890966"/>
          </a:xfrm>
        </p:spPr>
        <p:txBody>
          <a:bodyPr wrap="square" numCol="1">
            <a:spAutoFit/>
          </a:bodyPr>
          <a:lstStyle>
            <a:lvl1pPr marL="181233" indent="-181233" algn="l">
              <a:lnSpc>
                <a:spcPct val="120000"/>
              </a:lnSpc>
              <a:buFont typeface="Arial" charset="0"/>
              <a:buChar char="•"/>
              <a:defRPr sz="1530"/>
            </a:lvl1pPr>
          </a:lstStyle>
          <a:p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lor</a:t>
            </a:r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sit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met</a:t>
            </a:r>
            <a:endParaRPr lang="en-GB" b="1">
              <a:solidFill>
                <a:srgbClr val="737373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r>
              <a:rPr lang="en-GB" err="1">
                <a:solidFill>
                  <a:srgbClr val="737373"/>
                </a:solidFill>
                <a:latin typeface="+mj-lt"/>
              </a:rPr>
              <a:t>Consetetu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adipscing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litr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nonumy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irmo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tempo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invidun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u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labore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</a:t>
            </a:r>
            <a:r>
              <a:rPr lang="en-GB">
                <a:solidFill>
                  <a:srgbClr val="737373"/>
                </a:solidFill>
                <a:latin typeface="+mj-lt"/>
              </a:rPr>
              <a:t> magna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liquy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rat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oluptua</a:t>
            </a:r>
            <a:r>
              <a:rPr lang="en-GB">
                <a:solidFill>
                  <a:srgbClr val="737373"/>
                </a:solidFill>
                <a:latin typeface="+mj-lt"/>
              </a:rPr>
              <a:t>. A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ero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o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ccusam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justo</a:t>
            </a:r>
            <a:r>
              <a:rPr lang="en-GB">
                <a:solidFill>
                  <a:srgbClr val="737373"/>
                </a:solidFill>
                <a:latin typeface="+mj-lt"/>
              </a:rPr>
              <a:t> duo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a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rebum</a:t>
            </a:r>
            <a:r>
              <a:rPr lang="en-GB">
                <a:solidFill>
                  <a:srgbClr val="737373"/>
                </a:solidFill>
                <a:latin typeface="+mj-lt"/>
              </a:rPr>
              <a:t>. </a:t>
            </a:r>
          </a:p>
          <a:p>
            <a:pPr marL="177697" indent="-177697">
              <a:buFont typeface="Arial" charset="0"/>
              <a:buChar char="•"/>
            </a:pPr>
            <a:endParaRPr lang="en-GB">
              <a:solidFill>
                <a:srgbClr val="737373"/>
              </a:solidFill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921132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_Lifestyl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ACCE4457-5847-43F6-AE71-D70353FE1A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4348" y="-10078"/>
            <a:ext cx="12465173" cy="7010552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8113" y="1350587"/>
            <a:ext cx="5394849" cy="659198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3672" spc="0">
                <a:latin typeface="+mj-lt"/>
              </a:defRPr>
            </a:lvl1pPr>
          </a:lstStyle>
          <a:p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ed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t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erspiciati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</a:t>
            </a:r>
            <a:endParaRPr lang="en-GB">
              <a:solidFill>
                <a:srgbClr val="737373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8112" y="2804883"/>
            <a:ext cx="4906956" cy="3290756"/>
          </a:xfrm>
        </p:spPr>
        <p:txBody>
          <a:bodyPr wrap="square" numCol="1">
            <a:spAutoFit/>
          </a:bodyPr>
          <a:lstStyle>
            <a:lvl1pPr marL="181233" indent="-181233" algn="l">
              <a:lnSpc>
                <a:spcPct val="120000"/>
              </a:lnSpc>
              <a:buFont typeface="Arial" charset="0"/>
              <a:buChar char="•"/>
              <a:defRPr sz="1530"/>
            </a:lvl1pPr>
          </a:lstStyle>
          <a:p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lor</a:t>
            </a:r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sit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met</a:t>
            </a:r>
            <a:endParaRPr lang="en-GB" b="1">
              <a:solidFill>
                <a:srgbClr val="737373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r>
              <a:rPr lang="en-GB" err="1">
                <a:solidFill>
                  <a:srgbClr val="737373"/>
                </a:solidFill>
                <a:latin typeface="+mj-lt"/>
              </a:rPr>
              <a:t>Consetetu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adipscing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litr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nonumy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irmo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tempo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invidun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u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labore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</a:t>
            </a:r>
            <a:r>
              <a:rPr lang="en-GB">
                <a:solidFill>
                  <a:srgbClr val="737373"/>
                </a:solidFill>
                <a:latin typeface="+mj-lt"/>
              </a:rPr>
              <a:t> magna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liquy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rat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oluptua</a:t>
            </a:r>
            <a:r>
              <a:rPr lang="en-GB">
                <a:solidFill>
                  <a:srgbClr val="737373"/>
                </a:solidFill>
                <a:latin typeface="+mj-lt"/>
              </a:rPr>
              <a:t>. A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ero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o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ccusam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justo</a:t>
            </a:r>
            <a:r>
              <a:rPr lang="en-GB">
                <a:solidFill>
                  <a:srgbClr val="737373"/>
                </a:solidFill>
                <a:latin typeface="+mj-lt"/>
              </a:rPr>
              <a:t> duo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a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rebum</a:t>
            </a:r>
            <a:r>
              <a:rPr lang="en-GB">
                <a:solidFill>
                  <a:srgbClr val="737373"/>
                </a:solidFill>
                <a:latin typeface="+mj-lt"/>
              </a:rPr>
              <a:t>. </a:t>
            </a:r>
          </a:p>
          <a:p>
            <a:pPr marL="177697" indent="-177697">
              <a:buFont typeface="Arial" charset="0"/>
              <a:buChar char="•"/>
            </a:pPr>
            <a:endParaRPr lang="en-GB">
              <a:solidFill>
                <a:srgbClr val="737373"/>
              </a:solidFill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222946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_Lifestyl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98273FE-ED59-4105-BC3C-7EB7E84A07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14"/>
            <a:ext cx="12436472" cy="6993497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8113" y="1350587"/>
            <a:ext cx="5394849" cy="659198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3672" spc="0">
                <a:latin typeface="+mj-lt"/>
              </a:defRPr>
            </a:lvl1pPr>
          </a:lstStyle>
          <a:p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ed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t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erspiciati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</a:t>
            </a:r>
            <a:endParaRPr lang="en-GB">
              <a:solidFill>
                <a:srgbClr val="737373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8112" y="2804883"/>
            <a:ext cx="4906956" cy="3290756"/>
          </a:xfrm>
        </p:spPr>
        <p:txBody>
          <a:bodyPr wrap="square" numCol="1">
            <a:spAutoFit/>
          </a:bodyPr>
          <a:lstStyle>
            <a:lvl1pPr marL="181233" indent="-181233" algn="l">
              <a:lnSpc>
                <a:spcPct val="120000"/>
              </a:lnSpc>
              <a:buFont typeface="Arial" charset="0"/>
              <a:buChar char="•"/>
              <a:defRPr sz="1530"/>
            </a:lvl1pPr>
          </a:lstStyle>
          <a:p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lor</a:t>
            </a:r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sit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met</a:t>
            </a:r>
            <a:endParaRPr lang="en-GB" b="1">
              <a:solidFill>
                <a:srgbClr val="737373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r>
              <a:rPr lang="en-GB" err="1">
                <a:solidFill>
                  <a:srgbClr val="737373"/>
                </a:solidFill>
                <a:latin typeface="+mj-lt"/>
              </a:rPr>
              <a:t>Consetetu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adipscing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litr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nonumy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irmo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tempo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invidun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u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labore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</a:t>
            </a:r>
            <a:r>
              <a:rPr lang="en-GB">
                <a:solidFill>
                  <a:srgbClr val="737373"/>
                </a:solidFill>
                <a:latin typeface="+mj-lt"/>
              </a:rPr>
              <a:t> magna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liquy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rat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oluptua</a:t>
            </a:r>
            <a:r>
              <a:rPr lang="en-GB">
                <a:solidFill>
                  <a:srgbClr val="737373"/>
                </a:solidFill>
                <a:latin typeface="+mj-lt"/>
              </a:rPr>
              <a:t>. A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ero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o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ccusam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justo</a:t>
            </a:r>
            <a:r>
              <a:rPr lang="en-GB">
                <a:solidFill>
                  <a:srgbClr val="737373"/>
                </a:solidFill>
                <a:latin typeface="+mj-lt"/>
              </a:rPr>
              <a:t> duo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a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rebum</a:t>
            </a:r>
            <a:r>
              <a:rPr lang="en-GB">
                <a:solidFill>
                  <a:srgbClr val="737373"/>
                </a:solidFill>
                <a:latin typeface="+mj-lt"/>
              </a:rPr>
              <a:t>. </a:t>
            </a:r>
          </a:p>
          <a:p>
            <a:pPr marL="177697" indent="-177697">
              <a:buFont typeface="Arial" charset="0"/>
              <a:buChar char="•"/>
            </a:pPr>
            <a:endParaRPr lang="en-GB">
              <a:solidFill>
                <a:srgbClr val="737373"/>
              </a:solidFill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912052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Lifestyl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indoor, person, wall, floor&#10;&#10;Description generated with very high confidence">
            <a:extLst>
              <a:ext uri="{FF2B5EF4-FFF2-40B4-BE49-F238E27FC236}">
                <a16:creationId xmlns:a16="http://schemas.microsoft.com/office/drawing/2014/main" id="{5B17CEA1-E0D1-4041-9A6D-82A6291887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21787"/>
          <a:stretch/>
        </p:blipFill>
        <p:spPr>
          <a:xfrm>
            <a:off x="4226265" y="0"/>
            <a:ext cx="8210211" cy="6994525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8111" y="1068076"/>
            <a:ext cx="3223236" cy="1787605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3672" spc="0">
                <a:latin typeface="+mj-lt"/>
              </a:defRPr>
            </a:lvl1pPr>
          </a:lstStyle>
          <a:p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ed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t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erspiciati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</a:t>
            </a:r>
            <a:endParaRPr lang="en-GB">
              <a:solidFill>
                <a:srgbClr val="737373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8111" y="2804885"/>
            <a:ext cx="3223236" cy="3890966"/>
          </a:xfrm>
        </p:spPr>
        <p:txBody>
          <a:bodyPr wrap="square" numCol="1">
            <a:spAutoFit/>
          </a:bodyPr>
          <a:lstStyle>
            <a:lvl1pPr marL="181233" indent="-181233" algn="l">
              <a:lnSpc>
                <a:spcPct val="120000"/>
              </a:lnSpc>
              <a:buFont typeface="Arial" charset="0"/>
              <a:buChar char="•"/>
              <a:defRPr sz="1530"/>
            </a:lvl1pPr>
          </a:lstStyle>
          <a:p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lor</a:t>
            </a:r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sit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met</a:t>
            </a:r>
            <a:endParaRPr lang="en-GB" b="1">
              <a:solidFill>
                <a:srgbClr val="737373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r>
              <a:rPr lang="en-GB" err="1">
                <a:solidFill>
                  <a:srgbClr val="737373"/>
                </a:solidFill>
                <a:latin typeface="+mj-lt"/>
              </a:rPr>
              <a:t>Consetetu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adipscing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litr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nonumy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irmo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tempo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invidun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u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labore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</a:t>
            </a:r>
            <a:r>
              <a:rPr lang="en-GB">
                <a:solidFill>
                  <a:srgbClr val="737373"/>
                </a:solidFill>
                <a:latin typeface="+mj-lt"/>
              </a:rPr>
              <a:t> magna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liquy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rat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oluptua</a:t>
            </a:r>
            <a:r>
              <a:rPr lang="en-GB">
                <a:solidFill>
                  <a:srgbClr val="737373"/>
                </a:solidFill>
                <a:latin typeface="+mj-lt"/>
              </a:rPr>
              <a:t>. A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ero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o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ccusam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justo</a:t>
            </a:r>
            <a:r>
              <a:rPr lang="en-GB">
                <a:solidFill>
                  <a:srgbClr val="737373"/>
                </a:solidFill>
                <a:latin typeface="+mj-lt"/>
              </a:rPr>
              <a:t> duo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a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rebum</a:t>
            </a:r>
            <a:r>
              <a:rPr lang="en-GB">
                <a:solidFill>
                  <a:srgbClr val="737373"/>
                </a:solidFill>
                <a:latin typeface="+mj-lt"/>
              </a:rPr>
              <a:t>. </a:t>
            </a:r>
          </a:p>
          <a:p>
            <a:pPr marL="177697" indent="-177697">
              <a:buFont typeface="Arial" charset="0"/>
              <a:buChar char="•"/>
            </a:pPr>
            <a:endParaRPr lang="en-GB">
              <a:solidFill>
                <a:srgbClr val="737373"/>
              </a:solidFill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877887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_Lifestyl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03058" y="587010"/>
            <a:ext cx="4821982" cy="565027"/>
          </a:xfrm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defRPr sz="3672" spc="0">
                <a:latin typeface="+mj-lt"/>
              </a:defRPr>
            </a:lvl1pPr>
          </a:lstStyle>
          <a:p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ed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t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erspiciati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</a:t>
            </a:r>
            <a:endParaRPr lang="en-GB">
              <a:solidFill>
                <a:srgbClr val="737373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40658" y="5370033"/>
            <a:ext cx="4978706" cy="348685"/>
          </a:xfrm>
        </p:spPr>
        <p:txBody>
          <a:bodyPr wrap="square" numCol="1">
            <a:spAutoFit/>
          </a:bodyPr>
          <a:lstStyle>
            <a:lvl1pPr marL="0" indent="0" algn="l">
              <a:lnSpc>
                <a:spcPct val="120000"/>
              </a:lnSpc>
              <a:buFont typeface="Arial" charset="0"/>
              <a:buNone/>
              <a:defRPr sz="1530"/>
            </a:lvl1pPr>
          </a:lstStyle>
          <a:p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lor</a:t>
            </a:r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sit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met</a:t>
            </a:r>
            <a:endParaRPr lang="en-GB" b="1">
              <a:solidFill>
                <a:srgbClr val="737373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9177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Lifestyl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156404" y="1407090"/>
            <a:ext cx="4653463" cy="122422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3672" spc="0">
                <a:latin typeface="+mj-lt"/>
                <a:cs typeface="Segoe UI Light" panose="020B0502040204020203" pitchFamily="34" charset="0"/>
              </a:defRPr>
            </a:lvl1pPr>
          </a:lstStyle>
          <a:p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ed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t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erspiciati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</a:t>
            </a:r>
            <a:endParaRPr lang="en-GB">
              <a:solidFill>
                <a:srgbClr val="737373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156405" y="2804885"/>
            <a:ext cx="4653464" cy="3078871"/>
          </a:xfrm>
        </p:spPr>
        <p:txBody>
          <a:bodyPr wrap="square" numCol="1">
            <a:spAutoFit/>
          </a:bodyPr>
          <a:lstStyle>
            <a:lvl1pPr marL="181233" indent="-181233" algn="l">
              <a:lnSpc>
                <a:spcPct val="110000"/>
              </a:lnSpc>
              <a:buFont typeface="Arial" charset="0"/>
              <a:buChar char="•"/>
              <a:defRPr sz="1530">
                <a:latin typeface="+mn-lt"/>
              </a:defRPr>
            </a:lvl1pPr>
          </a:lstStyle>
          <a:p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lor</a:t>
            </a:r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sit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met</a:t>
            </a:r>
            <a:endParaRPr lang="en-GB" b="1">
              <a:solidFill>
                <a:srgbClr val="737373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r>
              <a:rPr lang="en-GB" err="1">
                <a:solidFill>
                  <a:srgbClr val="737373"/>
                </a:solidFill>
                <a:latin typeface="+mj-lt"/>
              </a:rPr>
              <a:t>Consetetu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adipscing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litr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nonumy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irmo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tempo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invidun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u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labore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</a:t>
            </a:r>
            <a:r>
              <a:rPr lang="en-GB">
                <a:solidFill>
                  <a:srgbClr val="737373"/>
                </a:solidFill>
                <a:latin typeface="+mj-lt"/>
              </a:rPr>
              <a:t> magna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liquy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rat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oluptua</a:t>
            </a:r>
            <a:r>
              <a:rPr lang="en-GB">
                <a:solidFill>
                  <a:srgbClr val="737373"/>
                </a:solidFill>
                <a:latin typeface="+mj-lt"/>
              </a:rPr>
              <a:t>. A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ero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o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ccusam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justo</a:t>
            </a:r>
            <a:r>
              <a:rPr lang="en-GB">
                <a:solidFill>
                  <a:srgbClr val="737373"/>
                </a:solidFill>
                <a:latin typeface="+mj-lt"/>
              </a:rPr>
              <a:t> duo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a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rebum</a:t>
            </a:r>
            <a:r>
              <a:rPr lang="en-GB">
                <a:solidFill>
                  <a:srgbClr val="737373"/>
                </a:solidFill>
                <a:latin typeface="+mj-lt"/>
              </a:rPr>
              <a:t>. </a:t>
            </a:r>
          </a:p>
          <a:p>
            <a:pPr marL="177697" indent="-177697">
              <a:buFont typeface="Arial" charset="0"/>
              <a:buChar char="•"/>
            </a:pPr>
            <a:endParaRPr lang="en-GB">
              <a:solidFill>
                <a:srgbClr val="737373"/>
              </a:solidFill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682" r="9114"/>
          <a:stretch/>
        </p:blipFill>
        <p:spPr>
          <a:xfrm>
            <a:off x="0" y="0"/>
            <a:ext cx="6256504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7560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DAB9ED-5300-46A0-9224-655681EB1F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628" y="466302"/>
            <a:ext cx="4011087" cy="1632056"/>
          </a:xfrm>
        </p:spPr>
        <p:txBody>
          <a:bodyPr anchor="b"/>
          <a:lstStyle>
            <a:lvl1pPr>
              <a:defRPr sz="3264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0724308-0C71-4F48-9B57-D4179B3726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87122" y="1007083"/>
            <a:ext cx="6295965" cy="4970646"/>
          </a:xfrm>
        </p:spPr>
        <p:txBody>
          <a:bodyPr/>
          <a:lstStyle>
            <a:lvl1pPr>
              <a:defRPr sz="3264"/>
            </a:lvl1pPr>
            <a:lvl2pPr>
              <a:defRPr sz="2856"/>
            </a:lvl2pPr>
            <a:lvl3pPr>
              <a:defRPr sz="2448"/>
            </a:lvl3pPr>
            <a:lvl4pPr>
              <a:defRPr sz="2040"/>
            </a:lvl4pPr>
            <a:lvl5pPr>
              <a:defRPr sz="2040"/>
            </a:lvl5pPr>
            <a:lvl6pPr>
              <a:defRPr sz="2040"/>
            </a:lvl6pPr>
            <a:lvl7pPr>
              <a:defRPr sz="2040"/>
            </a:lvl7pPr>
            <a:lvl8pPr>
              <a:defRPr sz="2040"/>
            </a:lvl8pPr>
            <a:lvl9pPr>
              <a:defRPr sz="204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F864F6D-9548-45D0-9356-E45506A910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56628" y="2098357"/>
            <a:ext cx="4011087" cy="3887467"/>
          </a:xfrm>
        </p:spPr>
        <p:txBody>
          <a:bodyPr/>
          <a:lstStyle>
            <a:lvl1pPr marL="0" indent="0">
              <a:buNone/>
              <a:defRPr sz="1632"/>
            </a:lvl1pPr>
            <a:lvl2pPr marL="466298" indent="0">
              <a:buNone/>
              <a:defRPr sz="1428"/>
            </a:lvl2pPr>
            <a:lvl3pPr marL="932597" indent="0">
              <a:buNone/>
              <a:defRPr sz="1224"/>
            </a:lvl3pPr>
            <a:lvl4pPr marL="1398895" indent="0">
              <a:buNone/>
              <a:defRPr sz="1020"/>
            </a:lvl4pPr>
            <a:lvl5pPr marL="1865193" indent="0">
              <a:buNone/>
              <a:defRPr sz="1020"/>
            </a:lvl5pPr>
            <a:lvl6pPr marL="2331491" indent="0">
              <a:buNone/>
              <a:defRPr sz="1020"/>
            </a:lvl6pPr>
            <a:lvl7pPr marL="2797790" indent="0">
              <a:buNone/>
              <a:defRPr sz="1020"/>
            </a:lvl7pPr>
            <a:lvl8pPr marL="3264088" indent="0">
              <a:buNone/>
              <a:defRPr sz="1020"/>
            </a:lvl8pPr>
            <a:lvl9pPr marL="3730386" indent="0">
              <a:buNone/>
              <a:defRPr sz="102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BF379D0-A437-41A6-BBD5-9BAE5EA4AC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DE2E20-C700-4A3A-A890-B84EE414F382}" type="datetime1">
              <a:rPr lang="en-US" smtClean="0"/>
              <a:t>5/7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CFC172-878D-4A3F-A9C4-150A15E46B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microsoft.com/education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C39A2B4-B188-4C04-B63A-005FABD439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3C030-8119-439B-A7A2-330B51F4C00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1477174"/>
      </p:ext>
    </p:extLst>
  </p:cSld>
  <p:clrMapOvr>
    <a:masterClrMapping/>
  </p:clrMapOvr>
  <p:hf hdr="0" dt="0"/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_Lifestyl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156404" y="594393"/>
            <a:ext cx="4653463" cy="1130053"/>
          </a:xfrm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defRPr sz="3672" spc="0">
                <a:latin typeface="+mj-lt"/>
                <a:cs typeface="Segoe UI Light" panose="020B0502040204020203" pitchFamily="34" charset="0"/>
              </a:defRPr>
            </a:lvl1pPr>
          </a:lstStyle>
          <a:p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ed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t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erspiciati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</a:t>
            </a:r>
            <a:endParaRPr lang="en-GB">
              <a:solidFill>
                <a:srgbClr val="737373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156405" y="2525103"/>
            <a:ext cx="4653464" cy="3196585"/>
          </a:xfrm>
        </p:spPr>
        <p:txBody>
          <a:bodyPr wrap="square" lIns="0" tIns="0" rIns="0" bIns="0" numCol="1">
            <a:spAutoFit/>
          </a:bodyPr>
          <a:lstStyle>
            <a:lvl1pPr marL="181233" indent="-181233" algn="l">
              <a:lnSpc>
                <a:spcPct val="120000"/>
              </a:lnSpc>
              <a:buFont typeface="Arial" charset="0"/>
              <a:buChar char="•"/>
              <a:defRPr sz="1530">
                <a:latin typeface="+mn-lt"/>
              </a:defRPr>
            </a:lvl1pPr>
          </a:lstStyle>
          <a:p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lor</a:t>
            </a:r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sit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met</a:t>
            </a:r>
            <a:endParaRPr lang="en-GB" b="1">
              <a:solidFill>
                <a:srgbClr val="737373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r>
              <a:rPr lang="en-GB" err="1">
                <a:solidFill>
                  <a:srgbClr val="737373"/>
                </a:solidFill>
                <a:latin typeface="+mj-lt"/>
              </a:rPr>
              <a:t>Consetetu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adipscing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litr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nonumy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irmo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tempo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invidun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u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labore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</a:t>
            </a:r>
            <a:r>
              <a:rPr lang="en-GB">
                <a:solidFill>
                  <a:srgbClr val="737373"/>
                </a:solidFill>
                <a:latin typeface="+mj-lt"/>
              </a:rPr>
              <a:t> magna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liquy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rat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oluptua</a:t>
            </a:r>
            <a:r>
              <a:rPr lang="en-GB">
                <a:solidFill>
                  <a:srgbClr val="737373"/>
                </a:solidFill>
                <a:latin typeface="+mj-lt"/>
              </a:rPr>
              <a:t>. A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ero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o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ccusam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justo</a:t>
            </a:r>
            <a:r>
              <a:rPr lang="en-GB">
                <a:solidFill>
                  <a:srgbClr val="737373"/>
                </a:solidFill>
                <a:latin typeface="+mj-lt"/>
              </a:rPr>
              <a:t> duo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a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rebum</a:t>
            </a:r>
            <a:r>
              <a:rPr lang="en-GB">
                <a:solidFill>
                  <a:srgbClr val="737373"/>
                </a:solidFill>
                <a:latin typeface="+mj-lt"/>
              </a:rPr>
              <a:t>. </a:t>
            </a:r>
          </a:p>
          <a:p>
            <a:pPr marL="177697" indent="-177697">
              <a:buFont typeface="Arial" charset="0"/>
              <a:buChar char="•"/>
            </a:pPr>
            <a:endParaRPr lang="en-GB">
              <a:solidFill>
                <a:srgbClr val="737373"/>
              </a:solidFill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647096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_Lifestyl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56404" y="594394"/>
            <a:ext cx="4653463" cy="565027"/>
          </a:xfrm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defRPr lang="en-GB" sz="3672" kern="1200" dirty="0">
                <a:solidFill>
                  <a:srgbClr val="737373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</a:lstStyle>
          <a:p>
            <a:endParaRPr lang="en-GB">
              <a:solidFill>
                <a:srgbClr val="737373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156405" y="2525103"/>
            <a:ext cx="4653464" cy="3196585"/>
          </a:xfrm>
        </p:spPr>
        <p:txBody>
          <a:bodyPr wrap="square" lIns="0" tIns="0" rIns="0" bIns="0" numCol="1">
            <a:spAutoFit/>
          </a:bodyPr>
          <a:lstStyle>
            <a:lvl1pPr marL="181233" indent="-181233" algn="l">
              <a:lnSpc>
                <a:spcPct val="120000"/>
              </a:lnSpc>
              <a:buFont typeface="Arial" charset="0"/>
              <a:buChar char="•"/>
              <a:defRPr sz="1530">
                <a:latin typeface="+mn-lt"/>
              </a:defRPr>
            </a:lvl1pPr>
          </a:lstStyle>
          <a:p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lor</a:t>
            </a:r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sit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met</a:t>
            </a:r>
            <a:endParaRPr lang="en-GB" b="1">
              <a:solidFill>
                <a:srgbClr val="737373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r>
              <a:rPr lang="en-GB" err="1">
                <a:solidFill>
                  <a:srgbClr val="737373"/>
                </a:solidFill>
                <a:latin typeface="+mj-lt"/>
              </a:rPr>
              <a:t>Consetetu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adipscing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litr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nonumy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irmo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tempo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invidun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u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labore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</a:t>
            </a:r>
            <a:r>
              <a:rPr lang="en-GB">
                <a:solidFill>
                  <a:srgbClr val="737373"/>
                </a:solidFill>
                <a:latin typeface="+mj-lt"/>
              </a:rPr>
              <a:t> magna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liquy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rat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oluptua</a:t>
            </a:r>
            <a:r>
              <a:rPr lang="en-GB">
                <a:solidFill>
                  <a:srgbClr val="737373"/>
                </a:solidFill>
                <a:latin typeface="+mj-lt"/>
              </a:rPr>
              <a:t>. A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ero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o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ccusam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justo</a:t>
            </a:r>
            <a:r>
              <a:rPr lang="en-GB">
                <a:solidFill>
                  <a:srgbClr val="737373"/>
                </a:solidFill>
                <a:latin typeface="+mj-lt"/>
              </a:rPr>
              <a:t> duo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a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rebum</a:t>
            </a:r>
            <a:r>
              <a:rPr lang="en-GB">
                <a:solidFill>
                  <a:srgbClr val="737373"/>
                </a:solidFill>
                <a:latin typeface="+mj-lt"/>
              </a:rPr>
              <a:t>. </a:t>
            </a:r>
          </a:p>
          <a:p>
            <a:pPr marL="177697" indent="-177697">
              <a:buFont typeface="Arial" charset="0"/>
              <a:buChar char="•"/>
            </a:pPr>
            <a:endParaRPr lang="en-GB">
              <a:solidFill>
                <a:srgbClr val="737373"/>
              </a:solidFill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FB74AE6-A9B2-439A-885A-73701332C88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254" y="2525103"/>
            <a:ext cx="4653464" cy="3196585"/>
          </a:xfrm>
        </p:spPr>
        <p:txBody>
          <a:bodyPr wrap="square" lIns="0" tIns="0" rIns="0" bIns="0" numCol="1">
            <a:spAutoFit/>
          </a:bodyPr>
          <a:lstStyle>
            <a:lvl1pPr marL="181233" indent="-181233" algn="l">
              <a:lnSpc>
                <a:spcPct val="120000"/>
              </a:lnSpc>
              <a:buFont typeface="Arial" charset="0"/>
              <a:buChar char="•"/>
              <a:defRPr sz="1530">
                <a:latin typeface="+mn-lt"/>
              </a:defRPr>
            </a:lvl1pPr>
          </a:lstStyle>
          <a:p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lor</a:t>
            </a:r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sit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met</a:t>
            </a:r>
            <a:endParaRPr lang="en-GB" b="1">
              <a:solidFill>
                <a:srgbClr val="737373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r>
              <a:rPr lang="en-GB" err="1">
                <a:solidFill>
                  <a:srgbClr val="737373"/>
                </a:solidFill>
                <a:latin typeface="+mj-lt"/>
              </a:rPr>
              <a:t>Consetetu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adipscing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litr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nonumy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irmo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tempo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invidun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u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labore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</a:t>
            </a:r>
            <a:r>
              <a:rPr lang="en-GB">
                <a:solidFill>
                  <a:srgbClr val="737373"/>
                </a:solidFill>
                <a:latin typeface="+mj-lt"/>
              </a:rPr>
              <a:t> magna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liquy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rat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oluptua</a:t>
            </a:r>
            <a:r>
              <a:rPr lang="en-GB">
                <a:solidFill>
                  <a:srgbClr val="737373"/>
                </a:solidFill>
                <a:latin typeface="+mj-lt"/>
              </a:rPr>
              <a:t>. A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ero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o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ccusam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justo</a:t>
            </a:r>
            <a:r>
              <a:rPr lang="en-GB">
                <a:solidFill>
                  <a:srgbClr val="737373"/>
                </a:solidFill>
                <a:latin typeface="+mj-lt"/>
              </a:rPr>
              <a:t> duo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a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rebum</a:t>
            </a:r>
            <a:r>
              <a:rPr lang="en-GB">
                <a:solidFill>
                  <a:srgbClr val="737373"/>
                </a:solidFill>
                <a:latin typeface="+mj-lt"/>
              </a:rPr>
              <a:t>. </a:t>
            </a:r>
          </a:p>
          <a:p>
            <a:pPr marL="177697" indent="-177697">
              <a:buFont typeface="Arial" charset="0"/>
              <a:buChar char="•"/>
            </a:pPr>
            <a:endParaRPr lang="en-GB">
              <a:solidFill>
                <a:srgbClr val="737373"/>
              </a:solidFill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4C84B8F-192E-4D00-BEDE-515153E711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6684" y="647505"/>
            <a:ext cx="4653962" cy="565208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3672"/>
            </a:lvl1pPr>
          </a:lstStyle>
          <a:p>
            <a:pPr lvl="0"/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lick to add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7391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_Lifestyl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27256" y="607716"/>
            <a:ext cx="4653463" cy="1130053"/>
          </a:xfrm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defRPr sz="3672" spc="0">
                <a:latin typeface="+mj-lt"/>
                <a:cs typeface="Segoe UI Light" panose="020B0502040204020203" pitchFamily="34" charset="0"/>
              </a:defRPr>
            </a:lvl1pPr>
          </a:lstStyle>
          <a:p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ed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t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erspiciati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</a:t>
            </a:r>
            <a:endParaRPr lang="en-GB">
              <a:solidFill>
                <a:srgbClr val="737373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27254" y="2578396"/>
            <a:ext cx="4653464" cy="3196585"/>
          </a:xfrm>
        </p:spPr>
        <p:txBody>
          <a:bodyPr wrap="square" lIns="0" tIns="0" rIns="0" bIns="0" numCol="1">
            <a:spAutoFit/>
          </a:bodyPr>
          <a:lstStyle>
            <a:lvl1pPr marL="181233" indent="-181233" algn="l">
              <a:lnSpc>
                <a:spcPct val="120000"/>
              </a:lnSpc>
              <a:buFont typeface="Arial" charset="0"/>
              <a:buChar char="•"/>
              <a:defRPr sz="1530">
                <a:latin typeface="+mn-lt"/>
              </a:defRPr>
            </a:lvl1pPr>
          </a:lstStyle>
          <a:p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lor</a:t>
            </a:r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sit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met</a:t>
            </a:r>
            <a:endParaRPr lang="en-GB" b="1">
              <a:solidFill>
                <a:srgbClr val="737373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r>
              <a:rPr lang="en-GB" err="1">
                <a:solidFill>
                  <a:srgbClr val="737373"/>
                </a:solidFill>
                <a:latin typeface="+mj-lt"/>
              </a:rPr>
              <a:t>Consetetu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adipscing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litr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nonumy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irmo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tempo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invidun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u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labore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</a:t>
            </a:r>
            <a:r>
              <a:rPr lang="en-GB">
                <a:solidFill>
                  <a:srgbClr val="737373"/>
                </a:solidFill>
                <a:latin typeface="+mj-lt"/>
              </a:rPr>
              <a:t> magna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liquy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rat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oluptua</a:t>
            </a:r>
            <a:r>
              <a:rPr lang="en-GB">
                <a:solidFill>
                  <a:srgbClr val="737373"/>
                </a:solidFill>
                <a:latin typeface="+mj-lt"/>
              </a:rPr>
              <a:t>. A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ero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o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ccusam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justo</a:t>
            </a:r>
            <a:r>
              <a:rPr lang="en-GB">
                <a:solidFill>
                  <a:srgbClr val="737373"/>
                </a:solidFill>
                <a:latin typeface="+mj-lt"/>
              </a:rPr>
              <a:t> duo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a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rebum</a:t>
            </a:r>
            <a:r>
              <a:rPr lang="en-GB">
                <a:solidFill>
                  <a:srgbClr val="737373"/>
                </a:solidFill>
                <a:latin typeface="+mj-lt"/>
              </a:rPr>
              <a:t>. </a:t>
            </a:r>
          </a:p>
          <a:p>
            <a:pPr marL="177697" indent="-177697">
              <a:buFont typeface="Arial" charset="0"/>
              <a:buChar char="•"/>
            </a:pPr>
            <a:endParaRPr lang="en-GB">
              <a:solidFill>
                <a:srgbClr val="737373"/>
              </a:solidFill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871066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Lifestyl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156404" y="1407090"/>
            <a:ext cx="4653463" cy="122422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3672" spc="0">
                <a:latin typeface="+mj-lt"/>
                <a:cs typeface="Segoe UI Light" panose="020B0502040204020203" pitchFamily="34" charset="0"/>
              </a:defRPr>
            </a:lvl1pPr>
          </a:lstStyle>
          <a:p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ed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t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erspiciati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</a:t>
            </a:r>
            <a:endParaRPr lang="en-GB">
              <a:solidFill>
                <a:srgbClr val="737373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156405" y="2804885"/>
            <a:ext cx="4653464" cy="3078871"/>
          </a:xfrm>
        </p:spPr>
        <p:txBody>
          <a:bodyPr wrap="square" numCol="1">
            <a:spAutoFit/>
          </a:bodyPr>
          <a:lstStyle>
            <a:lvl1pPr marL="181233" indent="-181233" algn="l">
              <a:lnSpc>
                <a:spcPct val="110000"/>
              </a:lnSpc>
              <a:buFont typeface="Arial" charset="0"/>
              <a:buChar char="•"/>
              <a:defRPr sz="1530">
                <a:latin typeface="+mn-lt"/>
              </a:defRPr>
            </a:lvl1pPr>
          </a:lstStyle>
          <a:p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lor</a:t>
            </a:r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sit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met</a:t>
            </a:r>
            <a:endParaRPr lang="en-GB" b="1">
              <a:solidFill>
                <a:srgbClr val="737373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r>
              <a:rPr lang="en-GB" err="1">
                <a:solidFill>
                  <a:srgbClr val="737373"/>
                </a:solidFill>
                <a:latin typeface="+mj-lt"/>
              </a:rPr>
              <a:t>Consetetu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adipscing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litr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nonumy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irmo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tempo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invidun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u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labore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</a:t>
            </a:r>
            <a:r>
              <a:rPr lang="en-GB">
                <a:solidFill>
                  <a:srgbClr val="737373"/>
                </a:solidFill>
                <a:latin typeface="+mj-lt"/>
              </a:rPr>
              <a:t> magna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liquy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rat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oluptua</a:t>
            </a:r>
            <a:r>
              <a:rPr lang="en-GB">
                <a:solidFill>
                  <a:srgbClr val="737373"/>
                </a:solidFill>
                <a:latin typeface="+mj-lt"/>
              </a:rPr>
              <a:t>. A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ero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o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ccusam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justo</a:t>
            </a:r>
            <a:r>
              <a:rPr lang="en-GB">
                <a:solidFill>
                  <a:srgbClr val="737373"/>
                </a:solidFill>
                <a:latin typeface="+mj-lt"/>
              </a:rPr>
              <a:t> duo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a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rebum</a:t>
            </a:r>
            <a:r>
              <a:rPr lang="en-GB">
                <a:solidFill>
                  <a:srgbClr val="737373"/>
                </a:solidFill>
                <a:latin typeface="+mj-lt"/>
              </a:rPr>
              <a:t>. </a:t>
            </a:r>
          </a:p>
          <a:p>
            <a:pPr marL="177697" indent="-177697">
              <a:buFont typeface="Arial" charset="0"/>
              <a:buChar char="•"/>
            </a:pPr>
            <a:endParaRPr lang="en-GB">
              <a:solidFill>
                <a:srgbClr val="737373"/>
              </a:solidFill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</p:txBody>
      </p:sp>
      <p:pic>
        <p:nvPicPr>
          <p:cNvPr id="8" name="Picture 7" descr="A picture containing building, car, indoor, person&#10;&#10;Description generated with very high confidence">
            <a:extLst>
              <a:ext uri="{FF2B5EF4-FFF2-40B4-BE49-F238E27FC236}">
                <a16:creationId xmlns:a16="http://schemas.microsoft.com/office/drawing/2014/main" id="{AEE5FCC1-965D-4DE3-8515-ECF0705947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563" r="16567"/>
          <a:stretch/>
        </p:blipFill>
        <p:spPr>
          <a:xfrm>
            <a:off x="0" y="2"/>
            <a:ext cx="6256504" cy="701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4422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_Lifestyl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looking at the camera&#10;&#10;Description generated with high confidence">
            <a:extLst>
              <a:ext uri="{FF2B5EF4-FFF2-40B4-BE49-F238E27FC236}">
                <a16:creationId xmlns:a16="http://schemas.microsoft.com/office/drawing/2014/main" id="{C4ED586B-602E-43C3-B1AB-84465DF891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333" r="25818"/>
          <a:stretch/>
        </p:blipFill>
        <p:spPr>
          <a:xfrm>
            <a:off x="6179971" y="2"/>
            <a:ext cx="6256504" cy="7013957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27254" y="1407090"/>
            <a:ext cx="5552717" cy="659198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3672" spc="0">
                <a:latin typeface="+mj-lt"/>
                <a:cs typeface="Segoe UI Light" panose="020B0502040204020203" pitchFamily="34" charset="0"/>
              </a:defRPr>
            </a:lvl1pPr>
          </a:lstStyle>
          <a:p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ed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t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erspiciati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</a:t>
            </a:r>
            <a:endParaRPr lang="en-GB">
              <a:solidFill>
                <a:srgbClr val="737373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27254" y="2804885"/>
            <a:ext cx="4653464" cy="3078871"/>
          </a:xfrm>
        </p:spPr>
        <p:txBody>
          <a:bodyPr wrap="square" numCol="1">
            <a:spAutoFit/>
          </a:bodyPr>
          <a:lstStyle>
            <a:lvl1pPr marL="181233" indent="-181233" algn="l">
              <a:lnSpc>
                <a:spcPct val="110000"/>
              </a:lnSpc>
              <a:buFont typeface="Arial" charset="0"/>
              <a:buChar char="•"/>
              <a:defRPr sz="1530">
                <a:latin typeface="+mn-lt"/>
              </a:defRPr>
            </a:lvl1pPr>
          </a:lstStyle>
          <a:p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lor</a:t>
            </a:r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sit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met</a:t>
            </a:r>
            <a:endParaRPr lang="en-GB" b="1">
              <a:solidFill>
                <a:srgbClr val="737373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r>
              <a:rPr lang="en-GB" err="1">
                <a:solidFill>
                  <a:srgbClr val="737373"/>
                </a:solidFill>
                <a:latin typeface="+mj-lt"/>
              </a:rPr>
              <a:t>Consetetu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adipscing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litr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nonumy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irmo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tempo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invidun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u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labore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</a:t>
            </a:r>
            <a:r>
              <a:rPr lang="en-GB">
                <a:solidFill>
                  <a:srgbClr val="737373"/>
                </a:solidFill>
                <a:latin typeface="+mj-lt"/>
              </a:rPr>
              <a:t> magna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liquy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rat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oluptua</a:t>
            </a:r>
            <a:r>
              <a:rPr lang="en-GB">
                <a:solidFill>
                  <a:srgbClr val="737373"/>
                </a:solidFill>
                <a:latin typeface="+mj-lt"/>
              </a:rPr>
              <a:t>. A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ero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o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ccusam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justo</a:t>
            </a:r>
            <a:r>
              <a:rPr lang="en-GB">
                <a:solidFill>
                  <a:srgbClr val="737373"/>
                </a:solidFill>
                <a:latin typeface="+mj-lt"/>
              </a:rPr>
              <a:t> duo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a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rebum</a:t>
            </a:r>
            <a:r>
              <a:rPr lang="en-GB">
                <a:solidFill>
                  <a:srgbClr val="737373"/>
                </a:solidFill>
                <a:latin typeface="+mj-lt"/>
              </a:rPr>
              <a:t>. </a:t>
            </a:r>
          </a:p>
          <a:p>
            <a:pPr marL="177697" indent="-177697">
              <a:buFont typeface="Arial" charset="0"/>
              <a:buChar char="•"/>
            </a:pPr>
            <a:endParaRPr lang="en-GB">
              <a:solidFill>
                <a:srgbClr val="737373"/>
              </a:solidFill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027141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_Lifestyl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ground, thing, object, engine&#10;&#10;Description generated with very high confidence">
            <a:extLst>
              <a:ext uri="{FF2B5EF4-FFF2-40B4-BE49-F238E27FC236}">
                <a16:creationId xmlns:a16="http://schemas.microsoft.com/office/drawing/2014/main" id="{BBF89774-F09D-4FBF-BF0F-B736278C96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303" t="1685" r="27303"/>
          <a:stretch/>
        </p:blipFill>
        <p:spPr>
          <a:xfrm>
            <a:off x="0" y="1"/>
            <a:ext cx="6256504" cy="711648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156404" y="1407090"/>
            <a:ext cx="4653463" cy="122422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3672" spc="0">
                <a:latin typeface="+mj-lt"/>
                <a:cs typeface="Segoe UI Light" panose="020B0502040204020203" pitchFamily="34" charset="0"/>
              </a:defRPr>
            </a:lvl1pPr>
          </a:lstStyle>
          <a:p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ed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t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erspiciati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</a:t>
            </a:r>
            <a:endParaRPr lang="en-GB">
              <a:solidFill>
                <a:srgbClr val="737373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156405" y="2804885"/>
            <a:ext cx="4653464" cy="3078871"/>
          </a:xfrm>
        </p:spPr>
        <p:txBody>
          <a:bodyPr wrap="square" numCol="1">
            <a:spAutoFit/>
          </a:bodyPr>
          <a:lstStyle>
            <a:lvl1pPr marL="181233" indent="-181233" algn="l">
              <a:lnSpc>
                <a:spcPct val="110000"/>
              </a:lnSpc>
              <a:buFont typeface="Arial" charset="0"/>
              <a:buChar char="•"/>
              <a:defRPr sz="1530">
                <a:latin typeface="+mn-lt"/>
              </a:defRPr>
            </a:lvl1pPr>
          </a:lstStyle>
          <a:p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lor</a:t>
            </a:r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sit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met</a:t>
            </a:r>
            <a:endParaRPr lang="en-GB" b="1">
              <a:solidFill>
                <a:srgbClr val="737373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r>
              <a:rPr lang="en-GB" err="1">
                <a:solidFill>
                  <a:srgbClr val="737373"/>
                </a:solidFill>
                <a:latin typeface="+mj-lt"/>
              </a:rPr>
              <a:t>Consetetu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adipscing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litr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nonumy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irmo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tempo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invidun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u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labore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</a:t>
            </a:r>
            <a:r>
              <a:rPr lang="en-GB">
                <a:solidFill>
                  <a:srgbClr val="737373"/>
                </a:solidFill>
                <a:latin typeface="+mj-lt"/>
              </a:rPr>
              <a:t> magna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liquy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rat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oluptua</a:t>
            </a:r>
            <a:r>
              <a:rPr lang="en-GB">
                <a:solidFill>
                  <a:srgbClr val="737373"/>
                </a:solidFill>
                <a:latin typeface="+mj-lt"/>
              </a:rPr>
              <a:t>. A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ero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o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ccusam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justo</a:t>
            </a:r>
            <a:r>
              <a:rPr lang="en-GB">
                <a:solidFill>
                  <a:srgbClr val="737373"/>
                </a:solidFill>
                <a:latin typeface="+mj-lt"/>
              </a:rPr>
              <a:t> duo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a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rebum</a:t>
            </a:r>
            <a:r>
              <a:rPr lang="en-GB">
                <a:solidFill>
                  <a:srgbClr val="737373"/>
                </a:solidFill>
                <a:latin typeface="+mj-lt"/>
              </a:rPr>
              <a:t>. </a:t>
            </a:r>
          </a:p>
          <a:p>
            <a:pPr marL="177697" indent="-177697">
              <a:buFont typeface="Arial" charset="0"/>
              <a:buChar char="•"/>
            </a:pPr>
            <a:endParaRPr lang="en-GB">
              <a:solidFill>
                <a:srgbClr val="737373"/>
              </a:solidFill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51417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Lifestyl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571419" y="1152829"/>
            <a:ext cx="5478675" cy="1789250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3672" spc="0"/>
            </a:lvl1pPr>
          </a:lstStyle>
          <a:p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ed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t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erspiciati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omni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iste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natu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error sit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voluptatem</a:t>
            </a:r>
            <a:endParaRPr lang="en-GB">
              <a:solidFill>
                <a:srgbClr val="737373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571420" y="3497264"/>
            <a:ext cx="5357997" cy="3850551"/>
          </a:xfrm>
        </p:spPr>
        <p:txBody>
          <a:bodyPr wrap="square" lIns="0" tIns="0" rIns="0" bIns="0" numCol="1">
            <a:spAutoFit/>
          </a:bodyPr>
          <a:lstStyle>
            <a:lvl1pPr marL="181233" indent="-181233" algn="l">
              <a:lnSpc>
                <a:spcPct val="120000"/>
              </a:lnSpc>
              <a:spcBef>
                <a:spcPts val="2040"/>
              </a:spcBef>
              <a:buFont typeface="Arial" charset="0"/>
              <a:buChar char="•"/>
              <a:defRPr sz="1530"/>
            </a:lvl1pPr>
          </a:lstStyle>
          <a:p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lor</a:t>
            </a:r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sit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met</a:t>
            </a:r>
            <a:endParaRPr lang="en-GB" b="1">
              <a:solidFill>
                <a:srgbClr val="737373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r>
              <a:rPr lang="en-GB" err="1">
                <a:solidFill>
                  <a:srgbClr val="737373"/>
                </a:solidFill>
                <a:latin typeface="+mj-lt"/>
              </a:rPr>
              <a:t>Consetetu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adipscing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litr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nonumy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irmo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tempo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invidun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u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labore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</a:t>
            </a:r>
            <a:r>
              <a:rPr lang="en-GB">
                <a:solidFill>
                  <a:srgbClr val="737373"/>
                </a:solidFill>
                <a:latin typeface="+mj-lt"/>
              </a:rPr>
              <a:t> magna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liquy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rat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oluptua</a:t>
            </a:r>
            <a:r>
              <a:rPr lang="en-GB">
                <a:solidFill>
                  <a:srgbClr val="737373"/>
                </a:solidFill>
                <a:latin typeface="+mj-lt"/>
              </a:rPr>
              <a:t>. A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ero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o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ccusam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justo</a:t>
            </a:r>
            <a:r>
              <a:rPr lang="en-GB">
                <a:solidFill>
                  <a:srgbClr val="737373"/>
                </a:solidFill>
                <a:latin typeface="+mj-lt"/>
              </a:rPr>
              <a:t> duo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a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rebum</a:t>
            </a:r>
            <a:r>
              <a:rPr lang="en-GB">
                <a:solidFill>
                  <a:srgbClr val="737373"/>
                </a:solidFill>
                <a:latin typeface="+mj-lt"/>
              </a:rPr>
              <a:t>. </a:t>
            </a:r>
          </a:p>
          <a:p>
            <a:pPr marL="177697" indent="-177697">
              <a:buFont typeface="Arial" charset="0"/>
              <a:buChar char="•"/>
            </a:pPr>
            <a:endParaRPr lang="en-GB">
              <a:solidFill>
                <a:srgbClr val="737373"/>
              </a:solidFill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031" y="0"/>
            <a:ext cx="6221270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1328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_Lifestyl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571419" y="1152829"/>
            <a:ext cx="5478675" cy="1789250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3672" spc="0"/>
            </a:lvl1pPr>
          </a:lstStyle>
          <a:p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ed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t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erspiciati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omni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iste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natu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error sit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voluptatem</a:t>
            </a:r>
            <a:endParaRPr lang="en-GB">
              <a:solidFill>
                <a:srgbClr val="737373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571420" y="3497264"/>
            <a:ext cx="5357997" cy="3850551"/>
          </a:xfrm>
        </p:spPr>
        <p:txBody>
          <a:bodyPr wrap="square" lIns="0" tIns="0" rIns="0" bIns="0" numCol="1">
            <a:spAutoFit/>
          </a:bodyPr>
          <a:lstStyle>
            <a:lvl1pPr marL="181233" indent="-181233" algn="l">
              <a:lnSpc>
                <a:spcPct val="120000"/>
              </a:lnSpc>
              <a:spcBef>
                <a:spcPts val="2040"/>
              </a:spcBef>
              <a:buFont typeface="Arial" charset="0"/>
              <a:buChar char="•"/>
              <a:defRPr sz="1530"/>
            </a:lvl1pPr>
          </a:lstStyle>
          <a:p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lor</a:t>
            </a:r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sit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met</a:t>
            </a:r>
            <a:endParaRPr lang="en-GB" b="1">
              <a:solidFill>
                <a:srgbClr val="737373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r>
              <a:rPr lang="en-GB" err="1">
                <a:solidFill>
                  <a:srgbClr val="737373"/>
                </a:solidFill>
                <a:latin typeface="+mj-lt"/>
              </a:rPr>
              <a:t>Consetetu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adipscing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litr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nonumy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irmo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tempo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invidun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u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labore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</a:t>
            </a:r>
            <a:r>
              <a:rPr lang="en-GB">
                <a:solidFill>
                  <a:srgbClr val="737373"/>
                </a:solidFill>
                <a:latin typeface="+mj-lt"/>
              </a:rPr>
              <a:t> magna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liquy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rat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oluptua</a:t>
            </a:r>
            <a:r>
              <a:rPr lang="en-GB">
                <a:solidFill>
                  <a:srgbClr val="737373"/>
                </a:solidFill>
                <a:latin typeface="+mj-lt"/>
              </a:rPr>
              <a:t>. A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ero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o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ccusam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justo</a:t>
            </a:r>
            <a:r>
              <a:rPr lang="en-GB">
                <a:solidFill>
                  <a:srgbClr val="737373"/>
                </a:solidFill>
                <a:latin typeface="+mj-lt"/>
              </a:rPr>
              <a:t> duo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a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rebum</a:t>
            </a:r>
            <a:r>
              <a:rPr lang="en-GB">
                <a:solidFill>
                  <a:srgbClr val="737373"/>
                </a:solidFill>
                <a:latin typeface="+mj-lt"/>
              </a:rPr>
              <a:t>. </a:t>
            </a:r>
          </a:p>
          <a:p>
            <a:pPr marL="177697" indent="-177697">
              <a:buFont typeface="Arial" charset="0"/>
              <a:buChar char="•"/>
            </a:pPr>
            <a:endParaRPr lang="en-GB">
              <a:solidFill>
                <a:srgbClr val="737373"/>
              </a:solidFill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031" y="0"/>
            <a:ext cx="6221270" cy="6994525"/>
          </a:xfrm>
          <a:prstGeom prst="rect">
            <a:avLst/>
          </a:prstGeom>
        </p:spPr>
      </p:pic>
      <p:pic>
        <p:nvPicPr>
          <p:cNvPr id="6" name="Picture 5" descr="A person sitting at a desk with a cat on a table&#10;&#10;Description generated with very high confidence">
            <a:extLst>
              <a:ext uri="{FF2B5EF4-FFF2-40B4-BE49-F238E27FC236}">
                <a16:creationId xmlns:a16="http://schemas.microsoft.com/office/drawing/2014/main" id="{9ABDCD0B-0A9B-4237-8D7E-D0755614DB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15" r="13495"/>
          <a:stretch/>
        </p:blipFill>
        <p:spPr>
          <a:xfrm>
            <a:off x="-902319" y="0"/>
            <a:ext cx="7120558" cy="7001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8752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Lifestyl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8093274" y="619268"/>
            <a:ext cx="3956820" cy="2260106"/>
          </a:xfrm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defRPr sz="3672" spc="0"/>
            </a:lvl1pPr>
          </a:lstStyle>
          <a:p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ed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t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erspiciati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omni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iste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natu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error sit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voluptatem</a:t>
            </a:r>
            <a:endParaRPr lang="en-GB">
              <a:solidFill>
                <a:srgbClr val="737373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986673" y="3390678"/>
            <a:ext cx="4343202" cy="3917648"/>
          </a:xfrm>
        </p:spPr>
        <p:txBody>
          <a:bodyPr wrap="square" numCol="1">
            <a:spAutoFit/>
          </a:bodyPr>
          <a:lstStyle>
            <a:lvl1pPr marL="181233" indent="-181233" algn="l">
              <a:buFont typeface="Arial" charset="0"/>
              <a:buChar char="•"/>
              <a:defRPr sz="2040"/>
            </a:lvl1pPr>
          </a:lstStyle>
          <a:p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lor</a:t>
            </a:r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sit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met</a:t>
            </a:r>
            <a:endParaRPr lang="en-GB" b="1">
              <a:solidFill>
                <a:srgbClr val="737373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r>
              <a:rPr lang="en-GB" err="1">
                <a:solidFill>
                  <a:srgbClr val="737373"/>
                </a:solidFill>
                <a:latin typeface="+mj-lt"/>
              </a:rPr>
              <a:t>Consetetu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adipscing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litr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nonumy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irmo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tempo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invidun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u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labore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</a:t>
            </a:r>
            <a:r>
              <a:rPr lang="en-GB">
                <a:solidFill>
                  <a:srgbClr val="737373"/>
                </a:solidFill>
                <a:latin typeface="+mj-lt"/>
              </a:rPr>
              <a:t> magna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liquy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rat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oluptua</a:t>
            </a:r>
            <a:r>
              <a:rPr lang="en-GB">
                <a:solidFill>
                  <a:srgbClr val="737373"/>
                </a:solidFill>
                <a:latin typeface="+mj-lt"/>
              </a:rPr>
              <a:t>. A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ero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o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ccusam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justo</a:t>
            </a:r>
            <a:r>
              <a:rPr lang="en-GB">
                <a:solidFill>
                  <a:srgbClr val="737373"/>
                </a:solidFill>
                <a:latin typeface="+mj-lt"/>
              </a:rPr>
              <a:t> duo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a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rebum</a:t>
            </a:r>
            <a:r>
              <a:rPr lang="en-GB">
                <a:solidFill>
                  <a:srgbClr val="737373"/>
                </a:solidFill>
                <a:latin typeface="+mj-lt"/>
              </a:rPr>
              <a:t>. </a:t>
            </a:r>
          </a:p>
          <a:p>
            <a:pPr marL="177697" indent="-177697">
              <a:buFont typeface="Arial" charset="0"/>
              <a:buChar char="•"/>
            </a:pPr>
            <a:endParaRPr lang="en-GB">
              <a:solidFill>
                <a:srgbClr val="737373"/>
              </a:solidFill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031" y="0"/>
            <a:ext cx="6221270" cy="6994525"/>
          </a:xfrm>
          <a:prstGeom prst="rect">
            <a:avLst/>
          </a:prstGeom>
        </p:spPr>
      </p:pic>
      <p:pic>
        <p:nvPicPr>
          <p:cNvPr id="4" name="Picture 3" descr="A person sitting at a desk with a cat on a table&#10;&#10;Description generated with very high confidence">
            <a:extLst>
              <a:ext uri="{FF2B5EF4-FFF2-40B4-BE49-F238E27FC236}">
                <a16:creationId xmlns:a16="http://schemas.microsoft.com/office/drawing/2014/main" id="{35DB66FE-B2BC-4DED-B7AA-FB8306194E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15" r="8607"/>
          <a:stretch/>
        </p:blipFill>
        <p:spPr>
          <a:xfrm>
            <a:off x="2" y="0"/>
            <a:ext cx="7634081" cy="7001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7487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bg>
      <p:bgPr>
        <a:solidFill>
          <a:schemeClr val="bg1">
            <a:alpha val="56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FE8B8F-4C4E-4264-BA1E-6F94899083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5008" y="372395"/>
            <a:ext cx="10726460" cy="1351952"/>
          </a:xfrm>
        </p:spPr>
        <p:txBody>
          <a:bodyPr>
            <a:normAutofit/>
          </a:bodyPr>
          <a:lstStyle>
            <a:lvl1pPr>
              <a:defRPr sz="3672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2D569A-343D-4A63-843B-06240C1C90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40657" y="2581405"/>
            <a:ext cx="10726460" cy="350272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buSzPct val="70000"/>
              <a:defRPr sz="2040">
                <a:latin typeface="+mj-lt"/>
              </a:defRPr>
            </a:lvl1pPr>
            <a:lvl2pPr>
              <a:lnSpc>
                <a:spcPct val="120000"/>
              </a:lnSpc>
              <a:spcBef>
                <a:spcPts val="1836"/>
              </a:spcBef>
              <a:buSzPct val="70000"/>
              <a:defRPr sz="1530"/>
            </a:lvl2pPr>
            <a:lvl3pPr>
              <a:lnSpc>
                <a:spcPct val="120000"/>
              </a:lnSpc>
              <a:buSzPct val="70000"/>
              <a:defRPr sz="1530"/>
            </a:lvl3pPr>
            <a:lvl4pPr>
              <a:lnSpc>
                <a:spcPct val="120000"/>
              </a:lnSpc>
              <a:buSzPct val="70000"/>
              <a:defRPr sz="1530"/>
            </a:lvl4pPr>
            <a:lvl5pPr>
              <a:lnSpc>
                <a:spcPct val="120000"/>
              </a:lnSpc>
              <a:buSzPct val="70000"/>
              <a:defRPr sz="153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989518-D5FB-40BB-9B96-823B4A67A3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813C0D-CC87-4BDF-BEBF-9DBC95521A0A}" type="datetimeFigureOut">
              <a:rPr lang="en-US" smtClean="0"/>
              <a:t>5/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11B4C2-42CF-41EA-913C-0EF473FC14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DC925C5-C994-4C31-84F3-D76891432A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05AF1-E2B5-43EC-9CF1-67452EF165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145597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E4AB37-DF6F-42E8-89DA-B0565E4DAC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628" y="466302"/>
            <a:ext cx="4011087" cy="1632056"/>
          </a:xfrm>
        </p:spPr>
        <p:txBody>
          <a:bodyPr anchor="b"/>
          <a:lstStyle>
            <a:lvl1pPr>
              <a:defRPr sz="3264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F177B8C-C10D-4BCA-B73F-A7BF21C1C7C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287122" y="1007083"/>
            <a:ext cx="6295965" cy="4970646"/>
          </a:xfrm>
        </p:spPr>
        <p:txBody>
          <a:bodyPr/>
          <a:lstStyle>
            <a:lvl1pPr marL="0" indent="0">
              <a:buNone/>
              <a:defRPr sz="3264"/>
            </a:lvl1pPr>
            <a:lvl2pPr marL="466298" indent="0">
              <a:buNone/>
              <a:defRPr sz="2856"/>
            </a:lvl2pPr>
            <a:lvl3pPr marL="932597" indent="0">
              <a:buNone/>
              <a:defRPr sz="2448"/>
            </a:lvl3pPr>
            <a:lvl4pPr marL="1398895" indent="0">
              <a:buNone/>
              <a:defRPr sz="2040"/>
            </a:lvl4pPr>
            <a:lvl5pPr marL="1865193" indent="0">
              <a:buNone/>
              <a:defRPr sz="2040"/>
            </a:lvl5pPr>
            <a:lvl6pPr marL="2331491" indent="0">
              <a:buNone/>
              <a:defRPr sz="2040"/>
            </a:lvl6pPr>
            <a:lvl7pPr marL="2797790" indent="0">
              <a:buNone/>
              <a:defRPr sz="2040"/>
            </a:lvl7pPr>
            <a:lvl8pPr marL="3264088" indent="0">
              <a:buNone/>
              <a:defRPr sz="2040"/>
            </a:lvl8pPr>
            <a:lvl9pPr marL="3730386" indent="0">
              <a:buNone/>
              <a:defRPr sz="2040"/>
            </a:lvl9pPr>
          </a:lstStyle>
          <a:p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448B762-0F3D-43CA-B102-F638A27B50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56628" y="2098357"/>
            <a:ext cx="4011087" cy="3887467"/>
          </a:xfrm>
        </p:spPr>
        <p:txBody>
          <a:bodyPr/>
          <a:lstStyle>
            <a:lvl1pPr marL="0" indent="0">
              <a:buNone/>
              <a:defRPr sz="1632"/>
            </a:lvl1pPr>
            <a:lvl2pPr marL="466298" indent="0">
              <a:buNone/>
              <a:defRPr sz="1428"/>
            </a:lvl2pPr>
            <a:lvl3pPr marL="932597" indent="0">
              <a:buNone/>
              <a:defRPr sz="1224"/>
            </a:lvl3pPr>
            <a:lvl4pPr marL="1398895" indent="0">
              <a:buNone/>
              <a:defRPr sz="1020"/>
            </a:lvl4pPr>
            <a:lvl5pPr marL="1865193" indent="0">
              <a:buNone/>
              <a:defRPr sz="1020"/>
            </a:lvl5pPr>
            <a:lvl6pPr marL="2331491" indent="0">
              <a:buNone/>
              <a:defRPr sz="1020"/>
            </a:lvl6pPr>
            <a:lvl7pPr marL="2797790" indent="0">
              <a:buNone/>
              <a:defRPr sz="1020"/>
            </a:lvl7pPr>
            <a:lvl8pPr marL="3264088" indent="0">
              <a:buNone/>
              <a:defRPr sz="1020"/>
            </a:lvl8pPr>
            <a:lvl9pPr marL="3730386" indent="0">
              <a:buNone/>
              <a:defRPr sz="102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287D05A-A599-4543-88FE-0D3F9A84C0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DE2E20-C700-4A3A-A890-B84EE414F382}" type="datetime1">
              <a:rPr lang="en-US" smtClean="0"/>
              <a:t>5/7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58A37A2-5A15-4A54-9141-2E75B07456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microsoft.com/education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1B39D8E-89A4-4A70-A5B1-EEAF2E53D5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3C030-8119-439B-A7A2-330B51F4C00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8129341"/>
      </p:ext>
    </p:extLst>
  </p:cSld>
  <p:clrMapOvr>
    <a:masterClrMapping/>
  </p:clrMapOvr>
  <p:hf hdr="0" dt="0"/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9144" y="401019"/>
            <a:ext cx="11373008" cy="568888"/>
          </a:xfrm>
        </p:spPr>
        <p:txBody>
          <a:bodyPr/>
          <a:lstStyle>
            <a:lvl1pPr>
              <a:defRPr>
                <a:solidFill>
                  <a:srgbClr val="0078D7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05612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531800" y="401019"/>
            <a:ext cx="11373008" cy="568888"/>
          </a:xfrm>
          <a:prstGeom prst="rect">
            <a:avLst/>
          </a:prstGeom>
        </p:spPr>
        <p:txBody>
          <a:bodyPr vert="horz" wrap="square" lIns="0" tIns="45720" rIns="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idx="1"/>
          </p:nvPr>
        </p:nvSpPr>
        <p:spPr>
          <a:xfrm>
            <a:off x="531800" y="1212385"/>
            <a:ext cx="11373008" cy="5129318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Rectangle 13"/>
          <p:cNvSpPr/>
          <p:nvPr userDrawn="1"/>
        </p:nvSpPr>
        <p:spPr>
          <a:xfrm rot="10800000" flipV="1">
            <a:off x="12315189" y="4"/>
            <a:ext cx="121287" cy="699452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6"/>
          </a:p>
        </p:txBody>
      </p:sp>
    </p:spTree>
    <p:extLst>
      <p:ext uri="{BB962C8B-B14F-4D97-AF65-F5344CB8AC3E}">
        <p14:creationId xmlns:p14="http://schemas.microsoft.com/office/powerpoint/2010/main" val="4006376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1378ACA-1D5B-4E4E-8CAC-CC1978D25A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486CBD-2842-412D-B5F7-CEFCB9B462C9}" type="datetimeFigureOut">
              <a:rPr lang="en-US" smtClean="0"/>
              <a:t>5/7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D82B3FB-7780-4CAA-8618-5DA6179A4A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3AE95B-374D-44AA-A248-C1D5DA6A89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0AA2F2-FFB5-4863-B2A0-DCF1455539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6121485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8B5B6EA-67D4-49EE-B38E-C3183EB0F65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84" y="0"/>
            <a:ext cx="12434711" cy="699452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5A5BE8FF-410A-4B13-A073-24DE0E0C6D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639" y="295276"/>
            <a:ext cx="11889564" cy="9175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44A7DB2-0218-4588-B6CD-A7A8DCA76E0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640" y="1212852"/>
            <a:ext cx="11888787" cy="1881329"/>
          </a:xfr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28513" indent="0">
              <a:buNone/>
              <a:defRPr>
                <a:solidFill>
                  <a:schemeClr val="bg1"/>
                </a:solidFill>
              </a:defRPr>
            </a:lvl2pPr>
            <a:lvl3pPr marL="457024" indent="0">
              <a:buNone/>
              <a:defRPr>
                <a:solidFill>
                  <a:schemeClr val="bg1"/>
                </a:solidFill>
              </a:defRPr>
            </a:lvl3pPr>
            <a:lvl4pPr marL="685537" indent="0">
              <a:buNone/>
              <a:defRPr>
                <a:solidFill>
                  <a:schemeClr val="bg1"/>
                </a:solidFill>
              </a:defRPr>
            </a:lvl4pPr>
            <a:lvl5pPr marL="914049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07968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kumimoji="0" lang="en-US" sz="3598" b="0" i="0" u="none" strike="noStrike" kern="1200" cap="none" spc="-102" normalizeH="0" baseline="0" noProof="0">
                <a:ln w="3175">
                  <a:noFill/>
                </a:ln>
                <a:gradFill>
                  <a:gsLst>
                    <a:gs pos="1250">
                      <a:srgbClr val="0078D7"/>
                    </a:gs>
                    <a:gs pos="100000">
                      <a:srgbClr val="0078D7"/>
                    </a:gs>
                  </a:gsLst>
                  <a:lin ang="5400000" scaled="0"/>
                </a:gradFill>
                <a:effectLst/>
                <a:uLnTx/>
                <a:uFillTx/>
                <a:latin typeface="+mj-lt"/>
                <a:ea typeface="+mn-ea"/>
                <a:cs typeface="Segoe UI" pitchFamily="34" charset="0"/>
              </a:rPr>
              <a:t>Title text style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74641" y="1212850"/>
            <a:ext cx="11887200" cy="935641"/>
          </a:xfrm>
        </p:spPr>
        <p:txBody>
          <a:bodyPr/>
          <a:lstStyle>
            <a:lvl1pPr marL="0" marR="0" indent="0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>
                <a:solidFill>
                  <a:srgbClr val="505050"/>
                </a:solidFill>
                <a:latin typeface="+mj-lt"/>
              </a:defRPr>
            </a:lvl1pPr>
            <a:lvl2pPr marL="583975" marR="0" indent="-241206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>
                <a:solidFill>
                  <a:srgbClr val="505050"/>
                </a:solidFill>
                <a:latin typeface="+mn-lt"/>
              </a:defRPr>
            </a:lvl2pPr>
            <a:lvl3pPr marL="856920" marR="0" indent="-285640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>
                <a:solidFill>
                  <a:srgbClr val="505050"/>
                </a:solidFill>
                <a:latin typeface="+mn-lt"/>
              </a:defRPr>
            </a:lvl3pPr>
            <a:lvl4pPr marL="457024" indent="0">
              <a:buNone/>
              <a:defRPr>
                <a:solidFill>
                  <a:schemeClr val="tx1">
                    <a:lumMod val="75000"/>
                  </a:schemeClr>
                </a:solidFill>
                <a:latin typeface="+mn-lt"/>
              </a:defRPr>
            </a:lvl4pPr>
            <a:lvl5pPr marL="685537" indent="0">
              <a:buNone/>
              <a:defRPr>
                <a:solidFill>
                  <a:schemeClr val="tx1">
                    <a:lumMod val="75000"/>
                  </a:schemeClr>
                </a:solidFill>
                <a:latin typeface="+mn-lt"/>
              </a:defRPr>
            </a:lvl5pPr>
          </a:lstStyle>
          <a:p>
            <a:pPr marL="0" marR="0" lvl="0" indent="0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05050">
                    <a:lumMod val="75000"/>
                  </a:srgb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ubheading text style</a:t>
            </a:r>
          </a:p>
          <a:p>
            <a:pPr marL="583975" marR="0" lvl="1" indent="-241206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/>
            </a:pPr>
            <a:r>
              <a:rPr kumimoji="0" lang="en-US" sz="1398" b="1" i="0" u="none" strike="noStrike" kern="1200" cap="none" spc="0" normalizeH="0" baseline="0" noProof="0">
                <a:ln>
                  <a:noFill/>
                </a:ln>
                <a:solidFill>
                  <a:srgbClr val="505050">
                    <a:lumMod val="75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ragraph title text style</a:t>
            </a:r>
          </a:p>
          <a:p>
            <a:pPr marL="856920" marR="0" lvl="2" indent="-285640" algn="l" defTabSz="93238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98" b="0" i="0" u="none" strike="noStrike" kern="1200" cap="none" spc="0" normalizeH="0" baseline="0" noProof="0">
                <a:ln>
                  <a:noFill/>
                </a:ln>
                <a:solidFill>
                  <a:srgbClr val="505050">
                    <a:lumMod val="75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ody text style</a:t>
            </a:r>
          </a:p>
        </p:txBody>
      </p:sp>
    </p:spTree>
    <p:extLst>
      <p:ext uri="{BB962C8B-B14F-4D97-AF65-F5344CB8AC3E}">
        <p14:creationId xmlns:p14="http://schemas.microsoft.com/office/powerpoint/2010/main" val="4178399770"/>
      </p:ext>
    </p:extLst>
  </p:cSld>
  <p:clrMapOvr>
    <a:masterClrMapping/>
  </p:clrMapOvr>
  <p:transition>
    <p:fade/>
  </p:transition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4977" y="1226819"/>
            <a:ext cx="3705225" cy="1195895"/>
          </a:xfrm>
        </p:spPr>
        <p:txBody>
          <a:bodyPr lIns="0" tIns="0" rIns="0" bIns="0"/>
          <a:lstStyle>
            <a:lvl1pPr>
              <a:defRPr sz="2000" spc="0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337300" y="1226818"/>
            <a:ext cx="3690938" cy="3354708"/>
          </a:xfrm>
        </p:spPr>
        <p:txBody>
          <a:bodyPr wrap="square" lIns="0" tIns="0" rIns="0" bIns="0">
            <a:noAutofit/>
          </a:bodyPr>
          <a:lstStyle>
            <a:lvl1pPr marL="0" marR="0" indent="0" algn="l" defTabSz="5173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000" spc="0" baseline="0">
                <a:solidFill>
                  <a:schemeClr val="accent1"/>
                </a:solidFill>
                <a:latin typeface="+mj-lt"/>
              </a:defRPr>
            </a:lvl1pPr>
            <a:lvl2pPr marL="228513" indent="0">
              <a:buNone/>
              <a:defRPr sz="1800"/>
            </a:lvl2pPr>
            <a:lvl3pPr marL="457024" indent="0">
              <a:buNone/>
              <a:defRPr sz="1800"/>
            </a:lvl3pPr>
            <a:lvl4pPr marL="685537" indent="0">
              <a:buNone/>
              <a:defRPr sz="1800"/>
            </a:lvl4pPr>
            <a:lvl5pPr marL="914049" indent="0">
              <a:buNone/>
              <a:defRPr sz="1800"/>
            </a:lvl5pPr>
          </a:lstStyle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</p:txBody>
      </p:sp>
    </p:spTree>
    <p:extLst>
      <p:ext uri="{BB962C8B-B14F-4D97-AF65-F5344CB8AC3E}">
        <p14:creationId xmlns:p14="http://schemas.microsoft.com/office/powerpoint/2010/main" val="287779377"/>
      </p:ext>
    </p:extLst>
  </p:cSld>
  <p:clrMapOvr>
    <a:masterClrMapping/>
  </p:clrMapOvr>
  <p:transition>
    <p:fade/>
  </p:transition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BDBC305C-A9C3-4278-AFC0-C99DFD80A6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975" y="449264"/>
            <a:ext cx="11563350" cy="77311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645094498"/>
      </p:ext>
    </p:extLst>
  </p:cSld>
  <p:clrMapOvr>
    <a:masterClrMapping/>
  </p:clrMapOvr>
  <p:transition>
    <p:fade/>
  </p:transition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a Placeholder 3">
            <a:extLst>
              <a:ext uri="{FF2B5EF4-FFF2-40B4-BE49-F238E27FC236}">
                <a16:creationId xmlns:a16="http://schemas.microsoft.com/office/drawing/2014/main" id="{8B6023C7-4997-4A57-93EE-3CE85C4A04F6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436475" cy="6994525"/>
          </a:xfrm>
        </p:spPr>
        <p:txBody>
          <a:bodyPr/>
          <a:lstStyle/>
          <a:p>
            <a:r>
              <a:rPr lang="en-US"/>
              <a:t>Click icon to add media</a:t>
            </a:r>
          </a:p>
        </p:txBody>
      </p:sp>
    </p:spTree>
    <p:extLst>
      <p:ext uri="{BB962C8B-B14F-4D97-AF65-F5344CB8AC3E}">
        <p14:creationId xmlns:p14="http://schemas.microsoft.com/office/powerpoint/2010/main" val="602677437"/>
      </p:ext>
    </p:extLst>
  </p:cSld>
  <p:clrMapOvr>
    <a:masterClrMapping/>
  </p:clrMapOvr>
  <p:transition>
    <p:fade/>
  </p:transition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6087" y="2182300"/>
            <a:ext cx="11567160" cy="1247521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1298"/>
              </a:spcAft>
              <a:buNone/>
              <a:defRPr sz="2600" b="0" i="0">
                <a:solidFill>
                  <a:srgbClr val="000000"/>
                </a:solidFill>
                <a:latin typeface="+mn-lt"/>
              </a:defRPr>
            </a:lvl1pPr>
            <a:lvl2pPr marL="228513" indent="0">
              <a:lnSpc>
                <a:spcPct val="90000"/>
              </a:lnSpc>
              <a:spcBef>
                <a:spcPts val="0"/>
              </a:spcBef>
              <a:spcAft>
                <a:spcPts val="1298"/>
              </a:spcAft>
              <a:buNone/>
              <a:defRPr sz="2000">
                <a:solidFill>
                  <a:srgbClr val="000000"/>
                </a:solidFill>
              </a:defRPr>
            </a:lvl2pPr>
            <a:lvl3pPr marL="457024" indent="0">
              <a:spcBef>
                <a:spcPts val="0"/>
              </a:spcBef>
              <a:spcAft>
                <a:spcPts val="1298"/>
              </a:spcAft>
              <a:buNone/>
              <a:defRPr sz="2000">
                <a:solidFill>
                  <a:srgbClr val="000000"/>
                </a:solidFill>
              </a:defRPr>
            </a:lvl3pPr>
            <a:lvl4pPr marL="685537" indent="0">
              <a:spcBef>
                <a:spcPts val="0"/>
              </a:spcBef>
              <a:spcAft>
                <a:spcPts val="1298"/>
              </a:spcAft>
              <a:buNone/>
              <a:defRPr sz="2000"/>
            </a:lvl4pPr>
            <a:lvl5pPr marL="914049" indent="0">
              <a:buNone/>
              <a:defRPr/>
            </a:lvl5pPr>
          </a:lstStyle>
          <a:p>
            <a:pPr lvl="0"/>
            <a:r>
              <a:rPr lang="en-US"/>
              <a:t>First level Segoe UI 26pt</a:t>
            </a:r>
          </a:p>
          <a:p>
            <a:pPr lvl="1"/>
            <a:r>
              <a:rPr lang="en-US"/>
              <a:t>Second level Segoe UI 20pt</a:t>
            </a:r>
          </a:p>
          <a:p>
            <a:pPr lvl="2"/>
            <a:r>
              <a:rPr lang="en-US"/>
              <a:t>Third level Segoe UI 20p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975" y="449266"/>
            <a:ext cx="11563350" cy="754061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32pt</a:t>
            </a:r>
          </a:p>
        </p:txBody>
      </p:sp>
    </p:spTree>
    <p:extLst>
      <p:ext uri="{BB962C8B-B14F-4D97-AF65-F5344CB8AC3E}">
        <p14:creationId xmlns:p14="http://schemas.microsoft.com/office/powerpoint/2010/main" val="2019385861"/>
      </p:ext>
    </p:extLst>
  </p:cSld>
  <p:clrMapOvr>
    <a:masterClrMapping/>
  </p:clrMapOvr>
  <p:transition>
    <p:fade/>
  </p:transition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1"/>
          <p:cNvSpPr>
            <a:spLocks noGrp="1"/>
          </p:cNvSpPr>
          <p:nvPr>
            <p:ph type="title" hasCustomPrompt="1"/>
          </p:nvPr>
        </p:nvSpPr>
        <p:spPr>
          <a:xfrm>
            <a:off x="192378" y="187640"/>
            <a:ext cx="3322872" cy="166107"/>
          </a:xfrm>
          <a:prstGeom prst="rect">
            <a:avLst/>
          </a:prstGeom>
        </p:spPr>
        <p:txBody>
          <a:bodyPr/>
          <a:lstStyle>
            <a:lvl1pPr algn="l">
              <a:defRPr sz="612" spc="306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MAIN TITLE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92378" y="449628"/>
            <a:ext cx="3322872" cy="31085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530" baseline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/>
              <a:t>Page Title Here</a:t>
            </a:r>
          </a:p>
        </p:txBody>
      </p:sp>
      <p:sp>
        <p:nvSpPr>
          <p:cNvPr id="5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01347" y="6606421"/>
            <a:ext cx="1428718" cy="332193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r">
              <a:defRPr lang="en-US" sz="612" spc="20" smtClean="0">
                <a:solidFill>
                  <a:schemeClr val="tx1">
                    <a:alpha val="6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fld id="{F1323F40-5DA8-449B-85D3-1438A492E1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65801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D5B8C-0A89-4497-A1C0-F61B5CA91A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9B518C4-25FC-4D7E-BD22-A4D4D021798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DC5A08-C51A-4E09-B416-2509CBFF49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DE2E20-C700-4A3A-A890-B84EE414F382}" type="datetime1">
              <a:rPr lang="en-US" smtClean="0"/>
              <a:t>5/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A806CB-20C2-4E48-AEFF-F982625942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microsoft.com/education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D47417-BD50-4C9C-9CF8-773D49F241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3C030-8119-439B-A7A2-330B51F4C00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3351848"/>
      </p:ext>
    </p:extLst>
  </p:cSld>
  <p:clrMapOvr>
    <a:masterClrMapping/>
  </p:clrMapOvr>
  <p:hf hdr="0" dt="0"/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94554" y="1462926"/>
            <a:ext cx="10845210" cy="1881329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174828" indent="0">
              <a:buNone/>
              <a:defRPr/>
            </a:lvl2pPr>
            <a:lvl3pPr marL="349656" indent="0">
              <a:buNone/>
              <a:defRPr/>
            </a:lvl3pPr>
            <a:lvl4pPr marL="524486" indent="0">
              <a:buNone/>
              <a:defRPr/>
            </a:lvl4pPr>
            <a:lvl5pPr marL="69931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063466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98">
          <p15:clr>
            <a:srgbClr val="5ACBF0"/>
          </p15:clr>
        </p15:guide>
        <p15:guide id="2" orient="horz" pos="903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D in the Classroom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1F75BEE-7AB6-C245-BF36-9DAF28F2B2B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9237680" y="6343840"/>
            <a:ext cx="2798207" cy="372394"/>
          </a:xfrm>
        </p:spPr>
        <p:txBody>
          <a:bodyPr/>
          <a:lstStyle>
            <a:lvl1pPr>
              <a:defRPr sz="918" b="1" i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5F684BCF-8CEB-4ABD-8365-208435A47A8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3C372211-A8D1-504A-9086-76346632CB3D}"/>
              </a:ext>
            </a:extLst>
          </p:cNvPr>
          <p:cNvSpPr txBox="1">
            <a:spLocks/>
          </p:cNvSpPr>
          <p:nvPr userDrawn="1"/>
        </p:nvSpPr>
        <p:spPr>
          <a:xfrm>
            <a:off x="409362" y="6408972"/>
            <a:ext cx="2789435" cy="24213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18" b="1" dirty="0"/>
              <a:t>Microsoft Education </a:t>
            </a:r>
            <a:r>
              <a:rPr lang="en-US" sz="918" dirty="0"/>
              <a:t>3D in the Classroom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185C0E0-19E5-1E4E-8BE9-4D2EB45277F1}"/>
              </a:ext>
            </a:extLst>
          </p:cNvPr>
          <p:cNvCxnSpPr>
            <a:cxnSpLocks/>
          </p:cNvCxnSpPr>
          <p:nvPr userDrawn="1"/>
        </p:nvCxnSpPr>
        <p:spPr>
          <a:xfrm>
            <a:off x="505308" y="388585"/>
            <a:ext cx="276516" cy="0"/>
          </a:xfrm>
          <a:prstGeom prst="line">
            <a:avLst/>
          </a:prstGeom>
          <a:ln w="19050">
            <a:solidFill>
              <a:srgbClr val="ECAE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83768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002727" y="0"/>
            <a:ext cx="5433748" cy="493731"/>
          </a:xfrm>
        </p:spPr>
        <p:txBody>
          <a:bodyPr vert="horz" wrap="square" lIns="127337" tIns="79586" rIns="127337" bIns="79586" rtlCol="0" anchor="t">
            <a:noAutofit/>
          </a:bodyPr>
          <a:lstStyle>
            <a:lvl1pPr marL="0" indent="0" algn="r" defTabSz="749773">
              <a:buFontTx/>
              <a:buNone/>
              <a:defRPr lang="en-US" sz="1260" b="0" cap="none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n-lt"/>
                <a:cs typeface="Segoe UI" pitchFamily="34" charset="0"/>
              </a:defRPr>
            </a:lvl1pPr>
          </a:lstStyle>
          <a:p>
            <a:pPr algn="r" defTabSz="735144"/>
            <a:r>
              <a:rPr lang="en-GB" sz="1080">
                <a:latin typeface="Segoe UI Light"/>
              </a:rPr>
              <a:t>Presenter: Insert Name / OneNote page:  / Slide 1 of X</a:t>
            </a:r>
            <a:endParaRPr lang="en-US" sz="1080">
              <a:latin typeface="Segoe UI Ligh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222082" y="205721"/>
            <a:ext cx="7550717" cy="493731"/>
          </a:xfrm>
        </p:spPr>
        <p:txBody>
          <a:bodyPr lIns="45720" rIns="0" anchor="b"/>
          <a:lstStyle>
            <a:lvl1pPr>
              <a:defRPr sz="2159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58813249"/>
      </p:ext>
    </p:extLst>
  </p:cSld>
  <p:clrMapOvr>
    <a:masterClrMapping/>
  </p:clrMapOvr>
  <p:transition>
    <p:fade/>
  </p:transition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95915" y="1464074"/>
            <a:ext cx="11239464" cy="152400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9669993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661BFC-A958-48D0-BA95-B7008B3EC65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54560" y="1144707"/>
            <a:ext cx="9327356" cy="2435131"/>
          </a:xfrm>
        </p:spPr>
        <p:txBody>
          <a:bodyPr anchor="b"/>
          <a:lstStyle>
            <a:lvl1pPr algn="ctr">
              <a:defRPr sz="5668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8C03BCE-75CB-427C-84ED-453B7CFBA46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54560" y="3673747"/>
            <a:ext cx="9327356" cy="498791"/>
          </a:xfrm>
        </p:spPr>
        <p:txBody>
          <a:bodyPr/>
          <a:lstStyle>
            <a:lvl1pPr marL="0" indent="0" algn="ctr">
              <a:buNone/>
              <a:defRPr sz="2267"/>
            </a:lvl1pPr>
            <a:lvl2pPr marL="431923" indent="0" algn="ctr">
              <a:buNone/>
              <a:defRPr sz="1890"/>
            </a:lvl2pPr>
            <a:lvl3pPr marL="863846" indent="0" algn="ctr">
              <a:buNone/>
              <a:defRPr sz="1700"/>
            </a:lvl3pPr>
            <a:lvl4pPr marL="1295769" indent="0" algn="ctr">
              <a:buNone/>
              <a:defRPr sz="1511"/>
            </a:lvl4pPr>
            <a:lvl5pPr marL="1727692" indent="0" algn="ctr">
              <a:buNone/>
              <a:defRPr sz="1511"/>
            </a:lvl5pPr>
            <a:lvl6pPr marL="2159615" indent="0" algn="ctr">
              <a:buNone/>
              <a:defRPr sz="1511"/>
            </a:lvl6pPr>
            <a:lvl7pPr marL="2591538" indent="0" algn="ctr">
              <a:buNone/>
              <a:defRPr sz="1511"/>
            </a:lvl7pPr>
            <a:lvl8pPr marL="3023461" indent="0" algn="ctr">
              <a:buNone/>
              <a:defRPr sz="1511"/>
            </a:lvl8pPr>
            <a:lvl9pPr marL="3455384" indent="0" algn="ctr">
              <a:buNone/>
              <a:defRPr sz="1511"/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B7DED5F-7058-44EF-9A48-AC5F819F6C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395DEF-B13C-4D35-A002-B1B7FF6E0F11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48766A-4B83-4019-9C76-7C5B56076C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264358-2270-448D-8BD9-1C2091308B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859DA0-8C78-41F1-97DF-6D7F0414271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65014799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0061" y="3120031"/>
            <a:ext cx="4251461" cy="483850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93715" y="4041284"/>
            <a:ext cx="4248091" cy="261740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89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pic>
        <p:nvPicPr>
          <p:cNvPr id="6" name="MS logo white - EMF" descr="Microsoft logo white text version">
            <a:extLst>
              <a:ext uri="{FF2B5EF4-FFF2-40B4-BE49-F238E27FC236}">
                <a16:creationId xmlns:a16="http://schemas.microsoft.com/office/drawing/2014/main" id="{752F7F94-9231-4E4A-AA40-FA537E6B0D7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95917" y="597450"/>
            <a:ext cx="1393641" cy="298433"/>
          </a:xfrm>
          <a:prstGeom prst="rect">
            <a:avLst/>
          </a:prstGeom>
        </p:spPr>
      </p:pic>
      <p:pic>
        <p:nvPicPr>
          <p:cNvPr id="9" name="Picture 8" descr="Young girl using touch screen computer">
            <a:extLst>
              <a:ext uri="{FF2B5EF4-FFF2-40B4-BE49-F238E27FC236}">
                <a16:creationId xmlns:a16="http://schemas.microsoft.com/office/drawing/2014/main" id="{20AE6787-5C98-4934-9D89-24C376A58C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0513" t="291" r="19815" b="40185"/>
          <a:stretch/>
        </p:blipFill>
        <p:spPr>
          <a:xfrm>
            <a:off x="5440960" y="0"/>
            <a:ext cx="6995516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0967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42734659"/>
      </p:ext>
    </p:extLst>
  </p:cSld>
  <p:clrMapOvr>
    <a:masterClrMapping/>
  </p:clrMapOvr>
  <p:transition>
    <p:fade/>
  </p:transition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65138" y="3036319"/>
            <a:ext cx="8229599" cy="1828800"/>
          </a:xfrm>
          <a:noFill/>
        </p:spPr>
        <p:txBody>
          <a:bodyPr lIns="0" tIns="91440" rIns="146304" bIns="91440" anchor="b" anchorCtr="0"/>
          <a:lstStyle>
            <a:lvl1pPr>
              <a:defRPr sz="5002" strike="noStrike" spc="-136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Office 365 presentation title or event nam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72032" y="4830767"/>
            <a:ext cx="8527440" cy="730183"/>
          </a:xfrm>
          <a:noFill/>
        </p:spPr>
        <p:txBody>
          <a:bodyPr lIns="0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1852" spc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Autahor</a:t>
            </a:r>
            <a:r>
              <a:rPr lang="en-US"/>
              <a:t> Name</a:t>
            </a:r>
          </a:p>
          <a:p>
            <a:pPr lvl="0"/>
            <a:r>
              <a:rPr lang="en-US"/>
              <a:t>Date</a:t>
            </a:r>
          </a:p>
        </p:txBody>
      </p:sp>
      <p:pic>
        <p:nvPicPr>
          <p:cNvPr id="64" name="MS logo gray - E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65143" y="449268"/>
            <a:ext cx="1206257" cy="2583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148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E880D5-5913-4827-88E7-E29CCC2A6F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06EDE17-3A96-43E5-ACB4-8A4D8559762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456EF4D-70FD-4C84-AAD0-15FF40FE70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7A94A5D-A422-419F-8F61-49A5FF3A9159}" type="datetimeFigureOut">
              <a:rPr lang="en-US" smtClean="0"/>
              <a:pPr>
                <a:defRPr/>
              </a:pPr>
              <a:t>5/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0B9F57-0326-491F-A567-5FA3FD283E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5CF8D9-DE3C-4BBF-9C3E-168DBFB48F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35F1553-80D1-4FBA-8E25-9A1831250CF9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5208316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Section Title Accent Color 1">
    <p:bg>
      <p:bgPr>
        <a:solidFill>
          <a:srgbClr val="4423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80571" y="1346590"/>
            <a:ext cx="12128721" cy="1859280"/>
          </a:xfrm>
          <a:noFill/>
        </p:spPr>
        <p:txBody>
          <a:bodyPr lIns="137160" tIns="137160" rIns="137160" bIns="137160" anchor="t" anchorCtr="0"/>
          <a:lstStyle>
            <a:lvl1pPr>
              <a:defRPr sz="8769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5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434775" y="2894799"/>
            <a:ext cx="6064361" cy="2642376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4181" indent="-194181">
              <a:lnSpc>
                <a:spcPct val="80000"/>
              </a:lnSpc>
              <a:buNone/>
              <a:defRPr lang="en-US" sz="204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10954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938191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AF1268D-9A59-43B5-A83D-F275B9716BB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899852" y="372394"/>
            <a:ext cx="2681615" cy="5927537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4EF99CC-839A-45C2-8353-F7BD2F26F3B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55008" y="372394"/>
            <a:ext cx="7889389" cy="5927537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A5C9C0-0F8A-4885-8535-BCF75004CD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DE2E20-C700-4A3A-A890-B84EE414F382}" type="datetime1">
              <a:rPr lang="en-US" smtClean="0"/>
              <a:t>5/7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EB529D-AD42-443B-A6DD-9282C08DB9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microsoft.com/education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532DC52-CB58-4BD4-A6FC-25829123F6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3C030-8119-439B-A7A2-330B51F4C00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6499997"/>
      </p:ext>
    </p:extLst>
  </p:cSld>
  <p:clrMapOvr>
    <a:masterClrMapping/>
  </p:clrMapOvr>
  <p:hf hdr="0" dt="0"/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606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9701909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436475" cy="6994525"/>
          </a:xfrm>
          <a:prstGeom prst="rect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4193761" y="2017153"/>
            <a:ext cx="8144709" cy="3448251"/>
            <a:chOff x="4193760" y="2017152"/>
            <a:chExt cx="8144709" cy="3448251"/>
          </a:xfrm>
        </p:grpSpPr>
        <p:sp>
          <p:nvSpPr>
            <p:cNvPr id="10" name="Freeform 7"/>
            <p:cNvSpPr>
              <a:spLocks/>
            </p:cNvSpPr>
            <p:nvPr userDrawn="1"/>
          </p:nvSpPr>
          <p:spPr bwMode="auto">
            <a:xfrm>
              <a:off x="8457834" y="4384204"/>
              <a:ext cx="440202" cy="482679"/>
            </a:xfrm>
            <a:custGeom>
              <a:avLst/>
              <a:gdLst>
                <a:gd name="T0" fmla="*/ 158 w 163"/>
                <a:gd name="T1" fmla="*/ 110 h 180"/>
                <a:gd name="T2" fmla="*/ 39 w 163"/>
                <a:gd name="T3" fmla="*/ 0 h 180"/>
                <a:gd name="T4" fmla="*/ 8 w 163"/>
                <a:gd name="T5" fmla="*/ 40 h 180"/>
                <a:gd name="T6" fmla="*/ 15 w 163"/>
                <a:gd name="T7" fmla="*/ 77 h 180"/>
                <a:gd name="T8" fmla="*/ 163 w 163"/>
                <a:gd name="T9" fmla="*/ 180 h 180"/>
                <a:gd name="T10" fmla="*/ 158 w 163"/>
                <a:gd name="T11" fmla="*/ 11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3" h="180">
                  <a:moveTo>
                    <a:pt x="158" y="110"/>
                  </a:moveTo>
                  <a:cubicBezTo>
                    <a:pt x="39" y="0"/>
                    <a:pt x="39" y="0"/>
                    <a:pt x="39" y="0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0" y="52"/>
                    <a:pt x="3" y="69"/>
                    <a:pt x="15" y="77"/>
                  </a:cubicBezTo>
                  <a:cubicBezTo>
                    <a:pt x="163" y="180"/>
                    <a:pt x="163" y="180"/>
                    <a:pt x="163" y="180"/>
                  </a:cubicBezTo>
                  <a:lnTo>
                    <a:pt x="158" y="110"/>
                  </a:lnTo>
                  <a:close/>
                </a:path>
              </a:pathLst>
            </a:custGeom>
            <a:solidFill>
              <a:srgbClr val="DEB6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8538925" y="4384204"/>
              <a:ext cx="347528" cy="343668"/>
            </a:xfrm>
            <a:custGeom>
              <a:avLst/>
              <a:gdLst>
                <a:gd name="T0" fmla="*/ 89 w 90"/>
                <a:gd name="T1" fmla="*/ 76 h 89"/>
                <a:gd name="T2" fmla="*/ 6 w 90"/>
                <a:gd name="T3" fmla="*/ 0 h 89"/>
                <a:gd name="T4" fmla="*/ 0 w 90"/>
                <a:gd name="T5" fmla="*/ 8 h 89"/>
                <a:gd name="T6" fmla="*/ 90 w 90"/>
                <a:gd name="T7" fmla="*/ 89 h 89"/>
                <a:gd name="T8" fmla="*/ 89 w 90"/>
                <a:gd name="T9" fmla="*/ 7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89">
                  <a:moveTo>
                    <a:pt x="89" y="76"/>
                  </a:moveTo>
                  <a:lnTo>
                    <a:pt x="6" y="0"/>
                  </a:lnTo>
                  <a:lnTo>
                    <a:pt x="0" y="8"/>
                  </a:lnTo>
                  <a:lnTo>
                    <a:pt x="90" y="89"/>
                  </a:lnTo>
                  <a:lnTo>
                    <a:pt x="89" y="76"/>
                  </a:lnTo>
                  <a:close/>
                </a:path>
              </a:pathLst>
            </a:custGeom>
            <a:solidFill>
              <a:srgbClr val="B89E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auto">
            <a:xfrm>
              <a:off x="8457834" y="4384204"/>
              <a:ext cx="135151" cy="216240"/>
            </a:xfrm>
            <a:custGeom>
              <a:avLst/>
              <a:gdLst>
                <a:gd name="T0" fmla="*/ 20 w 50"/>
                <a:gd name="T1" fmla="*/ 50 h 81"/>
                <a:gd name="T2" fmla="*/ 50 w 50"/>
                <a:gd name="T3" fmla="*/ 11 h 81"/>
                <a:gd name="T4" fmla="*/ 39 w 50"/>
                <a:gd name="T5" fmla="*/ 0 h 81"/>
                <a:gd name="T6" fmla="*/ 8 w 50"/>
                <a:gd name="T7" fmla="*/ 40 h 81"/>
                <a:gd name="T8" fmla="*/ 15 w 50"/>
                <a:gd name="T9" fmla="*/ 77 h 81"/>
                <a:gd name="T10" fmla="*/ 21 w 50"/>
                <a:gd name="T11" fmla="*/ 81 h 81"/>
                <a:gd name="T12" fmla="*/ 20 w 50"/>
                <a:gd name="T13" fmla="*/ 5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0" h="81">
                  <a:moveTo>
                    <a:pt x="20" y="50"/>
                  </a:moveTo>
                  <a:cubicBezTo>
                    <a:pt x="50" y="11"/>
                    <a:pt x="50" y="11"/>
                    <a:pt x="50" y="11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0" y="52"/>
                    <a:pt x="3" y="69"/>
                    <a:pt x="15" y="77"/>
                  </a:cubicBezTo>
                  <a:cubicBezTo>
                    <a:pt x="21" y="81"/>
                    <a:pt x="21" y="81"/>
                    <a:pt x="21" y="81"/>
                  </a:cubicBezTo>
                  <a:cubicBezTo>
                    <a:pt x="14" y="72"/>
                    <a:pt x="13" y="59"/>
                    <a:pt x="20" y="50"/>
                  </a:cubicBezTo>
                  <a:close/>
                </a:path>
              </a:pathLst>
            </a:custGeom>
            <a:solidFill>
              <a:srgbClr val="F6CA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" name="Freeform 10"/>
            <p:cNvSpPr>
              <a:spLocks/>
            </p:cNvSpPr>
            <p:nvPr userDrawn="1"/>
          </p:nvSpPr>
          <p:spPr bwMode="auto">
            <a:xfrm>
              <a:off x="8882591" y="5125597"/>
              <a:ext cx="142874" cy="73368"/>
            </a:xfrm>
            <a:custGeom>
              <a:avLst/>
              <a:gdLst>
                <a:gd name="T0" fmla="*/ 27 w 53"/>
                <a:gd name="T1" fmla="*/ 0 h 27"/>
                <a:gd name="T2" fmla="*/ 0 w 53"/>
                <a:gd name="T3" fmla="*/ 27 h 27"/>
                <a:gd name="T4" fmla="*/ 53 w 53"/>
                <a:gd name="T5" fmla="*/ 27 h 27"/>
                <a:gd name="T6" fmla="*/ 27 w 53"/>
                <a:gd name="T7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3" h="27">
                  <a:moveTo>
                    <a:pt x="27" y="0"/>
                  </a:moveTo>
                  <a:cubicBezTo>
                    <a:pt x="12" y="0"/>
                    <a:pt x="0" y="12"/>
                    <a:pt x="0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12"/>
                    <a:pt x="42" y="0"/>
                    <a:pt x="27" y="0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4" name="Rectangle 11"/>
            <p:cNvSpPr>
              <a:spLocks noChangeArrowheads="1"/>
            </p:cNvSpPr>
            <p:nvPr userDrawn="1"/>
          </p:nvSpPr>
          <p:spPr bwMode="auto">
            <a:xfrm>
              <a:off x="8882591" y="5198963"/>
              <a:ext cx="142874" cy="196934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5" name="Freeform 12"/>
            <p:cNvSpPr>
              <a:spLocks/>
            </p:cNvSpPr>
            <p:nvPr userDrawn="1"/>
          </p:nvSpPr>
          <p:spPr bwMode="auto">
            <a:xfrm>
              <a:off x="8859422" y="4550244"/>
              <a:ext cx="189211" cy="864958"/>
            </a:xfrm>
            <a:custGeom>
              <a:avLst/>
              <a:gdLst>
                <a:gd name="T0" fmla="*/ 49 w 70"/>
                <a:gd name="T1" fmla="*/ 311 h 322"/>
                <a:gd name="T2" fmla="*/ 35 w 70"/>
                <a:gd name="T3" fmla="*/ 322 h 322"/>
                <a:gd name="T4" fmla="*/ 21 w 70"/>
                <a:gd name="T5" fmla="*/ 311 h 322"/>
                <a:gd name="T6" fmla="*/ 0 w 70"/>
                <a:gd name="T7" fmla="*/ 0 h 322"/>
                <a:gd name="T8" fmla="*/ 70 w 70"/>
                <a:gd name="T9" fmla="*/ 0 h 322"/>
                <a:gd name="T10" fmla="*/ 49 w 70"/>
                <a:gd name="T11" fmla="*/ 311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0" h="322">
                  <a:moveTo>
                    <a:pt x="49" y="311"/>
                  </a:moveTo>
                  <a:cubicBezTo>
                    <a:pt x="49" y="311"/>
                    <a:pt x="45" y="322"/>
                    <a:pt x="35" y="322"/>
                  </a:cubicBezTo>
                  <a:cubicBezTo>
                    <a:pt x="25" y="322"/>
                    <a:pt x="21" y="311"/>
                    <a:pt x="21" y="3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0" y="0"/>
                    <a:pt x="70" y="0"/>
                    <a:pt x="70" y="0"/>
                  </a:cubicBezTo>
                  <a:lnTo>
                    <a:pt x="49" y="311"/>
                  </a:lnTo>
                  <a:close/>
                </a:path>
              </a:pathLst>
            </a:custGeom>
            <a:solidFill>
              <a:srgbClr val="F6CA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6" name="Freeform 13"/>
            <p:cNvSpPr>
              <a:spLocks/>
            </p:cNvSpPr>
            <p:nvPr userDrawn="1"/>
          </p:nvSpPr>
          <p:spPr bwMode="auto">
            <a:xfrm>
              <a:off x="8955959" y="4550244"/>
              <a:ext cx="92674" cy="864958"/>
            </a:xfrm>
            <a:custGeom>
              <a:avLst/>
              <a:gdLst>
                <a:gd name="T0" fmla="*/ 0 w 35"/>
                <a:gd name="T1" fmla="*/ 322 h 322"/>
                <a:gd name="T2" fmla="*/ 14 w 35"/>
                <a:gd name="T3" fmla="*/ 311 h 322"/>
                <a:gd name="T4" fmla="*/ 35 w 35"/>
                <a:gd name="T5" fmla="*/ 0 h 322"/>
                <a:gd name="T6" fmla="*/ 29 w 35"/>
                <a:gd name="T7" fmla="*/ 15 h 322"/>
                <a:gd name="T8" fmla="*/ 0 w 35"/>
                <a:gd name="T9" fmla="*/ 322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22">
                  <a:moveTo>
                    <a:pt x="0" y="322"/>
                  </a:moveTo>
                  <a:cubicBezTo>
                    <a:pt x="10" y="322"/>
                    <a:pt x="14" y="311"/>
                    <a:pt x="14" y="311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29" y="15"/>
                    <a:pt x="6" y="321"/>
                    <a:pt x="0" y="322"/>
                  </a:cubicBezTo>
                  <a:close/>
                </a:path>
              </a:pathLst>
            </a:custGeom>
            <a:solidFill>
              <a:srgbClr val="DEB6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7" name="Freeform 14"/>
            <p:cNvSpPr>
              <a:spLocks/>
            </p:cNvSpPr>
            <p:nvPr userDrawn="1"/>
          </p:nvSpPr>
          <p:spPr bwMode="auto">
            <a:xfrm>
              <a:off x="8859422" y="4550244"/>
              <a:ext cx="96537" cy="864958"/>
            </a:xfrm>
            <a:custGeom>
              <a:avLst/>
              <a:gdLst>
                <a:gd name="T0" fmla="*/ 35 w 35"/>
                <a:gd name="T1" fmla="*/ 322 h 322"/>
                <a:gd name="T2" fmla="*/ 21 w 35"/>
                <a:gd name="T3" fmla="*/ 311 h 322"/>
                <a:gd name="T4" fmla="*/ 0 w 35"/>
                <a:gd name="T5" fmla="*/ 0 h 322"/>
                <a:gd name="T6" fmla="*/ 6 w 35"/>
                <a:gd name="T7" fmla="*/ 15 h 322"/>
                <a:gd name="T8" fmla="*/ 35 w 35"/>
                <a:gd name="T9" fmla="*/ 322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22">
                  <a:moveTo>
                    <a:pt x="35" y="322"/>
                  </a:moveTo>
                  <a:cubicBezTo>
                    <a:pt x="25" y="322"/>
                    <a:pt x="21" y="311"/>
                    <a:pt x="21" y="3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29" y="321"/>
                    <a:pt x="35" y="322"/>
                  </a:cubicBezTo>
                  <a:close/>
                </a:path>
              </a:pathLst>
            </a:custGeom>
            <a:solidFill>
              <a:srgbClr val="F8D5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8" name="Freeform 15"/>
            <p:cNvSpPr>
              <a:spLocks/>
            </p:cNvSpPr>
            <p:nvPr userDrawn="1"/>
          </p:nvSpPr>
          <p:spPr bwMode="auto">
            <a:xfrm>
              <a:off x="8338132" y="4117765"/>
              <a:ext cx="1231794" cy="486539"/>
            </a:xfrm>
            <a:custGeom>
              <a:avLst/>
              <a:gdLst>
                <a:gd name="T0" fmla="*/ 0 w 458"/>
                <a:gd name="T1" fmla="*/ 19 h 182"/>
                <a:gd name="T2" fmla="*/ 229 w 458"/>
                <a:gd name="T3" fmla="*/ 182 h 182"/>
                <a:gd name="T4" fmla="*/ 458 w 458"/>
                <a:gd name="T5" fmla="*/ 19 h 182"/>
                <a:gd name="T6" fmla="*/ 226 w 458"/>
                <a:gd name="T7" fmla="*/ 0 h 182"/>
                <a:gd name="T8" fmla="*/ 0 w 458"/>
                <a:gd name="T9" fmla="*/ 19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8" h="182">
                  <a:moveTo>
                    <a:pt x="0" y="19"/>
                  </a:moveTo>
                  <a:cubicBezTo>
                    <a:pt x="20" y="88"/>
                    <a:pt x="76" y="182"/>
                    <a:pt x="229" y="182"/>
                  </a:cubicBezTo>
                  <a:cubicBezTo>
                    <a:pt x="381" y="182"/>
                    <a:pt x="438" y="88"/>
                    <a:pt x="458" y="19"/>
                  </a:cubicBezTo>
                  <a:cubicBezTo>
                    <a:pt x="226" y="0"/>
                    <a:pt x="226" y="0"/>
                    <a:pt x="226" y="0"/>
                  </a:cubicBezTo>
                  <a:lnTo>
                    <a:pt x="0" y="19"/>
                  </a:lnTo>
                  <a:close/>
                </a:path>
              </a:pathLst>
            </a:custGeom>
            <a:solidFill>
              <a:srgbClr val="3214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9" name="Freeform 16"/>
            <p:cNvSpPr>
              <a:spLocks/>
            </p:cNvSpPr>
            <p:nvPr userDrawn="1"/>
          </p:nvSpPr>
          <p:spPr bwMode="auto">
            <a:xfrm>
              <a:off x="8843976" y="4117765"/>
              <a:ext cx="725947" cy="486539"/>
            </a:xfrm>
            <a:custGeom>
              <a:avLst/>
              <a:gdLst>
                <a:gd name="T0" fmla="*/ 38 w 270"/>
                <a:gd name="T1" fmla="*/ 0 h 181"/>
                <a:gd name="T2" fmla="*/ 270 w 270"/>
                <a:gd name="T3" fmla="*/ 19 h 181"/>
                <a:gd name="T4" fmla="*/ 58 w 270"/>
                <a:gd name="T5" fmla="*/ 181 h 181"/>
                <a:gd name="T6" fmla="*/ 231 w 270"/>
                <a:gd name="T7" fmla="*/ 23 h 181"/>
                <a:gd name="T8" fmla="*/ 0 w 270"/>
                <a:gd name="T9" fmla="*/ 5 h 181"/>
                <a:gd name="T10" fmla="*/ 38 w 270"/>
                <a:gd name="T11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0" h="181">
                  <a:moveTo>
                    <a:pt x="38" y="0"/>
                  </a:moveTo>
                  <a:cubicBezTo>
                    <a:pt x="270" y="19"/>
                    <a:pt x="270" y="19"/>
                    <a:pt x="270" y="19"/>
                  </a:cubicBezTo>
                  <a:cubicBezTo>
                    <a:pt x="251" y="85"/>
                    <a:pt x="198" y="174"/>
                    <a:pt x="58" y="181"/>
                  </a:cubicBezTo>
                  <a:cubicBezTo>
                    <a:pt x="169" y="161"/>
                    <a:pt x="214" y="83"/>
                    <a:pt x="231" y="23"/>
                  </a:cubicBezTo>
                  <a:cubicBezTo>
                    <a:pt x="0" y="5"/>
                    <a:pt x="0" y="5"/>
                    <a:pt x="0" y="5"/>
                  </a:cubicBezTo>
                  <a:lnTo>
                    <a:pt x="38" y="0"/>
                  </a:lnTo>
                  <a:close/>
                </a:path>
              </a:pathLst>
            </a:custGeom>
            <a:solidFill>
              <a:srgbClr val="220C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0" name="Freeform 17"/>
            <p:cNvSpPr>
              <a:spLocks/>
            </p:cNvSpPr>
            <p:nvPr userDrawn="1"/>
          </p:nvSpPr>
          <p:spPr bwMode="auto">
            <a:xfrm>
              <a:off x="8874868" y="4978863"/>
              <a:ext cx="158319" cy="158319"/>
            </a:xfrm>
            <a:custGeom>
              <a:avLst/>
              <a:gdLst>
                <a:gd name="T0" fmla="*/ 56 w 60"/>
                <a:gd name="T1" fmla="*/ 60 h 60"/>
                <a:gd name="T2" fmla="*/ 54 w 60"/>
                <a:gd name="T3" fmla="*/ 59 h 60"/>
                <a:gd name="T4" fmla="*/ 1 w 60"/>
                <a:gd name="T5" fmla="*/ 6 h 60"/>
                <a:gd name="T6" fmla="*/ 1 w 60"/>
                <a:gd name="T7" fmla="*/ 1 h 60"/>
                <a:gd name="T8" fmla="*/ 6 w 60"/>
                <a:gd name="T9" fmla="*/ 1 h 60"/>
                <a:gd name="T10" fmla="*/ 59 w 60"/>
                <a:gd name="T11" fmla="*/ 54 h 60"/>
                <a:gd name="T12" fmla="*/ 59 w 60"/>
                <a:gd name="T13" fmla="*/ 59 h 60"/>
                <a:gd name="T14" fmla="*/ 56 w 60"/>
                <a:gd name="T1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60">
                  <a:moveTo>
                    <a:pt x="56" y="60"/>
                  </a:moveTo>
                  <a:cubicBezTo>
                    <a:pt x="55" y="60"/>
                    <a:pt x="55" y="60"/>
                    <a:pt x="54" y="59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5"/>
                    <a:pt x="0" y="3"/>
                    <a:pt x="1" y="1"/>
                  </a:cubicBezTo>
                  <a:cubicBezTo>
                    <a:pt x="2" y="0"/>
                    <a:pt x="5" y="0"/>
                    <a:pt x="6" y="1"/>
                  </a:cubicBezTo>
                  <a:cubicBezTo>
                    <a:pt x="59" y="54"/>
                    <a:pt x="59" y="54"/>
                    <a:pt x="59" y="54"/>
                  </a:cubicBezTo>
                  <a:cubicBezTo>
                    <a:pt x="60" y="56"/>
                    <a:pt x="60" y="58"/>
                    <a:pt x="59" y="59"/>
                  </a:cubicBezTo>
                  <a:cubicBezTo>
                    <a:pt x="58" y="60"/>
                    <a:pt x="57" y="60"/>
                    <a:pt x="56" y="60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1" name="Freeform 18"/>
            <p:cNvSpPr>
              <a:spLocks/>
            </p:cNvSpPr>
            <p:nvPr userDrawn="1"/>
          </p:nvSpPr>
          <p:spPr bwMode="auto">
            <a:xfrm>
              <a:off x="8874868" y="4978863"/>
              <a:ext cx="158319" cy="158319"/>
            </a:xfrm>
            <a:custGeom>
              <a:avLst/>
              <a:gdLst>
                <a:gd name="T0" fmla="*/ 4 w 60"/>
                <a:gd name="T1" fmla="*/ 60 h 60"/>
                <a:gd name="T2" fmla="*/ 1 w 60"/>
                <a:gd name="T3" fmla="*/ 59 h 60"/>
                <a:gd name="T4" fmla="*/ 1 w 60"/>
                <a:gd name="T5" fmla="*/ 54 h 60"/>
                <a:gd name="T6" fmla="*/ 54 w 60"/>
                <a:gd name="T7" fmla="*/ 1 h 60"/>
                <a:gd name="T8" fmla="*/ 59 w 60"/>
                <a:gd name="T9" fmla="*/ 1 h 60"/>
                <a:gd name="T10" fmla="*/ 59 w 60"/>
                <a:gd name="T11" fmla="*/ 6 h 60"/>
                <a:gd name="T12" fmla="*/ 6 w 60"/>
                <a:gd name="T13" fmla="*/ 59 h 60"/>
                <a:gd name="T14" fmla="*/ 4 w 60"/>
                <a:gd name="T15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0" h="60">
                  <a:moveTo>
                    <a:pt x="4" y="60"/>
                  </a:moveTo>
                  <a:cubicBezTo>
                    <a:pt x="3" y="60"/>
                    <a:pt x="2" y="60"/>
                    <a:pt x="1" y="59"/>
                  </a:cubicBezTo>
                  <a:cubicBezTo>
                    <a:pt x="0" y="58"/>
                    <a:pt x="0" y="56"/>
                    <a:pt x="1" y="54"/>
                  </a:cubicBezTo>
                  <a:cubicBezTo>
                    <a:pt x="54" y="1"/>
                    <a:pt x="54" y="1"/>
                    <a:pt x="54" y="1"/>
                  </a:cubicBezTo>
                  <a:cubicBezTo>
                    <a:pt x="55" y="0"/>
                    <a:pt x="57" y="0"/>
                    <a:pt x="59" y="1"/>
                  </a:cubicBezTo>
                  <a:cubicBezTo>
                    <a:pt x="60" y="3"/>
                    <a:pt x="60" y="5"/>
                    <a:pt x="59" y="6"/>
                  </a:cubicBezTo>
                  <a:cubicBezTo>
                    <a:pt x="6" y="59"/>
                    <a:pt x="6" y="59"/>
                    <a:pt x="6" y="59"/>
                  </a:cubicBezTo>
                  <a:cubicBezTo>
                    <a:pt x="5" y="60"/>
                    <a:pt x="4" y="60"/>
                    <a:pt x="4" y="60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2" name="Freeform 19"/>
            <p:cNvSpPr>
              <a:spLocks/>
            </p:cNvSpPr>
            <p:nvPr userDrawn="1"/>
          </p:nvSpPr>
          <p:spPr bwMode="auto">
            <a:xfrm>
              <a:off x="6990495" y="4557967"/>
              <a:ext cx="1197040" cy="675750"/>
            </a:xfrm>
            <a:custGeom>
              <a:avLst/>
              <a:gdLst>
                <a:gd name="T0" fmla="*/ 183 w 445"/>
                <a:gd name="T1" fmla="*/ 49 h 252"/>
                <a:gd name="T2" fmla="*/ 268 w 445"/>
                <a:gd name="T3" fmla="*/ 0 h 252"/>
                <a:gd name="T4" fmla="*/ 366 w 445"/>
                <a:gd name="T5" fmla="*/ 96 h 252"/>
                <a:gd name="T6" fmla="*/ 367 w 445"/>
                <a:gd name="T7" fmla="*/ 96 h 252"/>
                <a:gd name="T8" fmla="*/ 445 w 445"/>
                <a:gd name="T9" fmla="*/ 174 h 252"/>
                <a:gd name="T10" fmla="*/ 367 w 445"/>
                <a:gd name="T11" fmla="*/ 252 h 252"/>
                <a:gd name="T12" fmla="*/ 62 w 445"/>
                <a:gd name="T13" fmla="*/ 252 h 252"/>
                <a:gd name="T14" fmla="*/ 0 w 445"/>
                <a:gd name="T15" fmla="*/ 189 h 252"/>
                <a:gd name="T16" fmla="*/ 61 w 445"/>
                <a:gd name="T17" fmla="*/ 127 h 252"/>
                <a:gd name="T18" fmla="*/ 59 w 445"/>
                <a:gd name="T19" fmla="*/ 112 h 252"/>
                <a:gd name="T20" fmla="*/ 137 w 445"/>
                <a:gd name="T21" fmla="*/ 34 h 252"/>
                <a:gd name="T22" fmla="*/ 183 w 445"/>
                <a:gd name="T23" fmla="*/ 49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45" h="252">
                  <a:moveTo>
                    <a:pt x="183" y="49"/>
                  </a:moveTo>
                  <a:cubicBezTo>
                    <a:pt x="200" y="20"/>
                    <a:pt x="232" y="0"/>
                    <a:pt x="268" y="0"/>
                  </a:cubicBezTo>
                  <a:cubicBezTo>
                    <a:pt x="322" y="0"/>
                    <a:pt x="365" y="43"/>
                    <a:pt x="366" y="96"/>
                  </a:cubicBezTo>
                  <a:cubicBezTo>
                    <a:pt x="367" y="96"/>
                    <a:pt x="367" y="96"/>
                    <a:pt x="367" y="96"/>
                  </a:cubicBezTo>
                  <a:cubicBezTo>
                    <a:pt x="410" y="96"/>
                    <a:pt x="445" y="131"/>
                    <a:pt x="445" y="174"/>
                  </a:cubicBezTo>
                  <a:cubicBezTo>
                    <a:pt x="445" y="217"/>
                    <a:pt x="410" y="252"/>
                    <a:pt x="367" y="252"/>
                  </a:cubicBezTo>
                  <a:cubicBezTo>
                    <a:pt x="62" y="252"/>
                    <a:pt x="62" y="252"/>
                    <a:pt x="62" y="252"/>
                  </a:cubicBezTo>
                  <a:cubicBezTo>
                    <a:pt x="28" y="252"/>
                    <a:pt x="0" y="224"/>
                    <a:pt x="0" y="189"/>
                  </a:cubicBezTo>
                  <a:cubicBezTo>
                    <a:pt x="0" y="155"/>
                    <a:pt x="27" y="128"/>
                    <a:pt x="61" y="127"/>
                  </a:cubicBezTo>
                  <a:cubicBezTo>
                    <a:pt x="60" y="122"/>
                    <a:pt x="59" y="117"/>
                    <a:pt x="59" y="112"/>
                  </a:cubicBezTo>
                  <a:cubicBezTo>
                    <a:pt x="59" y="69"/>
                    <a:pt x="94" y="34"/>
                    <a:pt x="137" y="34"/>
                  </a:cubicBezTo>
                  <a:cubicBezTo>
                    <a:pt x="154" y="34"/>
                    <a:pt x="171" y="39"/>
                    <a:pt x="183" y="49"/>
                  </a:cubicBezTo>
                </a:path>
              </a:pathLst>
            </a:custGeom>
            <a:solidFill>
              <a:schemeClr val="bg1">
                <a:alpha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3" name="Freeform 20"/>
            <p:cNvSpPr>
              <a:spLocks/>
            </p:cNvSpPr>
            <p:nvPr userDrawn="1"/>
          </p:nvSpPr>
          <p:spPr bwMode="auto">
            <a:xfrm>
              <a:off x="6627521" y="4534798"/>
              <a:ext cx="390005" cy="220102"/>
            </a:xfrm>
            <a:custGeom>
              <a:avLst/>
              <a:gdLst>
                <a:gd name="T0" fmla="*/ 60 w 145"/>
                <a:gd name="T1" fmla="*/ 16 h 82"/>
                <a:gd name="T2" fmla="*/ 88 w 145"/>
                <a:gd name="T3" fmla="*/ 0 h 82"/>
                <a:gd name="T4" fmla="*/ 120 w 145"/>
                <a:gd name="T5" fmla="*/ 31 h 82"/>
                <a:gd name="T6" fmla="*/ 120 w 145"/>
                <a:gd name="T7" fmla="*/ 31 h 82"/>
                <a:gd name="T8" fmla="*/ 145 w 145"/>
                <a:gd name="T9" fmla="*/ 57 h 82"/>
                <a:gd name="T10" fmla="*/ 120 w 145"/>
                <a:gd name="T11" fmla="*/ 82 h 82"/>
                <a:gd name="T12" fmla="*/ 21 w 145"/>
                <a:gd name="T13" fmla="*/ 82 h 82"/>
                <a:gd name="T14" fmla="*/ 0 w 145"/>
                <a:gd name="T15" fmla="*/ 62 h 82"/>
                <a:gd name="T16" fmla="*/ 20 w 145"/>
                <a:gd name="T17" fmla="*/ 42 h 82"/>
                <a:gd name="T18" fmla="*/ 20 w 145"/>
                <a:gd name="T19" fmla="*/ 37 h 82"/>
                <a:gd name="T20" fmla="*/ 45 w 145"/>
                <a:gd name="T21" fmla="*/ 11 h 82"/>
                <a:gd name="T22" fmla="*/ 60 w 145"/>
                <a:gd name="T23" fmla="*/ 16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5" h="82">
                  <a:moveTo>
                    <a:pt x="60" y="16"/>
                  </a:moveTo>
                  <a:cubicBezTo>
                    <a:pt x="66" y="7"/>
                    <a:pt x="76" y="0"/>
                    <a:pt x="88" y="0"/>
                  </a:cubicBezTo>
                  <a:cubicBezTo>
                    <a:pt x="105" y="0"/>
                    <a:pt x="119" y="14"/>
                    <a:pt x="120" y="31"/>
                  </a:cubicBezTo>
                  <a:cubicBezTo>
                    <a:pt x="120" y="31"/>
                    <a:pt x="120" y="31"/>
                    <a:pt x="120" y="31"/>
                  </a:cubicBezTo>
                  <a:cubicBezTo>
                    <a:pt x="134" y="31"/>
                    <a:pt x="145" y="43"/>
                    <a:pt x="145" y="57"/>
                  </a:cubicBezTo>
                  <a:cubicBezTo>
                    <a:pt x="145" y="71"/>
                    <a:pt x="134" y="82"/>
                    <a:pt x="120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9" y="82"/>
                    <a:pt x="0" y="73"/>
                    <a:pt x="0" y="62"/>
                  </a:cubicBezTo>
                  <a:cubicBezTo>
                    <a:pt x="0" y="51"/>
                    <a:pt x="9" y="42"/>
                    <a:pt x="20" y="42"/>
                  </a:cubicBezTo>
                  <a:cubicBezTo>
                    <a:pt x="20" y="40"/>
                    <a:pt x="20" y="38"/>
                    <a:pt x="20" y="37"/>
                  </a:cubicBezTo>
                  <a:cubicBezTo>
                    <a:pt x="20" y="23"/>
                    <a:pt x="31" y="11"/>
                    <a:pt x="45" y="11"/>
                  </a:cubicBezTo>
                  <a:cubicBezTo>
                    <a:pt x="51" y="11"/>
                    <a:pt x="56" y="13"/>
                    <a:pt x="60" y="16"/>
                  </a:cubicBezTo>
                </a:path>
              </a:pathLst>
            </a:custGeom>
            <a:solidFill>
              <a:schemeClr val="bg1">
                <a:alpha val="6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4" name="Freeform 21"/>
            <p:cNvSpPr>
              <a:spLocks/>
            </p:cNvSpPr>
            <p:nvPr userDrawn="1"/>
          </p:nvSpPr>
          <p:spPr bwMode="auto">
            <a:xfrm>
              <a:off x="4193760" y="4853183"/>
              <a:ext cx="8144709" cy="612220"/>
            </a:xfrm>
            <a:custGeom>
              <a:avLst/>
              <a:gdLst>
                <a:gd name="T0" fmla="*/ 2536 w 4269"/>
                <a:gd name="T1" fmla="*/ 322 h 322"/>
                <a:gd name="T2" fmla="*/ 0 w 4269"/>
                <a:gd name="T3" fmla="*/ 141 h 322"/>
                <a:gd name="T4" fmla="*/ 1 w 4269"/>
                <a:gd name="T5" fmla="*/ 134 h 322"/>
                <a:gd name="T6" fmla="*/ 2536 w 4269"/>
                <a:gd name="T7" fmla="*/ 314 h 322"/>
                <a:gd name="T8" fmla="*/ 3440 w 4269"/>
                <a:gd name="T9" fmla="*/ 224 h 322"/>
                <a:gd name="T10" fmla="*/ 4269 w 4269"/>
                <a:gd name="T11" fmla="*/ 0 h 322"/>
                <a:gd name="T12" fmla="*/ 3735 w 4269"/>
                <a:gd name="T13" fmla="*/ 141 h 322"/>
                <a:gd name="T14" fmla="*/ 3442 w 4269"/>
                <a:gd name="T15" fmla="*/ 231 h 322"/>
                <a:gd name="T16" fmla="*/ 2536 w 4269"/>
                <a:gd name="T17" fmla="*/ 322 h 3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69" h="322">
                  <a:moveTo>
                    <a:pt x="2536" y="322"/>
                  </a:moveTo>
                  <a:cubicBezTo>
                    <a:pt x="1726" y="322"/>
                    <a:pt x="13" y="143"/>
                    <a:pt x="0" y="141"/>
                  </a:cubicBezTo>
                  <a:cubicBezTo>
                    <a:pt x="1" y="134"/>
                    <a:pt x="1" y="134"/>
                    <a:pt x="1" y="134"/>
                  </a:cubicBezTo>
                  <a:cubicBezTo>
                    <a:pt x="15" y="136"/>
                    <a:pt x="1727" y="314"/>
                    <a:pt x="2536" y="314"/>
                  </a:cubicBezTo>
                  <a:cubicBezTo>
                    <a:pt x="2769" y="314"/>
                    <a:pt x="3115" y="299"/>
                    <a:pt x="3440" y="224"/>
                  </a:cubicBezTo>
                  <a:cubicBezTo>
                    <a:pt x="3635" y="180"/>
                    <a:pt x="4268" y="0"/>
                    <a:pt x="4269" y="0"/>
                  </a:cubicBezTo>
                  <a:cubicBezTo>
                    <a:pt x="3735" y="141"/>
                    <a:pt x="3735" y="141"/>
                    <a:pt x="3735" y="141"/>
                  </a:cubicBezTo>
                  <a:cubicBezTo>
                    <a:pt x="3734" y="141"/>
                    <a:pt x="3637" y="187"/>
                    <a:pt x="3442" y="231"/>
                  </a:cubicBezTo>
                  <a:cubicBezTo>
                    <a:pt x="3263" y="272"/>
                    <a:pt x="2959" y="322"/>
                    <a:pt x="2536" y="322"/>
                  </a:cubicBezTo>
                  <a:close/>
                </a:path>
              </a:pathLst>
            </a:custGeom>
            <a:solidFill>
              <a:srgbClr val="10611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5" name="Freeform 22"/>
            <p:cNvSpPr>
              <a:spLocks/>
            </p:cNvSpPr>
            <p:nvPr userDrawn="1"/>
          </p:nvSpPr>
          <p:spPr bwMode="auto">
            <a:xfrm>
              <a:off x="8882591" y="5395897"/>
              <a:ext cx="142874" cy="69506"/>
            </a:xfrm>
            <a:custGeom>
              <a:avLst/>
              <a:gdLst>
                <a:gd name="T0" fmla="*/ 27 w 53"/>
                <a:gd name="T1" fmla="*/ 26 h 26"/>
                <a:gd name="T2" fmla="*/ 53 w 53"/>
                <a:gd name="T3" fmla="*/ 0 h 26"/>
                <a:gd name="T4" fmla="*/ 0 w 53"/>
                <a:gd name="T5" fmla="*/ 0 h 26"/>
                <a:gd name="T6" fmla="*/ 27 w 53"/>
                <a:gd name="T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3" h="26">
                  <a:moveTo>
                    <a:pt x="27" y="26"/>
                  </a:moveTo>
                  <a:cubicBezTo>
                    <a:pt x="42" y="26"/>
                    <a:pt x="53" y="15"/>
                    <a:pt x="5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5"/>
                    <a:pt x="12" y="26"/>
                    <a:pt x="27" y="26"/>
                  </a:cubicBezTo>
                  <a:close/>
                </a:path>
              </a:pathLst>
            </a:cu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6" name="Freeform 23"/>
            <p:cNvSpPr>
              <a:spLocks/>
            </p:cNvSpPr>
            <p:nvPr userDrawn="1"/>
          </p:nvSpPr>
          <p:spPr bwMode="auto">
            <a:xfrm>
              <a:off x="8338132" y="4117765"/>
              <a:ext cx="745255" cy="100397"/>
            </a:xfrm>
            <a:custGeom>
              <a:avLst/>
              <a:gdLst>
                <a:gd name="T0" fmla="*/ 221 w 277"/>
                <a:gd name="T1" fmla="*/ 4 h 37"/>
                <a:gd name="T2" fmla="*/ 277 w 277"/>
                <a:gd name="T3" fmla="*/ 4 h 37"/>
                <a:gd name="T4" fmla="*/ 226 w 277"/>
                <a:gd name="T5" fmla="*/ 0 h 37"/>
                <a:gd name="T6" fmla="*/ 0 w 277"/>
                <a:gd name="T7" fmla="*/ 19 h 37"/>
                <a:gd name="T8" fmla="*/ 6 w 277"/>
                <a:gd name="T9" fmla="*/ 37 h 37"/>
                <a:gd name="T10" fmla="*/ 221 w 277"/>
                <a:gd name="T11" fmla="*/ 4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7" h="37">
                  <a:moveTo>
                    <a:pt x="221" y="4"/>
                  </a:moveTo>
                  <a:cubicBezTo>
                    <a:pt x="277" y="4"/>
                    <a:pt x="277" y="4"/>
                    <a:pt x="277" y="4"/>
                  </a:cubicBezTo>
                  <a:cubicBezTo>
                    <a:pt x="226" y="0"/>
                    <a:pt x="226" y="0"/>
                    <a:pt x="226" y="0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2" y="25"/>
                    <a:pt x="4" y="31"/>
                    <a:pt x="6" y="37"/>
                  </a:cubicBezTo>
                  <a:lnTo>
                    <a:pt x="221" y="4"/>
                  </a:lnTo>
                  <a:close/>
                </a:path>
              </a:pathLst>
            </a:custGeom>
            <a:solidFill>
              <a:srgbClr val="8562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7" name="Freeform 24"/>
            <p:cNvSpPr>
              <a:spLocks/>
            </p:cNvSpPr>
            <p:nvPr userDrawn="1"/>
          </p:nvSpPr>
          <p:spPr bwMode="auto">
            <a:xfrm>
              <a:off x="8778334" y="2017152"/>
              <a:ext cx="208517" cy="96537"/>
            </a:xfrm>
            <a:custGeom>
              <a:avLst/>
              <a:gdLst>
                <a:gd name="T0" fmla="*/ 77 w 77"/>
                <a:gd name="T1" fmla="*/ 24 h 36"/>
                <a:gd name="T2" fmla="*/ 65 w 77"/>
                <a:gd name="T3" fmla="*/ 36 h 36"/>
                <a:gd name="T4" fmla="*/ 12 w 77"/>
                <a:gd name="T5" fmla="*/ 36 h 36"/>
                <a:gd name="T6" fmla="*/ 0 w 77"/>
                <a:gd name="T7" fmla="*/ 24 h 36"/>
                <a:gd name="T8" fmla="*/ 0 w 77"/>
                <a:gd name="T9" fmla="*/ 11 h 36"/>
                <a:gd name="T10" fmla="*/ 12 w 77"/>
                <a:gd name="T11" fmla="*/ 0 h 36"/>
                <a:gd name="T12" fmla="*/ 65 w 77"/>
                <a:gd name="T13" fmla="*/ 0 h 36"/>
                <a:gd name="T14" fmla="*/ 77 w 77"/>
                <a:gd name="T15" fmla="*/ 11 h 36"/>
                <a:gd name="T16" fmla="*/ 77 w 77"/>
                <a:gd name="T17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" h="36">
                  <a:moveTo>
                    <a:pt x="77" y="24"/>
                  </a:moveTo>
                  <a:cubicBezTo>
                    <a:pt x="77" y="31"/>
                    <a:pt x="71" y="36"/>
                    <a:pt x="65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6" y="36"/>
                    <a:pt x="0" y="31"/>
                    <a:pt x="0" y="24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5"/>
                    <a:pt x="6" y="0"/>
                    <a:pt x="12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71" y="0"/>
                    <a:pt x="77" y="5"/>
                    <a:pt x="77" y="11"/>
                  </a:cubicBezTo>
                  <a:lnTo>
                    <a:pt x="77" y="24"/>
                  </a:lnTo>
                  <a:close/>
                </a:path>
              </a:pathLst>
            </a:custGeom>
            <a:solidFill>
              <a:srgbClr val="5C2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8" name="Freeform 25"/>
            <p:cNvSpPr>
              <a:spLocks/>
            </p:cNvSpPr>
            <p:nvPr userDrawn="1"/>
          </p:nvSpPr>
          <p:spPr bwMode="auto">
            <a:xfrm>
              <a:off x="8921205" y="2017152"/>
              <a:ext cx="65645" cy="247131"/>
            </a:xfrm>
            <a:custGeom>
              <a:avLst/>
              <a:gdLst>
                <a:gd name="T0" fmla="*/ 12 w 24"/>
                <a:gd name="T1" fmla="*/ 0 h 92"/>
                <a:gd name="T2" fmla="*/ 0 w 24"/>
                <a:gd name="T3" fmla="*/ 0 h 92"/>
                <a:gd name="T4" fmla="*/ 12 w 24"/>
                <a:gd name="T5" fmla="*/ 11 h 92"/>
                <a:gd name="T6" fmla="*/ 12 w 24"/>
                <a:gd name="T7" fmla="*/ 80 h 92"/>
                <a:gd name="T8" fmla="*/ 0 w 24"/>
                <a:gd name="T9" fmla="*/ 92 h 92"/>
                <a:gd name="T10" fmla="*/ 12 w 24"/>
                <a:gd name="T11" fmla="*/ 92 h 92"/>
                <a:gd name="T12" fmla="*/ 24 w 24"/>
                <a:gd name="T13" fmla="*/ 80 h 92"/>
                <a:gd name="T14" fmla="*/ 24 w 24"/>
                <a:gd name="T15" fmla="*/ 11 h 92"/>
                <a:gd name="T16" fmla="*/ 12 w 24"/>
                <a:gd name="T17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92">
                  <a:moveTo>
                    <a:pt x="1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12" y="5"/>
                    <a:pt x="12" y="11"/>
                  </a:cubicBezTo>
                  <a:cubicBezTo>
                    <a:pt x="12" y="80"/>
                    <a:pt x="12" y="80"/>
                    <a:pt x="12" y="80"/>
                  </a:cubicBezTo>
                  <a:cubicBezTo>
                    <a:pt x="12" y="86"/>
                    <a:pt x="7" y="92"/>
                    <a:pt x="0" y="92"/>
                  </a:cubicBezTo>
                  <a:cubicBezTo>
                    <a:pt x="12" y="92"/>
                    <a:pt x="12" y="92"/>
                    <a:pt x="12" y="92"/>
                  </a:cubicBezTo>
                  <a:cubicBezTo>
                    <a:pt x="18" y="92"/>
                    <a:pt x="24" y="86"/>
                    <a:pt x="24" y="80"/>
                  </a:cubicBezTo>
                  <a:cubicBezTo>
                    <a:pt x="24" y="11"/>
                    <a:pt x="24" y="11"/>
                    <a:pt x="24" y="11"/>
                  </a:cubicBezTo>
                  <a:cubicBezTo>
                    <a:pt x="24" y="5"/>
                    <a:pt x="18" y="0"/>
                    <a:pt x="12" y="0"/>
                  </a:cubicBezTo>
                  <a:close/>
                </a:path>
              </a:pathLst>
            </a:custGeom>
            <a:solidFill>
              <a:srgbClr val="3214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9" name="Freeform 26"/>
            <p:cNvSpPr>
              <a:spLocks/>
            </p:cNvSpPr>
            <p:nvPr userDrawn="1"/>
          </p:nvSpPr>
          <p:spPr bwMode="auto">
            <a:xfrm>
              <a:off x="8685659" y="2051906"/>
              <a:ext cx="397727" cy="247131"/>
            </a:xfrm>
            <a:custGeom>
              <a:avLst/>
              <a:gdLst>
                <a:gd name="T0" fmla="*/ 147 w 147"/>
                <a:gd name="T1" fmla="*/ 80 h 92"/>
                <a:gd name="T2" fmla="*/ 135 w 147"/>
                <a:gd name="T3" fmla="*/ 92 h 92"/>
                <a:gd name="T4" fmla="*/ 12 w 147"/>
                <a:gd name="T5" fmla="*/ 92 h 92"/>
                <a:gd name="T6" fmla="*/ 0 w 147"/>
                <a:gd name="T7" fmla="*/ 80 h 92"/>
                <a:gd name="T8" fmla="*/ 0 w 147"/>
                <a:gd name="T9" fmla="*/ 12 h 92"/>
                <a:gd name="T10" fmla="*/ 12 w 147"/>
                <a:gd name="T11" fmla="*/ 0 h 92"/>
                <a:gd name="T12" fmla="*/ 135 w 147"/>
                <a:gd name="T13" fmla="*/ 0 h 92"/>
                <a:gd name="T14" fmla="*/ 147 w 147"/>
                <a:gd name="T15" fmla="*/ 12 h 92"/>
                <a:gd name="T16" fmla="*/ 147 w 147"/>
                <a:gd name="T17" fmla="*/ 8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7" h="92">
                  <a:moveTo>
                    <a:pt x="147" y="80"/>
                  </a:moveTo>
                  <a:cubicBezTo>
                    <a:pt x="147" y="87"/>
                    <a:pt x="142" y="92"/>
                    <a:pt x="135" y="92"/>
                  </a:cubicBezTo>
                  <a:cubicBezTo>
                    <a:pt x="12" y="92"/>
                    <a:pt x="12" y="92"/>
                    <a:pt x="12" y="92"/>
                  </a:cubicBezTo>
                  <a:cubicBezTo>
                    <a:pt x="6" y="92"/>
                    <a:pt x="0" y="87"/>
                    <a:pt x="0" y="8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6" y="0"/>
                    <a:pt x="12" y="0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42" y="0"/>
                    <a:pt x="147" y="5"/>
                    <a:pt x="147" y="12"/>
                  </a:cubicBezTo>
                  <a:lnTo>
                    <a:pt x="147" y="80"/>
                  </a:lnTo>
                  <a:close/>
                </a:path>
              </a:pathLst>
            </a:custGeom>
            <a:solidFill>
              <a:srgbClr val="5C2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0" name="Freeform 27"/>
            <p:cNvSpPr>
              <a:spLocks/>
            </p:cNvSpPr>
            <p:nvPr userDrawn="1"/>
          </p:nvSpPr>
          <p:spPr bwMode="auto">
            <a:xfrm>
              <a:off x="9021602" y="2051906"/>
              <a:ext cx="61783" cy="247131"/>
            </a:xfrm>
            <a:custGeom>
              <a:avLst/>
              <a:gdLst>
                <a:gd name="T0" fmla="*/ 11 w 23"/>
                <a:gd name="T1" fmla="*/ 0 h 92"/>
                <a:gd name="T2" fmla="*/ 0 w 23"/>
                <a:gd name="T3" fmla="*/ 0 h 92"/>
                <a:gd name="T4" fmla="*/ 11 w 23"/>
                <a:gd name="T5" fmla="*/ 12 h 92"/>
                <a:gd name="T6" fmla="*/ 11 w 23"/>
                <a:gd name="T7" fmla="*/ 80 h 92"/>
                <a:gd name="T8" fmla="*/ 0 w 23"/>
                <a:gd name="T9" fmla="*/ 92 h 92"/>
                <a:gd name="T10" fmla="*/ 11 w 23"/>
                <a:gd name="T11" fmla="*/ 92 h 92"/>
                <a:gd name="T12" fmla="*/ 23 w 23"/>
                <a:gd name="T13" fmla="*/ 80 h 92"/>
                <a:gd name="T14" fmla="*/ 23 w 23"/>
                <a:gd name="T15" fmla="*/ 12 h 92"/>
                <a:gd name="T16" fmla="*/ 11 w 23"/>
                <a:gd name="T17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92">
                  <a:moveTo>
                    <a:pt x="1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" y="0"/>
                    <a:pt x="11" y="5"/>
                    <a:pt x="11" y="12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11" y="87"/>
                    <a:pt x="6" y="92"/>
                    <a:pt x="0" y="92"/>
                  </a:cubicBezTo>
                  <a:cubicBezTo>
                    <a:pt x="11" y="92"/>
                    <a:pt x="11" y="92"/>
                    <a:pt x="11" y="92"/>
                  </a:cubicBezTo>
                  <a:cubicBezTo>
                    <a:pt x="18" y="92"/>
                    <a:pt x="23" y="87"/>
                    <a:pt x="23" y="80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3" y="5"/>
                    <a:pt x="18" y="0"/>
                    <a:pt x="11" y="0"/>
                  </a:cubicBezTo>
                  <a:close/>
                </a:path>
              </a:pathLst>
            </a:custGeom>
            <a:solidFill>
              <a:srgbClr val="3214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1" name="Oval 28"/>
            <p:cNvSpPr>
              <a:spLocks noChangeArrowheads="1"/>
            </p:cNvSpPr>
            <p:nvPr userDrawn="1"/>
          </p:nvSpPr>
          <p:spPr bwMode="auto">
            <a:xfrm>
              <a:off x="8782194" y="2086657"/>
              <a:ext cx="181488" cy="181488"/>
            </a:xfrm>
            <a:prstGeom prst="ellipse">
              <a:avLst/>
            </a:prstGeom>
            <a:solidFill>
              <a:srgbClr val="ADAD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2" name="Oval 29"/>
            <p:cNvSpPr>
              <a:spLocks noChangeArrowheads="1"/>
            </p:cNvSpPr>
            <p:nvPr userDrawn="1"/>
          </p:nvSpPr>
          <p:spPr bwMode="auto">
            <a:xfrm>
              <a:off x="8793779" y="2094380"/>
              <a:ext cx="158319" cy="16218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3" name="Freeform 30"/>
            <p:cNvSpPr>
              <a:spLocks/>
            </p:cNvSpPr>
            <p:nvPr userDrawn="1"/>
          </p:nvSpPr>
          <p:spPr bwMode="auto">
            <a:xfrm>
              <a:off x="8813085" y="2094380"/>
              <a:ext cx="139011" cy="139011"/>
            </a:xfrm>
            <a:custGeom>
              <a:avLst/>
              <a:gdLst>
                <a:gd name="T0" fmla="*/ 51 w 51"/>
                <a:gd name="T1" fmla="*/ 30 h 51"/>
                <a:gd name="T2" fmla="*/ 21 w 51"/>
                <a:gd name="T3" fmla="*/ 0 h 51"/>
                <a:gd name="T4" fmla="*/ 0 w 51"/>
                <a:gd name="T5" fmla="*/ 9 h 51"/>
                <a:gd name="T6" fmla="*/ 42 w 51"/>
                <a:gd name="T7" fmla="*/ 51 h 51"/>
                <a:gd name="T8" fmla="*/ 51 w 51"/>
                <a:gd name="T9" fmla="*/ 3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51">
                  <a:moveTo>
                    <a:pt x="51" y="30"/>
                  </a:moveTo>
                  <a:cubicBezTo>
                    <a:pt x="51" y="14"/>
                    <a:pt x="38" y="0"/>
                    <a:pt x="21" y="0"/>
                  </a:cubicBezTo>
                  <a:cubicBezTo>
                    <a:pt x="13" y="0"/>
                    <a:pt x="6" y="4"/>
                    <a:pt x="0" y="9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8" y="46"/>
                    <a:pt x="51" y="38"/>
                    <a:pt x="51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4" name="Oval 31"/>
            <p:cNvSpPr>
              <a:spLocks noChangeArrowheads="1"/>
            </p:cNvSpPr>
            <p:nvPr userDrawn="1"/>
          </p:nvSpPr>
          <p:spPr bwMode="auto">
            <a:xfrm>
              <a:off x="8894176" y="2144580"/>
              <a:ext cx="19308" cy="1930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5" name="Rectangle 32"/>
            <p:cNvSpPr>
              <a:spLocks noChangeArrowheads="1"/>
            </p:cNvSpPr>
            <p:nvPr userDrawn="1"/>
          </p:nvSpPr>
          <p:spPr bwMode="auto">
            <a:xfrm>
              <a:off x="8963682" y="2078934"/>
              <a:ext cx="57923" cy="34754"/>
            </a:xfrm>
            <a:prstGeom prst="rect">
              <a:avLst/>
            </a:prstGeom>
            <a:solidFill>
              <a:srgbClr val="B400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6" name="Rectangle 33"/>
            <p:cNvSpPr>
              <a:spLocks noChangeArrowheads="1"/>
            </p:cNvSpPr>
            <p:nvPr userDrawn="1"/>
          </p:nvSpPr>
          <p:spPr bwMode="auto">
            <a:xfrm>
              <a:off x="8963682" y="2078934"/>
              <a:ext cx="19308" cy="34754"/>
            </a:xfrm>
            <a:prstGeom prst="rect">
              <a:avLst/>
            </a:prstGeom>
            <a:solidFill>
              <a:srgbClr val="C740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7" name="Oval 34"/>
            <p:cNvSpPr>
              <a:spLocks noChangeArrowheads="1"/>
            </p:cNvSpPr>
            <p:nvPr userDrawn="1"/>
          </p:nvSpPr>
          <p:spPr bwMode="auto">
            <a:xfrm>
              <a:off x="8816948" y="2121411"/>
              <a:ext cx="111982" cy="111982"/>
            </a:xfrm>
            <a:prstGeom prst="ellipse">
              <a:avLst/>
            </a:prstGeom>
            <a:solidFill>
              <a:srgbClr val="B400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8" name="Freeform 35"/>
            <p:cNvSpPr>
              <a:spLocks/>
            </p:cNvSpPr>
            <p:nvPr userDrawn="1"/>
          </p:nvSpPr>
          <p:spPr bwMode="auto">
            <a:xfrm>
              <a:off x="8793779" y="2121411"/>
              <a:ext cx="135151" cy="135151"/>
            </a:xfrm>
            <a:custGeom>
              <a:avLst/>
              <a:gdLst>
                <a:gd name="T0" fmla="*/ 8 w 50"/>
                <a:gd name="T1" fmla="*/ 0 h 51"/>
                <a:gd name="T2" fmla="*/ 0 w 50"/>
                <a:gd name="T3" fmla="*/ 21 h 51"/>
                <a:gd name="T4" fmla="*/ 29 w 50"/>
                <a:gd name="T5" fmla="*/ 51 h 51"/>
                <a:gd name="T6" fmla="*/ 50 w 50"/>
                <a:gd name="T7" fmla="*/ 42 h 51"/>
                <a:gd name="T8" fmla="*/ 44 w 50"/>
                <a:gd name="T9" fmla="*/ 36 h 51"/>
                <a:gd name="T10" fmla="*/ 29 w 50"/>
                <a:gd name="T11" fmla="*/ 42 h 51"/>
                <a:gd name="T12" fmla="*/ 9 w 50"/>
                <a:gd name="T13" fmla="*/ 21 h 51"/>
                <a:gd name="T14" fmla="*/ 15 w 50"/>
                <a:gd name="T15" fmla="*/ 7 h 51"/>
                <a:gd name="T16" fmla="*/ 8 w 50"/>
                <a:gd name="T17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" h="51">
                  <a:moveTo>
                    <a:pt x="8" y="0"/>
                  </a:moveTo>
                  <a:cubicBezTo>
                    <a:pt x="3" y="5"/>
                    <a:pt x="0" y="13"/>
                    <a:pt x="0" y="21"/>
                  </a:cubicBezTo>
                  <a:cubicBezTo>
                    <a:pt x="0" y="38"/>
                    <a:pt x="13" y="51"/>
                    <a:pt x="29" y="51"/>
                  </a:cubicBezTo>
                  <a:cubicBezTo>
                    <a:pt x="37" y="51"/>
                    <a:pt x="45" y="48"/>
                    <a:pt x="50" y="42"/>
                  </a:cubicBezTo>
                  <a:cubicBezTo>
                    <a:pt x="44" y="36"/>
                    <a:pt x="44" y="36"/>
                    <a:pt x="44" y="36"/>
                  </a:cubicBezTo>
                  <a:cubicBezTo>
                    <a:pt x="40" y="39"/>
                    <a:pt x="35" y="42"/>
                    <a:pt x="29" y="42"/>
                  </a:cubicBezTo>
                  <a:cubicBezTo>
                    <a:pt x="18" y="42"/>
                    <a:pt x="9" y="32"/>
                    <a:pt x="9" y="21"/>
                  </a:cubicBezTo>
                  <a:cubicBezTo>
                    <a:pt x="9" y="15"/>
                    <a:pt x="11" y="10"/>
                    <a:pt x="15" y="7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solidFill>
              <a:srgbClr val="C6C6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9" name="Freeform 36"/>
            <p:cNvSpPr>
              <a:spLocks/>
            </p:cNvSpPr>
            <p:nvPr userDrawn="1"/>
          </p:nvSpPr>
          <p:spPr bwMode="auto">
            <a:xfrm>
              <a:off x="8816948" y="2140717"/>
              <a:ext cx="92674" cy="92674"/>
            </a:xfrm>
            <a:custGeom>
              <a:avLst/>
              <a:gdLst>
                <a:gd name="T0" fmla="*/ 6 w 35"/>
                <a:gd name="T1" fmla="*/ 0 h 35"/>
                <a:gd name="T2" fmla="*/ 0 w 35"/>
                <a:gd name="T3" fmla="*/ 14 h 35"/>
                <a:gd name="T4" fmla="*/ 20 w 35"/>
                <a:gd name="T5" fmla="*/ 35 h 35"/>
                <a:gd name="T6" fmla="*/ 35 w 35"/>
                <a:gd name="T7" fmla="*/ 29 h 35"/>
                <a:gd name="T8" fmla="*/ 6 w 35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35">
                  <a:moveTo>
                    <a:pt x="6" y="0"/>
                  </a:moveTo>
                  <a:cubicBezTo>
                    <a:pt x="2" y="3"/>
                    <a:pt x="0" y="8"/>
                    <a:pt x="0" y="14"/>
                  </a:cubicBezTo>
                  <a:cubicBezTo>
                    <a:pt x="0" y="25"/>
                    <a:pt x="9" y="35"/>
                    <a:pt x="20" y="35"/>
                  </a:cubicBezTo>
                  <a:cubicBezTo>
                    <a:pt x="26" y="35"/>
                    <a:pt x="31" y="32"/>
                    <a:pt x="35" y="29"/>
                  </a:cubicBezTo>
                  <a:cubicBezTo>
                    <a:pt x="6" y="0"/>
                    <a:pt x="6" y="0"/>
                    <a:pt x="6" y="0"/>
                  </a:cubicBezTo>
                </a:path>
              </a:pathLst>
            </a:custGeom>
            <a:solidFill>
              <a:srgbClr val="A500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0" name="Freeform 37"/>
            <p:cNvSpPr>
              <a:spLocks/>
            </p:cNvSpPr>
            <p:nvPr userDrawn="1"/>
          </p:nvSpPr>
          <p:spPr bwMode="auto">
            <a:xfrm>
              <a:off x="10017848" y="3326175"/>
              <a:ext cx="73368" cy="258716"/>
            </a:xfrm>
            <a:custGeom>
              <a:avLst/>
              <a:gdLst>
                <a:gd name="T0" fmla="*/ 15 w 27"/>
                <a:gd name="T1" fmla="*/ 0 h 96"/>
                <a:gd name="T2" fmla="*/ 0 w 27"/>
                <a:gd name="T3" fmla="*/ 0 h 96"/>
                <a:gd name="T4" fmla="*/ 12 w 27"/>
                <a:gd name="T5" fmla="*/ 14 h 96"/>
                <a:gd name="T6" fmla="*/ 11 w 27"/>
                <a:gd name="T7" fmla="*/ 96 h 96"/>
                <a:gd name="T8" fmla="*/ 27 w 27"/>
                <a:gd name="T9" fmla="*/ 96 h 96"/>
                <a:gd name="T10" fmla="*/ 27 w 27"/>
                <a:gd name="T11" fmla="*/ 28 h 96"/>
                <a:gd name="T12" fmla="*/ 27 w 27"/>
                <a:gd name="T13" fmla="*/ 28 h 96"/>
                <a:gd name="T14" fmla="*/ 27 w 27"/>
                <a:gd name="T15" fmla="*/ 13 h 96"/>
                <a:gd name="T16" fmla="*/ 15 w 27"/>
                <a:gd name="T17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96">
                  <a:moveTo>
                    <a:pt x="1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6" y="2"/>
                    <a:pt x="12" y="7"/>
                    <a:pt x="12" y="14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27" y="96"/>
                    <a:pt x="27" y="96"/>
                    <a:pt x="27" y="96"/>
                  </a:cubicBezTo>
                  <a:cubicBezTo>
                    <a:pt x="27" y="28"/>
                    <a:pt x="27" y="28"/>
                    <a:pt x="27" y="28"/>
                  </a:cubicBezTo>
                  <a:cubicBezTo>
                    <a:pt x="27" y="28"/>
                    <a:pt x="27" y="28"/>
                    <a:pt x="27" y="28"/>
                  </a:cubicBezTo>
                  <a:cubicBezTo>
                    <a:pt x="27" y="13"/>
                    <a:pt x="27" y="13"/>
                    <a:pt x="27" y="13"/>
                  </a:cubicBezTo>
                  <a:cubicBezTo>
                    <a:pt x="26" y="7"/>
                    <a:pt x="22" y="2"/>
                    <a:pt x="15" y="0"/>
                  </a:cubicBezTo>
                  <a:close/>
                </a:path>
              </a:pathLst>
            </a:custGeom>
            <a:solidFill>
              <a:srgbClr val="3214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1" name="Freeform 38"/>
            <p:cNvSpPr>
              <a:spLocks/>
            </p:cNvSpPr>
            <p:nvPr userDrawn="1"/>
          </p:nvSpPr>
          <p:spPr bwMode="auto">
            <a:xfrm>
              <a:off x="10017848" y="3584889"/>
              <a:ext cx="73368" cy="77228"/>
            </a:xfrm>
            <a:custGeom>
              <a:avLst/>
              <a:gdLst>
                <a:gd name="T0" fmla="*/ 12 w 28"/>
                <a:gd name="T1" fmla="*/ 0 h 29"/>
                <a:gd name="T2" fmla="*/ 12 w 28"/>
                <a:gd name="T3" fmla="*/ 14 h 29"/>
                <a:gd name="T4" fmla="*/ 0 w 28"/>
                <a:gd name="T5" fmla="*/ 28 h 29"/>
                <a:gd name="T6" fmla="*/ 1 w 28"/>
                <a:gd name="T7" fmla="*/ 29 h 29"/>
                <a:gd name="T8" fmla="*/ 16 w 28"/>
                <a:gd name="T9" fmla="*/ 28 h 29"/>
                <a:gd name="T10" fmla="*/ 28 w 28"/>
                <a:gd name="T11" fmla="*/ 14 h 29"/>
                <a:gd name="T12" fmla="*/ 28 w 28"/>
                <a:gd name="T13" fmla="*/ 0 h 29"/>
                <a:gd name="T14" fmla="*/ 12 w 28"/>
                <a:gd name="T15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29">
                  <a:moveTo>
                    <a:pt x="12" y="0"/>
                  </a:moveTo>
                  <a:cubicBezTo>
                    <a:pt x="12" y="14"/>
                    <a:pt x="12" y="14"/>
                    <a:pt x="12" y="14"/>
                  </a:cubicBezTo>
                  <a:cubicBezTo>
                    <a:pt x="12" y="21"/>
                    <a:pt x="7" y="27"/>
                    <a:pt x="0" y="28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23" y="27"/>
                    <a:pt x="28" y="21"/>
                    <a:pt x="28" y="14"/>
                  </a:cubicBezTo>
                  <a:cubicBezTo>
                    <a:pt x="28" y="0"/>
                    <a:pt x="28" y="0"/>
                    <a:pt x="28" y="0"/>
                  </a:cubicBezTo>
                  <a:lnTo>
                    <a:pt x="12" y="0"/>
                  </a:lnTo>
                  <a:close/>
                </a:path>
              </a:pathLst>
            </a:custGeom>
            <a:solidFill>
              <a:srgbClr val="DEDE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2" name="Freeform 39"/>
            <p:cNvSpPr>
              <a:spLocks/>
            </p:cNvSpPr>
            <p:nvPr userDrawn="1"/>
          </p:nvSpPr>
          <p:spPr bwMode="auto">
            <a:xfrm>
              <a:off x="9762994" y="3584889"/>
              <a:ext cx="297331" cy="77228"/>
            </a:xfrm>
            <a:custGeom>
              <a:avLst/>
              <a:gdLst>
                <a:gd name="T0" fmla="*/ 0 w 110"/>
                <a:gd name="T1" fmla="*/ 14 h 29"/>
                <a:gd name="T2" fmla="*/ 15 w 110"/>
                <a:gd name="T3" fmla="*/ 29 h 29"/>
                <a:gd name="T4" fmla="*/ 96 w 110"/>
                <a:gd name="T5" fmla="*/ 29 h 29"/>
                <a:gd name="T6" fmla="*/ 110 w 110"/>
                <a:gd name="T7" fmla="*/ 14 h 29"/>
                <a:gd name="T8" fmla="*/ 110 w 110"/>
                <a:gd name="T9" fmla="*/ 0 h 29"/>
                <a:gd name="T10" fmla="*/ 0 w 110"/>
                <a:gd name="T11" fmla="*/ 0 h 29"/>
                <a:gd name="T12" fmla="*/ 0 w 110"/>
                <a:gd name="T13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" h="29">
                  <a:moveTo>
                    <a:pt x="0" y="14"/>
                  </a:moveTo>
                  <a:cubicBezTo>
                    <a:pt x="0" y="22"/>
                    <a:pt x="7" y="29"/>
                    <a:pt x="15" y="29"/>
                  </a:cubicBezTo>
                  <a:cubicBezTo>
                    <a:pt x="96" y="29"/>
                    <a:pt x="96" y="29"/>
                    <a:pt x="96" y="29"/>
                  </a:cubicBezTo>
                  <a:cubicBezTo>
                    <a:pt x="104" y="29"/>
                    <a:pt x="110" y="22"/>
                    <a:pt x="110" y="14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3" name="Freeform 40"/>
            <p:cNvSpPr>
              <a:spLocks/>
            </p:cNvSpPr>
            <p:nvPr userDrawn="1"/>
          </p:nvSpPr>
          <p:spPr bwMode="auto">
            <a:xfrm>
              <a:off x="9762994" y="3326175"/>
              <a:ext cx="297331" cy="258716"/>
            </a:xfrm>
            <a:custGeom>
              <a:avLst/>
              <a:gdLst>
                <a:gd name="T0" fmla="*/ 96 w 110"/>
                <a:gd name="T1" fmla="*/ 0 h 96"/>
                <a:gd name="T2" fmla="*/ 15 w 110"/>
                <a:gd name="T3" fmla="*/ 0 h 96"/>
                <a:gd name="T4" fmla="*/ 0 w 110"/>
                <a:gd name="T5" fmla="*/ 15 h 96"/>
                <a:gd name="T6" fmla="*/ 0 w 110"/>
                <a:gd name="T7" fmla="*/ 96 h 96"/>
                <a:gd name="T8" fmla="*/ 110 w 110"/>
                <a:gd name="T9" fmla="*/ 96 h 96"/>
                <a:gd name="T10" fmla="*/ 110 w 110"/>
                <a:gd name="T11" fmla="*/ 15 h 96"/>
                <a:gd name="T12" fmla="*/ 96 w 110"/>
                <a:gd name="T13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" h="96">
                  <a:moveTo>
                    <a:pt x="96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110" y="96"/>
                    <a:pt x="110" y="96"/>
                    <a:pt x="110" y="96"/>
                  </a:cubicBezTo>
                  <a:cubicBezTo>
                    <a:pt x="110" y="15"/>
                    <a:pt x="110" y="15"/>
                    <a:pt x="110" y="15"/>
                  </a:cubicBezTo>
                  <a:cubicBezTo>
                    <a:pt x="110" y="7"/>
                    <a:pt x="104" y="0"/>
                    <a:pt x="96" y="0"/>
                  </a:cubicBezTo>
                  <a:close/>
                </a:path>
              </a:pathLst>
            </a:custGeom>
            <a:solidFill>
              <a:srgbClr val="5C2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4" name="Oval 41"/>
            <p:cNvSpPr>
              <a:spLocks noChangeArrowheads="1"/>
            </p:cNvSpPr>
            <p:nvPr userDrawn="1"/>
          </p:nvSpPr>
          <p:spPr bwMode="auto">
            <a:xfrm>
              <a:off x="9824777" y="3372512"/>
              <a:ext cx="173765" cy="16990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5" name="Freeform 42"/>
            <p:cNvSpPr>
              <a:spLocks/>
            </p:cNvSpPr>
            <p:nvPr userDrawn="1"/>
          </p:nvSpPr>
          <p:spPr bwMode="auto">
            <a:xfrm>
              <a:off x="9886560" y="3407263"/>
              <a:ext cx="69506" cy="96537"/>
            </a:xfrm>
            <a:custGeom>
              <a:avLst/>
              <a:gdLst>
                <a:gd name="T0" fmla="*/ 18 w 18"/>
                <a:gd name="T1" fmla="*/ 12 h 25"/>
                <a:gd name="T2" fmla="*/ 0 w 18"/>
                <a:gd name="T3" fmla="*/ 25 h 25"/>
                <a:gd name="T4" fmla="*/ 0 w 18"/>
                <a:gd name="T5" fmla="*/ 0 h 25"/>
                <a:gd name="T6" fmla="*/ 18 w 18"/>
                <a:gd name="T7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5">
                  <a:moveTo>
                    <a:pt x="18" y="12"/>
                  </a:moveTo>
                  <a:lnTo>
                    <a:pt x="0" y="25"/>
                  </a:lnTo>
                  <a:lnTo>
                    <a:pt x="0" y="0"/>
                  </a:lnTo>
                  <a:lnTo>
                    <a:pt x="18" y="12"/>
                  </a:lnTo>
                  <a:close/>
                </a:path>
              </a:pathLst>
            </a:custGeom>
            <a:solidFill>
              <a:srgbClr val="D400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6" name="Freeform 43"/>
            <p:cNvSpPr>
              <a:spLocks/>
            </p:cNvSpPr>
            <p:nvPr userDrawn="1"/>
          </p:nvSpPr>
          <p:spPr bwMode="auto">
            <a:xfrm>
              <a:off x="9886560" y="3407263"/>
              <a:ext cx="69506" cy="96537"/>
            </a:xfrm>
            <a:custGeom>
              <a:avLst/>
              <a:gdLst>
                <a:gd name="T0" fmla="*/ 18 w 18"/>
                <a:gd name="T1" fmla="*/ 12 h 25"/>
                <a:gd name="T2" fmla="*/ 0 w 18"/>
                <a:gd name="T3" fmla="*/ 25 h 25"/>
                <a:gd name="T4" fmla="*/ 0 w 18"/>
                <a:gd name="T5" fmla="*/ 0 h 25"/>
                <a:gd name="T6" fmla="*/ 18 w 18"/>
                <a:gd name="T7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5">
                  <a:moveTo>
                    <a:pt x="18" y="12"/>
                  </a:moveTo>
                  <a:lnTo>
                    <a:pt x="0" y="25"/>
                  </a:lnTo>
                  <a:lnTo>
                    <a:pt x="0" y="0"/>
                  </a:lnTo>
                  <a:lnTo>
                    <a:pt x="18" y="1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7" name="Freeform 44"/>
            <p:cNvSpPr>
              <a:spLocks/>
            </p:cNvSpPr>
            <p:nvPr userDrawn="1"/>
          </p:nvSpPr>
          <p:spPr bwMode="auto">
            <a:xfrm>
              <a:off x="9828640" y="3395680"/>
              <a:ext cx="142874" cy="146734"/>
            </a:xfrm>
            <a:custGeom>
              <a:avLst/>
              <a:gdLst>
                <a:gd name="T0" fmla="*/ 9 w 54"/>
                <a:gd name="T1" fmla="*/ 0 h 54"/>
                <a:gd name="T2" fmla="*/ 0 w 54"/>
                <a:gd name="T3" fmla="*/ 22 h 54"/>
                <a:gd name="T4" fmla="*/ 31 w 54"/>
                <a:gd name="T5" fmla="*/ 54 h 54"/>
                <a:gd name="T6" fmla="*/ 54 w 54"/>
                <a:gd name="T7" fmla="*/ 45 h 54"/>
                <a:gd name="T8" fmla="*/ 38 w 54"/>
                <a:gd name="T9" fmla="*/ 29 h 54"/>
                <a:gd name="T10" fmla="*/ 22 w 54"/>
                <a:gd name="T11" fmla="*/ 40 h 54"/>
                <a:gd name="T12" fmla="*/ 22 w 54"/>
                <a:gd name="T13" fmla="*/ 13 h 54"/>
                <a:gd name="T14" fmla="*/ 9 w 54"/>
                <a:gd name="T15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4" h="54">
                  <a:moveTo>
                    <a:pt x="9" y="0"/>
                  </a:moveTo>
                  <a:cubicBezTo>
                    <a:pt x="3" y="6"/>
                    <a:pt x="0" y="14"/>
                    <a:pt x="0" y="22"/>
                  </a:cubicBezTo>
                  <a:cubicBezTo>
                    <a:pt x="0" y="40"/>
                    <a:pt x="14" y="54"/>
                    <a:pt x="31" y="54"/>
                  </a:cubicBezTo>
                  <a:cubicBezTo>
                    <a:pt x="40" y="54"/>
                    <a:pt x="48" y="51"/>
                    <a:pt x="54" y="45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22" y="40"/>
                    <a:pt x="22" y="40"/>
                    <a:pt x="22" y="40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9" y="0"/>
                    <a:pt x="9" y="0"/>
                    <a:pt x="9" y="0"/>
                  </a:cubicBezTo>
                </a:path>
              </a:pathLst>
            </a:custGeom>
            <a:solidFill>
              <a:srgbClr val="DEDE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8" name="Freeform 45"/>
            <p:cNvSpPr>
              <a:spLocks/>
            </p:cNvSpPr>
            <p:nvPr userDrawn="1"/>
          </p:nvSpPr>
          <p:spPr bwMode="auto">
            <a:xfrm>
              <a:off x="9886560" y="3430432"/>
              <a:ext cx="42477" cy="73368"/>
            </a:xfrm>
            <a:custGeom>
              <a:avLst/>
              <a:gdLst>
                <a:gd name="T0" fmla="*/ 0 w 11"/>
                <a:gd name="T1" fmla="*/ 0 h 19"/>
                <a:gd name="T2" fmla="*/ 0 w 11"/>
                <a:gd name="T3" fmla="*/ 19 h 19"/>
                <a:gd name="T4" fmla="*/ 11 w 11"/>
                <a:gd name="T5" fmla="*/ 11 h 19"/>
                <a:gd name="T6" fmla="*/ 0 w 11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19">
                  <a:moveTo>
                    <a:pt x="0" y="0"/>
                  </a:moveTo>
                  <a:lnTo>
                    <a:pt x="0" y="19"/>
                  </a:lnTo>
                  <a:lnTo>
                    <a:pt x="11" y="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A40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9" name="Freeform 46"/>
            <p:cNvSpPr>
              <a:spLocks/>
            </p:cNvSpPr>
            <p:nvPr userDrawn="1"/>
          </p:nvSpPr>
          <p:spPr bwMode="auto">
            <a:xfrm>
              <a:off x="9886560" y="3430432"/>
              <a:ext cx="42477" cy="73368"/>
            </a:xfrm>
            <a:custGeom>
              <a:avLst/>
              <a:gdLst>
                <a:gd name="T0" fmla="*/ 0 w 11"/>
                <a:gd name="T1" fmla="*/ 0 h 19"/>
                <a:gd name="T2" fmla="*/ 0 w 11"/>
                <a:gd name="T3" fmla="*/ 19 h 19"/>
                <a:gd name="T4" fmla="*/ 11 w 11"/>
                <a:gd name="T5" fmla="*/ 11 h 19"/>
                <a:gd name="T6" fmla="*/ 0 w 11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19">
                  <a:moveTo>
                    <a:pt x="0" y="0"/>
                  </a:moveTo>
                  <a:lnTo>
                    <a:pt x="0" y="19"/>
                  </a:lnTo>
                  <a:lnTo>
                    <a:pt x="11" y="1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0" name="Oval 47"/>
            <p:cNvSpPr>
              <a:spLocks noChangeArrowheads="1"/>
            </p:cNvSpPr>
            <p:nvPr userDrawn="1"/>
          </p:nvSpPr>
          <p:spPr bwMode="auto">
            <a:xfrm>
              <a:off x="9801609" y="3608057"/>
              <a:ext cx="27031" cy="27031"/>
            </a:xfrm>
            <a:prstGeom prst="ellipse">
              <a:avLst/>
            </a:prstGeom>
            <a:solidFill>
              <a:srgbClr val="5C00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1" name="Oval 48"/>
            <p:cNvSpPr>
              <a:spLocks noChangeArrowheads="1"/>
            </p:cNvSpPr>
            <p:nvPr userDrawn="1"/>
          </p:nvSpPr>
          <p:spPr bwMode="auto">
            <a:xfrm>
              <a:off x="9847946" y="3608057"/>
              <a:ext cx="27031" cy="27031"/>
            </a:xfrm>
            <a:prstGeom prst="ellipse">
              <a:avLst/>
            </a:prstGeom>
            <a:solidFill>
              <a:srgbClr val="5C00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2" name="Oval 49"/>
            <p:cNvSpPr>
              <a:spLocks noChangeArrowheads="1"/>
            </p:cNvSpPr>
            <p:nvPr userDrawn="1"/>
          </p:nvSpPr>
          <p:spPr bwMode="auto">
            <a:xfrm>
              <a:off x="9898145" y="3608057"/>
              <a:ext cx="27031" cy="27031"/>
            </a:xfrm>
            <a:prstGeom prst="ellipse">
              <a:avLst/>
            </a:prstGeom>
            <a:solidFill>
              <a:srgbClr val="5C00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3" name="Oval 50"/>
            <p:cNvSpPr>
              <a:spLocks noChangeArrowheads="1"/>
            </p:cNvSpPr>
            <p:nvPr userDrawn="1"/>
          </p:nvSpPr>
          <p:spPr bwMode="auto">
            <a:xfrm>
              <a:off x="9944482" y="3608057"/>
              <a:ext cx="27031" cy="27031"/>
            </a:xfrm>
            <a:prstGeom prst="ellipse">
              <a:avLst/>
            </a:prstGeom>
            <a:solidFill>
              <a:srgbClr val="5C00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4" name="Oval 51"/>
            <p:cNvSpPr>
              <a:spLocks noChangeArrowheads="1"/>
            </p:cNvSpPr>
            <p:nvPr userDrawn="1"/>
          </p:nvSpPr>
          <p:spPr bwMode="auto">
            <a:xfrm>
              <a:off x="9998542" y="3608057"/>
              <a:ext cx="23169" cy="27031"/>
            </a:xfrm>
            <a:prstGeom prst="ellipse">
              <a:avLst/>
            </a:prstGeom>
            <a:solidFill>
              <a:srgbClr val="5C00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5" name="Freeform 52"/>
            <p:cNvSpPr>
              <a:spLocks/>
            </p:cNvSpPr>
            <p:nvPr userDrawn="1"/>
          </p:nvSpPr>
          <p:spPr bwMode="auto">
            <a:xfrm>
              <a:off x="9654875" y="2550028"/>
              <a:ext cx="417033" cy="173765"/>
            </a:xfrm>
            <a:custGeom>
              <a:avLst/>
              <a:gdLst>
                <a:gd name="T0" fmla="*/ 0 w 155"/>
                <a:gd name="T1" fmla="*/ 0 h 64"/>
                <a:gd name="T2" fmla="*/ 0 w 155"/>
                <a:gd name="T3" fmla="*/ 48 h 64"/>
                <a:gd name="T4" fmla="*/ 77 w 155"/>
                <a:gd name="T5" fmla="*/ 64 h 64"/>
                <a:gd name="T6" fmla="*/ 155 w 155"/>
                <a:gd name="T7" fmla="*/ 48 h 64"/>
                <a:gd name="T8" fmla="*/ 155 w 155"/>
                <a:gd name="T9" fmla="*/ 0 h 64"/>
                <a:gd name="T10" fmla="*/ 77 w 155"/>
                <a:gd name="T11" fmla="*/ 14 h 64"/>
                <a:gd name="T12" fmla="*/ 0 w 155"/>
                <a:gd name="T13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5" h="64">
                  <a:moveTo>
                    <a:pt x="0" y="0"/>
                  </a:moveTo>
                  <a:cubicBezTo>
                    <a:pt x="0" y="48"/>
                    <a:pt x="0" y="48"/>
                    <a:pt x="0" y="48"/>
                  </a:cubicBezTo>
                  <a:cubicBezTo>
                    <a:pt x="0" y="48"/>
                    <a:pt x="24" y="64"/>
                    <a:pt x="77" y="64"/>
                  </a:cubicBezTo>
                  <a:cubicBezTo>
                    <a:pt x="130" y="64"/>
                    <a:pt x="155" y="48"/>
                    <a:pt x="155" y="48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77" y="14"/>
                    <a:pt x="77" y="14"/>
                    <a:pt x="77" y="1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5C2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6" name="Freeform 53"/>
            <p:cNvSpPr>
              <a:spLocks/>
            </p:cNvSpPr>
            <p:nvPr userDrawn="1"/>
          </p:nvSpPr>
          <p:spPr bwMode="auto">
            <a:xfrm>
              <a:off x="9508141" y="2515276"/>
              <a:ext cx="706641" cy="96537"/>
            </a:xfrm>
            <a:custGeom>
              <a:avLst/>
              <a:gdLst>
                <a:gd name="T0" fmla="*/ 92 w 183"/>
                <a:gd name="T1" fmla="*/ 16 h 25"/>
                <a:gd name="T2" fmla="*/ 0 w 183"/>
                <a:gd name="T3" fmla="*/ 0 h 25"/>
                <a:gd name="T4" fmla="*/ 0 w 183"/>
                <a:gd name="T5" fmla="*/ 7 h 25"/>
                <a:gd name="T6" fmla="*/ 92 w 183"/>
                <a:gd name="T7" fmla="*/ 25 h 25"/>
                <a:gd name="T8" fmla="*/ 183 w 183"/>
                <a:gd name="T9" fmla="*/ 7 h 25"/>
                <a:gd name="T10" fmla="*/ 183 w 183"/>
                <a:gd name="T11" fmla="*/ 0 h 25"/>
                <a:gd name="T12" fmla="*/ 92 w 183"/>
                <a:gd name="T13" fmla="*/ 16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3" h="25">
                  <a:moveTo>
                    <a:pt x="92" y="16"/>
                  </a:moveTo>
                  <a:lnTo>
                    <a:pt x="0" y="0"/>
                  </a:lnTo>
                  <a:lnTo>
                    <a:pt x="0" y="7"/>
                  </a:lnTo>
                  <a:lnTo>
                    <a:pt x="92" y="25"/>
                  </a:lnTo>
                  <a:lnTo>
                    <a:pt x="183" y="7"/>
                  </a:lnTo>
                  <a:lnTo>
                    <a:pt x="183" y="0"/>
                  </a:lnTo>
                  <a:lnTo>
                    <a:pt x="92" y="16"/>
                  </a:lnTo>
                  <a:close/>
                </a:path>
              </a:pathLst>
            </a:custGeom>
            <a:solidFill>
              <a:srgbClr val="3214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7" name="Freeform 54"/>
            <p:cNvSpPr>
              <a:spLocks/>
            </p:cNvSpPr>
            <p:nvPr userDrawn="1"/>
          </p:nvSpPr>
          <p:spPr bwMode="auto">
            <a:xfrm>
              <a:off x="9508141" y="2445771"/>
              <a:ext cx="706641" cy="142874"/>
            </a:xfrm>
            <a:custGeom>
              <a:avLst/>
              <a:gdLst>
                <a:gd name="T0" fmla="*/ 92 w 183"/>
                <a:gd name="T1" fmla="*/ 0 h 37"/>
                <a:gd name="T2" fmla="*/ 0 w 183"/>
                <a:gd name="T3" fmla="*/ 18 h 37"/>
                <a:gd name="T4" fmla="*/ 92 w 183"/>
                <a:gd name="T5" fmla="*/ 37 h 37"/>
                <a:gd name="T6" fmla="*/ 183 w 183"/>
                <a:gd name="T7" fmla="*/ 18 h 37"/>
                <a:gd name="T8" fmla="*/ 92 w 183"/>
                <a:gd name="T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" h="37">
                  <a:moveTo>
                    <a:pt x="92" y="0"/>
                  </a:moveTo>
                  <a:lnTo>
                    <a:pt x="0" y="18"/>
                  </a:lnTo>
                  <a:lnTo>
                    <a:pt x="92" y="37"/>
                  </a:lnTo>
                  <a:lnTo>
                    <a:pt x="183" y="18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rgbClr val="5C2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8" name="Freeform 55"/>
            <p:cNvSpPr>
              <a:spLocks/>
            </p:cNvSpPr>
            <p:nvPr userDrawn="1"/>
          </p:nvSpPr>
          <p:spPr bwMode="auto">
            <a:xfrm>
              <a:off x="9855669" y="2511414"/>
              <a:ext cx="185348" cy="127428"/>
            </a:xfrm>
            <a:custGeom>
              <a:avLst/>
              <a:gdLst>
                <a:gd name="T0" fmla="*/ 66 w 68"/>
                <a:gd name="T1" fmla="*/ 47 h 47"/>
                <a:gd name="T2" fmla="*/ 63 w 68"/>
                <a:gd name="T3" fmla="*/ 45 h 47"/>
                <a:gd name="T4" fmla="*/ 63 w 68"/>
                <a:gd name="T5" fmla="*/ 18 h 47"/>
                <a:gd name="T6" fmla="*/ 2 w 68"/>
                <a:gd name="T7" fmla="*/ 4 h 47"/>
                <a:gd name="T8" fmla="*/ 0 w 68"/>
                <a:gd name="T9" fmla="*/ 2 h 47"/>
                <a:gd name="T10" fmla="*/ 3 w 68"/>
                <a:gd name="T11" fmla="*/ 0 h 47"/>
                <a:gd name="T12" fmla="*/ 66 w 68"/>
                <a:gd name="T13" fmla="*/ 14 h 47"/>
                <a:gd name="T14" fmla="*/ 68 w 68"/>
                <a:gd name="T15" fmla="*/ 16 h 47"/>
                <a:gd name="T16" fmla="*/ 68 w 68"/>
                <a:gd name="T17" fmla="*/ 45 h 47"/>
                <a:gd name="T18" fmla="*/ 66 w 68"/>
                <a:gd name="T19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47">
                  <a:moveTo>
                    <a:pt x="66" y="47"/>
                  </a:moveTo>
                  <a:cubicBezTo>
                    <a:pt x="64" y="47"/>
                    <a:pt x="63" y="46"/>
                    <a:pt x="63" y="45"/>
                  </a:cubicBezTo>
                  <a:cubicBezTo>
                    <a:pt x="63" y="18"/>
                    <a:pt x="63" y="18"/>
                    <a:pt x="63" y="18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0"/>
                    <a:pt x="2" y="0"/>
                    <a:pt x="3" y="0"/>
                  </a:cubicBezTo>
                  <a:cubicBezTo>
                    <a:pt x="66" y="14"/>
                    <a:pt x="66" y="14"/>
                    <a:pt x="66" y="14"/>
                  </a:cubicBezTo>
                  <a:cubicBezTo>
                    <a:pt x="67" y="14"/>
                    <a:pt x="68" y="15"/>
                    <a:pt x="68" y="16"/>
                  </a:cubicBezTo>
                  <a:cubicBezTo>
                    <a:pt x="68" y="45"/>
                    <a:pt x="68" y="45"/>
                    <a:pt x="68" y="45"/>
                  </a:cubicBezTo>
                  <a:cubicBezTo>
                    <a:pt x="68" y="46"/>
                    <a:pt x="67" y="47"/>
                    <a:pt x="66" y="4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9" name="Oval 56"/>
            <p:cNvSpPr>
              <a:spLocks noChangeArrowheads="1"/>
            </p:cNvSpPr>
            <p:nvPr userDrawn="1"/>
          </p:nvSpPr>
          <p:spPr bwMode="auto">
            <a:xfrm>
              <a:off x="10021711" y="2623396"/>
              <a:ext cx="23169" cy="1930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0" name="Freeform 57"/>
            <p:cNvSpPr>
              <a:spLocks/>
            </p:cNvSpPr>
            <p:nvPr userDrawn="1"/>
          </p:nvSpPr>
          <p:spPr bwMode="auto">
            <a:xfrm>
              <a:off x="10021711" y="2631119"/>
              <a:ext cx="23169" cy="30891"/>
            </a:xfrm>
            <a:custGeom>
              <a:avLst/>
              <a:gdLst>
                <a:gd name="T0" fmla="*/ 6 w 6"/>
                <a:gd name="T1" fmla="*/ 8 h 8"/>
                <a:gd name="T2" fmla="*/ 0 w 6"/>
                <a:gd name="T3" fmla="*/ 8 h 8"/>
                <a:gd name="T4" fmla="*/ 2 w 6"/>
                <a:gd name="T5" fmla="*/ 0 h 8"/>
                <a:gd name="T6" fmla="*/ 4 w 6"/>
                <a:gd name="T7" fmla="*/ 0 h 8"/>
                <a:gd name="T8" fmla="*/ 6 w 6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6" y="8"/>
                  </a:moveTo>
                  <a:lnTo>
                    <a:pt x="0" y="8"/>
                  </a:lnTo>
                  <a:lnTo>
                    <a:pt x="2" y="0"/>
                  </a:lnTo>
                  <a:lnTo>
                    <a:pt x="4" y="0"/>
                  </a:lnTo>
                  <a:lnTo>
                    <a:pt x="6" y="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1" name="Freeform 58"/>
            <p:cNvSpPr>
              <a:spLocks/>
            </p:cNvSpPr>
            <p:nvPr userDrawn="1"/>
          </p:nvSpPr>
          <p:spPr bwMode="auto">
            <a:xfrm>
              <a:off x="7697136" y="2411017"/>
              <a:ext cx="436342" cy="312776"/>
            </a:xfrm>
            <a:custGeom>
              <a:avLst/>
              <a:gdLst>
                <a:gd name="T0" fmla="*/ 162 w 162"/>
                <a:gd name="T1" fmla="*/ 91 h 117"/>
                <a:gd name="T2" fmla="*/ 143 w 162"/>
                <a:gd name="T3" fmla="*/ 14 h 117"/>
                <a:gd name="T4" fmla="*/ 103 w 162"/>
                <a:gd name="T5" fmla="*/ 12 h 117"/>
                <a:gd name="T6" fmla="*/ 81 w 162"/>
                <a:gd name="T7" fmla="*/ 15 h 117"/>
                <a:gd name="T8" fmla="*/ 60 w 162"/>
                <a:gd name="T9" fmla="*/ 12 h 117"/>
                <a:gd name="T10" fmla="*/ 20 w 162"/>
                <a:gd name="T11" fmla="*/ 14 h 117"/>
                <a:gd name="T12" fmla="*/ 1 w 162"/>
                <a:gd name="T13" fmla="*/ 91 h 117"/>
                <a:gd name="T14" fmla="*/ 11 w 162"/>
                <a:gd name="T15" fmla="*/ 116 h 117"/>
                <a:gd name="T16" fmla="*/ 11 w 162"/>
                <a:gd name="T17" fmla="*/ 116 h 117"/>
                <a:gd name="T18" fmla="*/ 29 w 162"/>
                <a:gd name="T19" fmla="*/ 111 h 117"/>
                <a:gd name="T20" fmla="*/ 58 w 162"/>
                <a:gd name="T21" fmla="*/ 89 h 117"/>
                <a:gd name="T22" fmla="*/ 81 w 162"/>
                <a:gd name="T23" fmla="*/ 87 h 117"/>
                <a:gd name="T24" fmla="*/ 105 w 162"/>
                <a:gd name="T25" fmla="*/ 89 h 117"/>
                <a:gd name="T26" fmla="*/ 134 w 162"/>
                <a:gd name="T27" fmla="*/ 111 h 117"/>
                <a:gd name="T28" fmla="*/ 151 w 162"/>
                <a:gd name="T29" fmla="*/ 116 h 117"/>
                <a:gd name="T30" fmla="*/ 151 w 162"/>
                <a:gd name="T31" fmla="*/ 116 h 117"/>
                <a:gd name="T32" fmla="*/ 162 w 162"/>
                <a:gd name="T33" fmla="*/ 91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2" h="117">
                  <a:moveTo>
                    <a:pt x="162" y="91"/>
                  </a:moveTo>
                  <a:cubicBezTo>
                    <a:pt x="161" y="46"/>
                    <a:pt x="152" y="22"/>
                    <a:pt x="143" y="14"/>
                  </a:cubicBezTo>
                  <a:cubicBezTo>
                    <a:pt x="127" y="0"/>
                    <a:pt x="104" y="12"/>
                    <a:pt x="103" y="12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60" y="12"/>
                    <a:pt x="60" y="12"/>
                    <a:pt x="60" y="12"/>
                  </a:cubicBezTo>
                  <a:cubicBezTo>
                    <a:pt x="58" y="12"/>
                    <a:pt x="35" y="0"/>
                    <a:pt x="20" y="14"/>
                  </a:cubicBezTo>
                  <a:cubicBezTo>
                    <a:pt x="10" y="22"/>
                    <a:pt x="2" y="46"/>
                    <a:pt x="1" y="91"/>
                  </a:cubicBezTo>
                  <a:cubicBezTo>
                    <a:pt x="0" y="95"/>
                    <a:pt x="1" y="115"/>
                    <a:pt x="11" y="116"/>
                  </a:cubicBezTo>
                  <a:cubicBezTo>
                    <a:pt x="11" y="116"/>
                    <a:pt x="11" y="116"/>
                    <a:pt x="11" y="116"/>
                  </a:cubicBezTo>
                  <a:cubicBezTo>
                    <a:pt x="11" y="116"/>
                    <a:pt x="20" y="117"/>
                    <a:pt x="29" y="111"/>
                  </a:cubicBezTo>
                  <a:cubicBezTo>
                    <a:pt x="34" y="106"/>
                    <a:pt x="47" y="91"/>
                    <a:pt x="58" y="89"/>
                  </a:cubicBezTo>
                  <a:cubicBezTo>
                    <a:pt x="69" y="87"/>
                    <a:pt x="81" y="87"/>
                    <a:pt x="81" y="87"/>
                  </a:cubicBezTo>
                  <a:cubicBezTo>
                    <a:pt x="81" y="87"/>
                    <a:pt x="94" y="87"/>
                    <a:pt x="105" y="89"/>
                  </a:cubicBezTo>
                  <a:cubicBezTo>
                    <a:pt x="115" y="91"/>
                    <a:pt x="129" y="106"/>
                    <a:pt x="134" y="111"/>
                  </a:cubicBezTo>
                  <a:cubicBezTo>
                    <a:pt x="142" y="117"/>
                    <a:pt x="151" y="116"/>
                    <a:pt x="151" y="116"/>
                  </a:cubicBezTo>
                  <a:cubicBezTo>
                    <a:pt x="151" y="116"/>
                    <a:pt x="151" y="116"/>
                    <a:pt x="151" y="116"/>
                  </a:cubicBezTo>
                  <a:cubicBezTo>
                    <a:pt x="162" y="115"/>
                    <a:pt x="162" y="95"/>
                    <a:pt x="162" y="91"/>
                  </a:cubicBezTo>
                  <a:close/>
                </a:path>
              </a:pathLst>
            </a:custGeom>
            <a:solidFill>
              <a:srgbClr val="5C2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2" name="Freeform 59"/>
            <p:cNvSpPr>
              <a:spLocks/>
            </p:cNvSpPr>
            <p:nvPr userDrawn="1"/>
          </p:nvSpPr>
          <p:spPr bwMode="auto">
            <a:xfrm>
              <a:off x="8044664" y="2426462"/>
              <a:ext cx="115843" cy="293468"/>
            </a:xfrm>
            <a:custGeom>
              <a:avLst/>
              <a:gdLst>
                <a:gd name="T0" fmla="*/ 44 w 44"/>
                <a:gd name="T1" fmla="*/ 85 h 110"/>
                <a:gd name="T2" fmla="*/ 25 w 44"/>
                <a:gd name="T3" fmla="*/ 8 h 110"/>
                <a:gd name="T4" fmla="*/ 0 w 44"/>
                <a:gd name="T5" fmla="*/ 1 h 110"/>
                <a:gd name="T6" fmla="*/ 15 w 44"/>
                <a:gd name="T7" fmla="*/ 8 h 110"/>
                <a:gd name="T8" fmla="*/ 34 w 44"/>
                <a:gd name="T9" fmla="*/ 85 h 110"/>
                <a:gd name="T10" fmla="*/ 26 w 44"/>
                <a:gd name="T11" fmla="*/ 109 h 110"/>
                <a:gd name="T12" fmla="*/ 33 w 44"/>
                <a:gd name="T13" fmla="*/ 110 h 110"/>
                <a:gd name="T14" fmla="*/ 33 w 44"/>
                <a:gd name="T15" fmla="*/ 110 h 110"/>
                <a:gd name="T16" fmla="*/ 44 w 44"/>
                <a:gd name="T17" fmla="*/ 85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110">
                  <a:moveTo>
                    <a:pt x="44" y="85"/>
                  </a:moveTo>
                  <a:cubicBezTo>
                    <a:pt x="43" y="40"/>
                    <a:pt x="34" y="16"/>
                    <a:pt x="25" y="8"/>
                  </a:cubicBezTo>
                  <a:cubicBezTo>
                    <a:pt x="17" y="1"/>
                    <a:pt x="8" y="0"/>
                    <a:pt x="0" y="1"/>
                  </a:cubicBezTo>
                  <a:cubicBezTo>
                    <a:pt x="5" y="2"/>
                    <a:pt x="10" y="4"/>
                    <a:pt x="15" y="8"/>
                  </a:cubicBezTo>
                  <a:cubicBezTo>
                    <a:pt x="24" y="16"/>
                    <a:pt x="33" y="40"/>
                    <a:pt x="34" y="85"/>
                  </a:cubicBezTo>
                  <a:cubicBezTo>
                    <a:pt x="34" y="89"/>
                    <a:pt x="34" y="105"/>
                    <a:pt x="26" y="109"/>
                  </a:cubicBezTo>
                  <a:cubicBezTo>
                    <a:pt x="30" y="110"/>
                    <a:pt x="33" y="110"/>
                    <a:pt x="33" y="110"/>
                  </a:cubicBezTo>
                  <a:cubicBezTo>
                    <a:pt x="33" y="110"/>
                    <a:pt x="33" y="110"/>
                    <a:pt x="33" y="110"/>
                  </a:cubicBezTo>
                  <a:cubicBezTo>
                    <a:pt x="44" y="109"/>
                    <a:pt x="44" y="89"/>
                    <a:pt x="44" y="85"/>
                  </a:cubicBezTo>
                  <a:close/>
                </a:path>
              </a:pathLst>
            </a:custGeom>
            <a:solidFill>
              <a:srgbClr val="3214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3" name="Freeform 60"/>
            <p:cNvSpPr>
              <a:spLocks noEditPoints="1"/>
            </p:cNvSpPr>
            <p:nvPr userDrawn="1"/>
          </p:nvSpPr>
          <p:spPr bwMode="auto">
            <a:xfrm>
              <a:off x="7812978" y="2542305"/>
              <a:ext cx="77228" cy="73368"/>
            </a:xfrm>
            <a:custGeom>
              <a:avLst/>
              <a:gdLst>
                <a:gd name="T0" fmla="*/ 17 w 28"/>
                <a:gd name="T1" fmla="*/ 27 h 27"/>
                <a:gd name="T2" fmla="*/ 28 w 28"/>
                <a:gd name="T3" fmla="*/ 16 h 27"/>
                <a:gd name="T4" fmla="*/ 17 w 28"/>
                <a:gd name="T5" fmla="*/ 16 h 27"/>
                <a:gd name="T6" fmla="*/ 17 w 28"/>
                <a:gd name="T7" fmla="*/ 27 h 27"/>
                <a:gd name="T8" fmla="*/ 0 w 28"/>
                <a:gd name="T9" fmla="*/ 16 h 27"/>
                <a:gd name="T10" fmla="*/ 12 w 28"/>
                <a:gd name="T11" fmla="*/ 27 h 27"/>
                <a:gd name="T12" fmla="*/ 12 w 28"/>
                <a:gd name="T13" fmla="*/ 16 h 27"/>
                <a:gd name="T14" fmla="*/ 0 w 28"/>
                <a:gd name="T15" fmla="*/ 16 h 27"/>
                <a:gd name="T16" fmla="*/ 12 w 28"/>
                <a:gd name="T17" fmla="*/ 0 h 27"/>
                <a:gd name="T18" fmla="*/ 0 w 28"/>
                <a:gd name="T19" fmla="*/ 11 h 27"/>
                <a:gd name="T20" fmla="*/ 12 w 28"/>
                <a:gd name="T21" fmla="*/ 11 h 27"/>
                <a:gd name="T22" fmla="*/ 12 w 28"/>
                <a:gd name="T23" fmla="*/ 0 h 27"/>
                <a:gd name="T24" fmla="*/ 28 w 28"/>
                <a:gd name="T25" fmla="*/ 11 h 27"/>
                <a:gd name="T26" fmla="*/ 17 w 28"/>
                <a:gd name="T27" fmla="*/ 0 h 27"/>
                <a:gd name="T28" fmla="*/ 17 w 28"/>
                <a:gd name="T29" fmla="*/ 11 h 27"/>
                <a:gd name="T30" fmla="*/ 28 w 28"/>
                <a:gd name="T31" fmla="*/ 1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27">
                  <a:moveTo>
                    <a:pt x="17" y="27"/>
                  </a:moveTo>
                  <a:cubicBezTo>
                    <a:pt x="23" y="26"/>
                    <a:pt x="27" y="22"/>
                    <a:pt x="28" y="16"/>
                  </a:cubicBezTo>
                  <a:cubicBezTo>
                    <a:pt x="17" y="16"/>
                    <a:pt x="17" y="16"/>
                    <a:pt x="17" y="16"/>
                  </a:cubicBezTo>
                  <a:lnTo>
                    <a:pt x="17" y="27"/>
                  </a:lnTo>
                  <a:close/>
                  <a:moveTo>
                    <a:pt x="0" y="16"/>
                  </a:moveTo>
                  <a:cubicBezTo>
                    <a:pt x="1" y="22"/>
                    <a:pt x="6" y="26"/>
                    <a:pt x="12" y="27"/>
                  </a:cubicBezTo>
                  <a:cubicBezTo>
                    <a:pt x="12" y="16"/>
                    <a:pt x="12" y="16"/>
                    <a:pt x="12" y="16"/>
                  </a:cubicBezTo>
                  <a:lnTo>
                    <a:pt x="0" y="16"/>
                  </a:lnTo>
                  <a:close/>
                  <a:moveTo>
                    <a:pt x="12" y="0"/>
                  </a:moveTo>
                  <a:cubicBezTo>
                    <a:pt x="6" y="1"/>
                    <a:pt x="1" y="5"/>
                    <a:pt x="0" y="11"/>
                  </a:cubicBezTo>
                  <a:cubicBezTo>
                    <a:pt x="12" y="11"/>
                    <a:pt x="12" y="11"/>
                    <a:pt x="12" y="11"/>
                  </a:cubicBezTo>
                  <a:lnTo>
                    <a:pt x="12" y="0"/>
                  </a:lnTo>
                  <a:close/>
                  <a:moveTo>
                    <a:pt x="28" y="11"/>
                  </a:moveTo>
                  <a:cubicBezTo>
                    <a:pt x="27" y="5"/>
                    <a:pt x="23" y="1"/>
                    <a:pt x="17" y="0"/>
                  </a:cubicBezTo>
                  <a:cubicBezTo>
                    <a:pt x="17" y="11"/>
                    <a:pt x="17" y="11"/>
                    <a:pt x="17" y="11"/>
                  </a:cubicBezTo>
                  <a:lnTo>
                    <a:pt x="28" y="1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4" name="Oval 61"/>
            <p:cNvSpPr>
              <a:spLocks noChangeArrowheads="1"/>
            </p:cNvSpPr>
            <p:nvPr userDrawn="1"/>
          </p:nvSpPr>
          <p:spPr bwMode="auto">
            <a:xfrm>
              <a:off x="7951990" y="2550028"/>
              <a:ext cx="57923" cy="57923"/>
            </a:xfrm>
            <a:prstGeom prst="ellipse">
              <a:avLst/>
            </a:prstGeom>
            <a:solidFill>
              <a:srgbClr val="3214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5" name="Oval 62"/>
            <p:cNvSpPr>
              <a:spLocks noChangeArrowheads="1"/>
            </p:cNvSpPr>
            <p:nvPr userDrawn="1"/>
          </p:nvSpPr>
          <p:spPr bwMode="auto">
            <a:xfrm>
              <a:off x="8029218" y="2457354"/>
              <a:ext cx="30891" cy="27031"/>
            </a:xfrm>
            <a:prstGeom prst="ellipse">
              <a:avLst/>
            </a:prstGeom>
            <a:solidFill>
              <a:srgbClr val="3214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6" name="Oval 63"/>
            <p:cNvSpPr>
              <a:spLocks noChangeArrowheads="1"/>
            </p:cNvSpPr>
            <p:nvPr userDrawn="1"/>
          </p:nvSpPr>
          <p:spPr bwMode="auto">
            <a:xfrm>
              <a:off x="8029218" y="2519136"/>
              <a:ext cx="30891" cy="30891"/>
            </a:xfrm>
            <a:prstGeom prst="ellipse">
              <a:avLst/>
            </a:prstGeom>
            <a:solidFill>
              <a:srgbClr val="3214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7" name="Oval 64"/>
            <p:cNvSpPr>
              <a:spLocks noChangeArrowheads="1"/>
            </p:cNvSpPr>
            <p:nvPr userDrawn="1"/>
          </p:nvSpPr>
          <p:spPr bwMode="auto">
            <a:xfrm>
              <a:off x="7998327" y="2488245"/>
              <a:ext cx="27031" cy="27031"/>
            </a:xfrm>
            <a:prstGeom prst="ellipse">
              <a:avLst/>
            </a:prstGeom>
            <a:solidFill>
              <a:srgbClr val="3214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8" name="Oval 65"/>
            <p:cNvSpPr>
              <a:spLocks noChangeArrowheads="1"/>
            </p:cNvSpPr>
            <p:nvPr userDrawn="1"/>
          </p:nvSpPr>
          <p:spPr bwMode="auto">
            <a:xfrm>
              <a:off x="8060109" y="2488245"/>
              <a:ext cx="30891" cy="27031"/>
            </a:xfrm>
            <a:prstGeom prst="ellipse">
              <a:avLst/>
            </a:prstGeom>
            <a:solidFill>
              <a:srgbClr val="3214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9" name="Freeform 66"/>
            <p:cNvSpPr>
              <a:spLocks/>
            </p:cNvSpPr>
            <p:nvPr userDrawn="1"/>
          </p:nvSpPr>
          <p:spPr bwMode="auto">
            <a:xfrm>
              <a:off x="7886344" y="2476662"/>
              <a:ext cx="57923" cy="57923"/>
            </a:xfrm>
            <a:custGeom>
              <a:avLst/>
              <a:gdLst>
                <a:gd name="T0" fmla="*/ 18 w 22"/>
                <a:gd name="T1" fmla="*/ 4 h 22"/>
                <a:gd name="T2" fmla="*/ 4 w 22"/>
                <a:gd name="T3" fmla="*/ 4 h 22"/>
                <a:gd name="T4" fmla="*/ 4 w 22"/>
                <a:gd name="T5" fmla="*/ 18 h 22"/>
                <a:gd name="T6" fmla="*/ 18 w 22"/>
                <a:gd name="T7" fmla="*/ 18 h 22"/>
                <a:gd name="T8" fmla="*/ 18 w 22"/>
                <a:gd name="T9" fmla="*/ 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2">
                  <a:moveTo>
                    <a:pt x="18" y="4"/>
                  </a:moveTo>
                  <a:cubicBezTo>
                    <a:pt x="14" y="0"/>
                    <a:pt x="8" y="0"/>
                    <a:pt x="4" y="4"/>
                  </a:cubicBezTo>
                  <a:cubicBezTo>
                    <a:pt x="0" y="8"/>
                    <a:pt x="0" y="14"/>
                    <a:pt x="4" y="18"/>
                  </a:cubicBezTo>
                  <a:cubicBezTo>
                    <a:pt x="8" y="22"/>
                    <a:pt x="14" y="22"/>
                    <a:pt x="18" y="18"/>
                  </a:cubicBezTo>
                  <a:cubicBezTo>
                    <a:pt x="22" y="14"/>
                    <a:pt x="22" y="8"/>
                    <a:pt x="18" y="4"/>
                  </a:cubicBezTo>
                </a:path>
              </a:pathLst>
            </a:custGeom>
            <a:solidFill>
              <a:srgbClr val="B400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0" name="Oval 67"/>
            <p:cNvSpPr>
              <a:spLocks noChangeArrowheads="1"/>
            </p:cNvSpPr>
            <p:nvPr userDrawn="1"/>
          </p:nvSpPr>
          <p:spPr bwMode="auto">
            <a:xfrm>
              <a:off x="7766641" y="2465077"/>
              <a:ext cx="57923" cy="57923"/>
            </a:xfrm>
            <a:prstGeom prst="ellipse">
              <a:avLst/>
            </a:prstGeom>
            <a:solidFill>
              <a:srgbClr val="3214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1" name="Freeform 68"/>
            <p:cNvSpPr>
              <a:spLocks/>
            </p:cNvSpPr>
            <p:nvPr userDrawn="1"/>
          </p:nvSpPr>
          <p:spPr bwMode="auto">
            <a:xfrm>
              <a:off x="8148921" y="3218055"/>
              <a:ext cx="57923" cy="378419"/>
            </a:xfrm>
            <a:custGeom>
              <a:avLst/>
              <a:gdLst>
                <a:gd name="T0" fmla="*/ 10 w 21"/>
                <a:gd name="T1" fmla="*/ 0 h 141"/>
                <a:gd name="T2" fmla="*/ 0 w 21"/>
                <a:gd name="T3" fmla="*/ 0 h 141"/>
                <a:gd name="T4" fmla="*/ 10 w 21"/>
                <a:gd name="T5" fmla="*/ 10 h 141"/>
                <a:gd name="T6" fmla="*/ 10 w 21"/>
                <a:gd name="T7" fmla="*/ 130 h 141"/>
                <a:gd name="T8" fmla="*/ 0 w 21"/>
                <a:gd name="T9" fmla="*/ 141 h 141"/>
                <a:gd name="T10" fmla="*/ 10 w 21"/>
                <a:gd name="T11" fmla="*/ 141 h 141"/>
                <a:gd name="T12" fmla="*/ 21 w 21"/>
                <a:gd name="T13" fmla="*/ 130 h 141"/>
                <a:gd name="T14" fmla="*/ 21 w 21"/>
                <a:gd name="T15" fmla="*/ 10 h 141"/>
                <a:gd name="T16" fmla="*/ 10 w 21"/>
                <a:gd name="T17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141">
                  <a:moveTo>
                    <a:pt x="1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" y="0"/>
                    <a:pt x="10" y="5"/>
                    <a:pt x="10" y="10"/>
                  </a:cubicBezTo>
                  <a:cubicBezTo>
                    <a:pt x="10" y="130"/>
                    <a:pt x="10" y="130"/>
                    <a:pt x="10" y="130"/>
                  </a:cubicBezTo>
                  <a:cubicBezTo>
                    <a:pt x="10" y="136"/>
                    <a:pt x="5" y="141"/>
                    <a:pt x="0" y="141"/>
                  </a:cubicBezTo>
                  <a:cubicBezTo>
                    <a:pt x="10" y="141"/>
                    <a:pt x="10" y="141"/>
                    <a:pt x="10" y="141"/>
                  </a:cubicBezTo>
                  <a:cubicBezTo>
                    <a:pt x="16" y="141"/>
                    <a:pt x="21" y="136"/>
                    <a:pt x="21" y="130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21" y="5"/>
                    <a:pt x="16" y="0"/>
                    <a:pt x="10" y="0"/>
                  </a:cubicBezTo>
                  <a:close/>
                </a:path>
              </a:pathLst>
            </a:custGeom>
            <a:solidFill>
              <a:srgbClr val="3214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2" name="Freeform 69"/>
            <p:cNvSpPr>
              <a:spLocks/>
            </p:cNvSpPr>
            <p:nvPr userDrawn="1"/>
          </p:nvSpPr>
          <p:spPr bwMode="auto">
            <a:xfrm>
              <a:off x="7890207" y="3218055"/>
              <a:ext cx="285745" cy="378419"/>
            </a:xfrm>
            <a:custGeom>
              <a:avLst/>
              <a:gdLst>
                <a:gd name="T0" fmla="*/ 97 w 107"/>
                <a:gd name="T1" fmla="*/ 0 h 141"/>
                <a:gd name="T2" fmla="*/ 0 w 107"/>
                <a:gd name="T3" fmla="*/ 0 h 141"/>
                <a:gd name="T4" fmla="*/ 0 w 107"/>
                <a:gd name="T5" fmla="*/ 141 h 141"/>
                <a:gd name="T6" fmla="*/ 97 w 107"/>
                <a:gd name="T7" fmla="*/ 141 h 141"/>
                <a:gd name="T8" fmla="*/ 107 w 107"/>
                <a:gd name="T9" fmla="*/ 130 h 141"/>
                <a:gd name="T10" fmla="*/ 107 w 107"/>
                <a:gd name="T11" fmla="*/ 10 h 141"/>
                <a:gd name="T12" fmla="*/ 97 w 107"/>
                <a:gd name="T13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41">
                  <a:moveTo>
                    <a:pt x="9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97" y="141"/>
                    <a:pt x="97" y="141"/>
                    <a:pt x="97" y="141"/>
                  </a:cubicBezTo>
                  <a:cubicBezTo>
                    <a:pt x="102" y="141"/>
                    <a:pt x="107" y="136"/>
                    <a:pt x="107" y="130"/>
                  </a:cubicBezTo>
                  <a:cubicBezTo>
                    <a:pt x="107" y="10"/>
                    <a:pt x="107" y="10"/>
                    <a:pt x="107" y="10"/>
                  </a:cubicBezTo>
                  <a:cubicBezTo>
                    <a:pt x="107" y="5"/>
                    <a:pt x="102" y="0"/>
                    <a:pt x="97" y="0"/>
                  </a:cubicBezTo>
                  <a:close/>
                </a:path>
              </a:pathLst>
            </a:custGeom>
            <a:solidFill>
              <a:srgbClr val="5C2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3" name="Freeform 70"/>
            <p:cNvSpPr>
              <a:spLocks/>
            </p:cNvSpPr>
            <p:nvPr userDrawn="1"/>
          </p:nvSpPr>
          <p:spPr bwMode="auto">
            <a:xfrm>
              <a:off x="7951990" y="3314589"/>
              <a:ext cx="162180" cy="81091"/>
            </a:xfrm>
            <a:custGeom>
              <a:avLst/>
              <a:gdLst>
                <a:gd name="T0" fmla="*/ 61 w 61"/>
                <a:gd name="T1" fmla="*/ 26 h 30"/>
                <a:gd name="T2" fmla="*/ 57 w 61"/>
                <a:gd name="T3" fmla="*/ 30 h 30"/>
                <a:gd name="T4" fmla="*/ 5 w 61"/>
                <a:gd name="T5" fmla="*/ 30 h 30"/>
                <a:gd name="T6" fmla="*/ 0 w 61"/>
                <a:gd name="T7" fmla="*/ 26 h 30"/>
                <a:gd name="T8" fmla="*/ 0 w 61"/>
                <a:gd name="T9" fmla="*/ 5 h 30"/>
                <a:gd name="T10" fmla="*/ 5 w 61"/>
                <a:gd name="T11" fmla="*/ 0 h 30"/>
                <a:gd name="T12" fmla="*/ 57 w 61"/>
                <a:gd name="T13" fmla="*/ 0 h 30"/>
                <a:gd name="T14" fmla="*/ 61 w 61"/>
                <a:gd name="T15" fmla="*/ 5 h 30"/>
                <a:gd name="T16" fmla="*/ 61 w 61"/>
                <a:gd name="T17" fmla="*/ 2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30">
                  <a:moveTo>
                    <a:pt x="61" y="26"/>
                  </a:moveTo>
                  <a:cubicBezTo>
                    <a:pt x="61" y="28"/>
                    <a:pt x="59" y="30"/>
                    <a:pt x="57" y="30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2" y="30"/>
                    <a:pt x="0" y="28"/>
                    <a:pt x="0" y="26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5" y="0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9" y="0"/>
                    <a:pt x="61" y="2"/>
                    <a:pt x="61" y="5"/>
                  </a:cubicBezTo>
                  <a:lnTo>
                    <a:pt x="61" y="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4" name="Freeform 71"/>
            <p:cNvSpPr>
              <a:spLocks/>
            </p:cNvSpPr>
            <p:nvPr userDrawn="1"/>
          </p:nvSpPr>
          <p:spPr bwMode="auto">
            <a:xfrm>
              <a:off x="7863176" y="3272115"/>
              <a:ext cx="54060" cy="15446"/>
            </a:xfrm>
            <a:custGeom>
              <a:avLst/>
              <a:gdLst>
                <a:gd name="T0" fmla="*/ 17 w 20"/>
                <a:gd name="T1" fmla="*/ 7 h 7"/>
                <a:gd name="T2" fmla="*/ 4 w 20"/>
                <a:gd name="T3" fmla="*/ 7 h 7"/>
                <a:gd name="T4" fmla="*/ 0 w 20"/>
                <a:gd name="T5" fmla="*/ 3 h 7"/>
                <a:gd name="T6" fmla="*/ 4 w 20"/>
                <a:gd name="T7" fmla="*/ 0 h 7"/>
                <a:gd name="T8" fmla="*/ 17 w 20"/>
                <a:gd name="T9" fmla="*/ 0 h 7"/>
                <a:gd name="T10" fmla="*/ 20 w 20"/>
                <a:gd name="T11" fmla="*/ 3 h 7"/>
                <a:gd name="T12" fmla="*/ 17 w 20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7">
                  <a:moveTo>
                    <a:pt x="17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9" y="0"/>
                    <a:pt x="20" y="2"/>
                    <a:pt x="20" y="3"/>
                  </a:cubicBezTo>
                  <a:cubicBezTo>
                    <a:pt x="20" y="5"/>
                    <a:pt x="19" y="7"/>
                    <a:pt x="17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5" name="Freeform 72"/>
            <p:cNvSpPr>
              <a:spLocks/>
            </p:cNvSpPr>
            <p:nvPr userDrawn="1"/>
          </p:nvSpPr>
          <p:spPr bwMode="auto">
            <a:xfrm>
              <a:off x="7863176" y="3306866"/>
              <a:ext cx="54060" cy="19308"/>
            </a:xfrm>
            <a:custGeom>
              <a:avLst/>
              <a:gdLst>
                <a:gd name="T0" fmla="*/ 17 w 20"/>
                <a:gd name="T1" fmla="*/ 7 h 7"/>
                <a:gd name="T2" fmla="*/ 4 w 20"/>
                <a:gd name="T3" fmla="*/ 7 h 7"/>
                <a:gd name="T4" fmla="*/ 0 w 20"/>
                <a:gd name="T5" fmla="*/ 3 h 7"/>
                <a:gd name="T6" fmla="*/ 4 w 20"/>
                <a:gd name="T7" fmla="*/ 0 h 7"/>
                <a:gd name="T8" fmla="*/ 17 w 20"/>
                <a:gd name="T9" fmla="*/ 0 h 7"/>
                <a:gd name="T10" fmla="*/ 20 w 20"/>
                <a:gd name="T11" fmla="*/ 3 h 7"/>
                <a:gd name="T12" fmla="*/ 17 w 20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7">
                  <a:moveTo>
                    <a:pt x="17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9" y="0"/>
                    <a:pt x="20" y="1"/>
                    <a:pt x="20" y="3"/>
                  </a:cubicBezTo>
                  <a:cubicBezTo>
                    <a:pt x="20" y="5"/>
                    <a:pt x="19" y="7"/>
                    <a:pt x="17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6" name="Freeform 73"/>
            <p:cNvSpPr>
              <a:spLocks/>
            </p:cNvSpPr>
            <p:nvPr userDrawn="1"/>
          </p:nvSpPr>
          <p:spPr bwMode="auto">
            <a:xfrm>
              <a:off x="7863176" y="3341620"/>
              <a:ext cx="54060" cy="19308"/>
            </a:xfrm>
            <a:custGeom>
              <a:avLst/>
              <a:gdLst>
                <a:gd name="T0" fmla="*/ 17 w 20"/>
                <a:gd name="T1" fmla="*/ 7 h 7"/>
                <a:gd name="T2" fmla="*/ 4 w 20"/>
                <a:gd name="T3" fmla="*/ 7 h 7"/>
                <a:gd name="T4" fmla="*/ 0 w 20"/>
                <a:gd name="T5" fmla="*/ 4 h 7"/>
                <a:gd name="T6" fmla="*/ 4 w 20"/>
                <a:gd name="T7" fmla="*/ 0 h 7"/>
                <a:gd name="T8" fmla="*/ 17 w 20"/>
                <a:gd name="T9" fmla="*/ 0 h 7"/>
                <a:gd name="T10" fmla="*/ 20 w 20"/>
                <a:gd name="T11" fmla="*/ 4 h 7"/>
                <a:gd name="T12" fmla="*/ 17 w 20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7">
                  <a:moveTo>
                    <a:pt x="17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9" y="0"/>
                    <a:pt x="20" y="2"/>
                    <a:pt x="20" y="4"/>
                  </a:cubicBezTo>
                  <a:cubicBezTo>
                    <a:pt x="20" y="6"/>
                    <a:pt x="19" y="7"/>
                    <a:pt x="17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7" name="Freeform 74"/>
            <p:cNvSpPr>
              <a:spLocks/>
            </p:cNvSpPr>
            <p:nvPr userDrawn="1"/>
          </p:nvSpPr>
          <p:spPr bwMode="auto">
            <a:xfrm>
              <a:off x="7863176" y="3380235"/>
              <a:ext cx="54060" cy="19308"/>
            </a:xfrm>
            <a:custGeom>
              <a:avLst/>
              <a:gdLst>
                <a:gd name="T0" fmla="*/ 17 w 20"/>
                <a:gd name="T1" fmla="*/ 7 h 7"/>
                <a:gd name="T2" fmla="*/ 4 w 20"/>
                <a:gd name="T3" fmla="*/ 7 h 7"/>
                <a:gd name="T4" fmla="*/ 0 w 20"/>
                <a:gd name="T5" fmla="*/ 3 h 7"/>
                <a:gd name="T6" fmla="*/ 4 w 20"/>
                <a:gd name="T7" fmla="*/ 0 h 7"/>
                <a:gd name="T8" fmla="*/ 17 w 20"/>
                <a:gd name="T9" fmla="*/ 0 h 7"/>
                <a:gd name="T10" fmla="*/ 20 w 20"/>
                <a:gd name="T11" fmla="*/ 3 h 7"/>
                <a:gd name="T12" fmla="*/ 17 w 20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7">
                  <a:moveTo>
                    <a:pt x="17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9" y="0"/>
                    <a:pt x="20" y="2"/>
                    <a:pt x="20" y="3"/>
                  </a:cubicBezTo>
                  <a:cubicBezTo>
                    <a:pt x="20" y="5"/>
                    <a:pt x="19" y="7"/>
                    <a:pt x="17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8" name="Freeform 75"/>
            <p:cNvSpPr>
              <a:spLocks/>
            </p:cNvSpPr>
            <p:nvPr userDrawn="1"/>
          </p:nvSpPr>
          <p:spPr bwMode="auto">
            <a:xfrm>
              <a:off x="7863176" y="3418849"/>
              <a:ext cx="54060" cy="19308"/>
            </a:xfrm>
            <a:custGeom>
              <a:avLst/>
              <a:gdLst>
                <a:gd name="T0" fmla="*/ 17 w 20"/>
                <a:gd name="T1" fmla="*/ 7 h 7"/>
                <a:gd name="T2" fmla="*/ 4 w 20"/>
                <a:gd name="T3" fmla="*/ 7 h 7"/>
                <a:gd name="T4" fmla="*/ 0 w 20"/>
                <a:gd name="T5" fmla="*/ 3 h 7"/>
                <a:gd name="T6" fmla="*/ 4 w 20"/>
                <a:gd name="T7" fmla="*/ 0 h 7"/>
                <a:gd name="T8" fmla="*/ 17 w 20"/>
                <a:gd name="T9" fmla="*/ 0 h 7"/>
                <a:gd name="T10" fmla="*/ 20 w 20"/>
                <a:gd name="T11" fmla="*/ 3 h 7"/>
                <a:gd name="T12" fmla="*/ 17 w 20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7">
                  <a:moveTo>
                    <a:pt x="17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9" y="0"/>
                    <a:pt x="20" y="1"/>
                    <a:pt x="20" y="3"/>
                  </a:cubicBezTo>
                  <a:cubicBezTo>
                    <a:pt x="20" y="5"/>
                    <a:pt x="19" y="7"/>
                    <a:pt x="17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9" name="Freeform 76"/>
            <p:cNvSpPr>
              <a:spLocks/>
            </p:cNvSpPr>
            <p:nvPr userDrawn="1"/>
          </p:nvSpPr>
          <p:spPr bwMode="auto">
            <a:xfrm>
              <a:off x="7863176" y="3453600"/>
              <a:ext cx="54060" cy="19308"/>
            </a:xfrm>
            <a:custGeom>
              <a:avLst/>
              <a:gdLst>
                <a:gd name="T0" fmla="*/ 17 w 20"/>
                <a:gd name="T1" fmla="*/ 7 h 7"/>
                <a:gd name="T2" fmla="*/ 4 w 20"/>
                <a:gd name="T3" fmla="*/ 7 h 7"/>
                <a:gd name="T4" fmla="*/ 0 w 20"/>
                <a:gd name="T5" fmla="*/ 4 h 7"/>
                <a:gd name="T6" fmla="*/ 4 w 20"/>
                <a:gd name="T7" fmla="*/ 0 h 7"/>
                <a:gd name="T8" fmla="*/ 17 w 20"/>
                <a:gd name="T9" fmla="*/ 0 h 7"/>
                <a:gd name="T10" fmla="*/ 20 w 20"/>
                <a:gd name="T11" fmla="*/ 4 h 7"/>
                <a:gd name="T12" fmla="*/ 17 w 20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7">
                  <a:moveTo>
                    <a:pt x="17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9" y="0"/>
                    <a:pt x="20" y="2"/>
                    <a:pt x="20" y="4"/>
                  </a:cubicBezTo>
                  <a:cubicBezTo>
                    <a:pt x="20" y="6"/>
                    <a:pt x="19" y="7"/>
                    <a:pt x="17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0" name="Freeform 77"/>
            <p:cNvSpPr>
              <a:spLocks/>
            </p:cNvSpPr>
            <p:nvPr userDrawn="1"/>
          </p:nvSpPr>
          <p:spPr bwMode="auto">
            <a:xfrm>
              <a:off x="7863176" y="3488354"/>
              <a:ext cx="54060" cy="19308"/>
            </a:xfrm>
            <a:custGeom>
              <a:avLst/>
              <a:gdLst>
                <a:gd name="T0" fmla="*/ 17 w 20"/>
                <a:gd name="T1" fmla="*/ 7 h 7"/>
                <a:gd name="T2" fmla="*/ 4 w 20"/>
                <a:gd name="T3" fmla="*/ 7 h 7"/>
                <a:gd name="T4" fmla="*/ 0 w 20"/>
                <a:gd name="T5" fmla="*/ 3 h 7"/>
                <a:gd name="T6" fmla="*/ 4 w 20"/>
                <a:gd name="T7" fmla="*/ 0 h 7"/>
                <a:gd name="T8" fmla="*/ 17 w 20"/>
                <a:gd name="T9" fmla="*/ 0 h 7"/>
                <a:gd name="T10" fmla="*/ 20 w 20"/>
                <a:gd name="T11" fmla="*/ 3 h 7"/>
                <a:gd name="T12" fmla="*/ 17 w 20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7">
                  <a:moveTo>
                    <a:pt x="17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9" y="0"/>
                    <a:pt x="20" y="2"/>
                    <a:pt x="20" y="3"/>
                  </a:cubicBezTo>
                  <a:cubicBezTo>
                    <a:pt x="20" y="5"/>
                    <a:pt x="19" y="7"/>
                    <a:pt x="17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1" name="Freeform 78"/>
            <p:cNvSpPr>
              <a:spLocks/>
            </p:cNvSpPr>
            <p:nvPr userDrawn="1"/>
          </p:nvSpPr>
          <p:spPr bwMode="auto">
            <a:xfrm>
              <a:off x="7863176" y="3526969"/>
              <a:ext cx="54060" cy="19308"/>
            </a:xfrm>
            <a:custGeom>
              <a:avLst/>
              <a:gdLst>
                <a:gd name="T0" fmla="*/ 17 w 20"/>
                <a:gd name="T1" fmla="*/ 7 h 7"/>
                <a:gd name="T2" fmla="*/ 4 w 20"/>
                <a:gd name="T3" fmla="*/ 7 h 7"/>
                <a:gd name="T4" fmla="*/ 0 w 20"/>
                <a:gd name="T5" fmla="*/ 3 h 7"/>
                <a:gd name="T6" fmla="*/ 4 w 20"/>
                <a:gd name="T7" fmla="*/ 0 h 7"/>
                <a:gd name="T8" fmla="*/ 17 w 20"/>
                <a:gd name="T9" fmla="*/ 0 h 7"/>
                <a:gd name="T10" fmla="*/ 20 w 20"/>
                <a:gd name="T11" fmla="*/ 3 h 7"/>
                <a:gd name="T12" fmla="*/ 17 w 20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7">
                  <a:moveTo>
                    <a:pt x="17" y="7"/>
                  </a:moveTo>
                  <a:cubicBezTo>
                    <a:pt x="4" y="7"/>
                    <a:pt x="4" y="7"/>
                    <a:pt x="4" y="7"/>
                  </a:cubicBezTo>
                  <a:cubicBezTo>
                    <a:pt x="2" y="7"/>
                    <a:pt x="0" y="5"/>
                    <a:pt x="0" y="3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9" y="0"/>
                    <a:pt x="20" y="1"/>
                    <a:pt x="20" y="3"/>
                  </a:cubicBezTo>
                  <a:cubicBezTo>
                    <a:pt x="20" y="5"/>
                    <a:pt x="19" y="7"/>
                    <a:pt x="17" y="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2" name="Freeform 79"/>
            <p:cNvSpPr>
              <a:spLocks/>
            </p:cNvSpPr>
            <p:nvPr userDrawn="1"/>
          </p:nvSpPr>
          <p:spPr bwMode="auto">
            <a:xfrm>
              <a:off x="8369023" y="3747068"/>
              <a:ext cx="65645" cy="50200"/>
            </a:xfrm>
            <a:custGeom>
              <a:avLst/>
              <a:gdLst>
                <a:gd name="T0" fmla="*/ 0 w 25"/>
                <a:gd name="T1" fmla="*/ 10 h 19"/>
                <a:gd name="T2" fmla="*/ 18 w 25"/>
                <a:gd name="T3" fmla="*/ 18 h 19"/>
                <a:gd name="T4" fmla="*/ 25 w 25"/>
                <a:gd name="T5" fmla="*/ 19 h 19"/>
                <a:gd name="T6" fmla="*/ 24 w 25"/>
                <a:gd name="T7" fmla="*/ 8 h 19"/>
                <a:gd name="T8" fmla="*/ 24 w 25"/>
                <a:gd name="T9" fmla="*/ 9 h 19"/>
                <a:gd name="T10" fmla="*/ 16 w 25"/>
                <a:gd name="T11" fmla="*/ 6 h 19"/>
                <a:gd name="T12" fmla="*/ 0 w 25"/>
                <a:gd name="T13" fmla="*/ 1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19">
                  <a:moveTo>
                    <a:pt x="0" y="10"/>
                  </a:moveTo>
                  <a:cubicBezTo>
                    <a:pt x="10" y="9"/>
                    <a:pt x="18" y="18"/>
                    <a:pt x="18" y="18"/>
                  </a:cubicBezTo>
                  <a:cubicBezTo>
                    <a:pt x="25" y="19"/>
                    <a:pt x="25" y="19"/>
                    <a:pt x="25" y="19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4" y="8"/>
                    <a:pt x="24" y="9"/>
                    <a:pt x="24" y="9"/>
                  </a:cubicBezTo>
                  <a:cubicBezTo>
                    <a:pt x="22" y="9"/>
                    <a:pt x="19" y="8"/>
                    <a:pt x="16" y="6"/>
                  </a:cubicBezTo>
                  <a:cubicBezTo>
                    <a:pt x="9" y="0"/>
                    <a:pt x="0" y="5"/>
                    <a:pt x="0" y="10"/>
                  </a:cubicBezTo>
                  <a:close/>
                </a:path>
              </a:pathLst>
            </a:custGeom>
            <a:solidFill>
              <a:srgbClr val="DEB6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3" name="Freeform 80"/>
            <p:cNvSpPr>
              <a:spLocks/>
            </p:cNvSpPr>
            <p:nvPr userDrawn="1"/>
          </p:nvSpPr>
          <p:spPr bwMode="auto">
            <a:xfrm>
              <a:off x="8508034" y="3608057"/>
              <a:ext cx="258716" cy="362974"/>
            </a:xfrm>
            <a:custGeom>
              <a:avLst/>
              <a:gdLst>
                <a:gd name="T0" fmla="*/ 40 w 96"/>
                <a:gd name="T1" fmla="*/ 135 h 135"/>
                <a:gd name="T2" fmla="*/ 24 w 96"/>
                <a:gd name="T3" fmla="*/ 128 h 135"/>
                <a:gd name="T4" fmla="*/ 0 w 96"/>
                <a:gd name="T5" fmla="*/ 87 h 135"/>
                <a:gd name="T6" fmla="*/ 18 w 96"/>
                <a:gd name="T7" fmla="*/ 71 h 135"/>
                <a:gd name="T8" fmla="*/ 34 w 96"/>
                <a:gd name="T9" fmla="*/ 86 h 135"/>
                <a:gd name="T10" fmla="*/ 66 w 96"/>
                <a:gd name="T11" fmla="*/ 0 h 135"/>
                <a:gd name="T12" fmla="*/ 96 w 96"/>
                <a:gd name="T13" fmla="*/ 43 h 135"/>
                <a:gd name="T14" fmla="*/ 59 w 96"/>
                <a:gd name="T15" fmla="*/ 123 h 135"/>
                <a:gd name="T16" fmla="*/ 43 w 96"/>
                <a:gd name="T17" fmla="*/ 135 h 135"/>
                <a:gd name="T18" fmla="*/ 40 w 96"/>
                <a:gd name="T19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35">
                  <a:moveTo>
                    <a:pt x="40" y="135"/>
                  </a:moveTo>
                  <a:cubicBezTo>
                    <a:pt x="34" y="135"/>
                    <a:pt x="28" y="133"/>
                    <a:pt x="24" y="128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18" y="71"/>
                    <a:pt x="18" y="71"/>
                    <a:pt x="18" y="71"/>
                  </a:cubicBezTo>
                  <a:cubicBezTo>
                    <a:pt x="34" y="86"/>
                    <a:pt x="34" y="86"/>
                    <a:pt x="34" y="86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96" y="43"/>
                    <a:pt x="96" y="43"/>
                    <a:pt x="96" y="43"/>
                  </a:cubicBezTo>
                  <a:cubicBezTo>
                    <a:pt x="59" y="123"/>
                    <a:pt x="59" y="123"/>
                    <a:pt x="59" y="123"/>
                  </a:cubicBezTo>
                  <a:cubicBezTo>
                    <a:pt x="56" y="129"/>
                    <a:pt x="50" y="134"/>
                    <a:pt x="43" y="135"/>
                  </a:cubicBezTo>
                  <a:cubicBezTo>
                    <a:pt x="42" y="135"/>
                    <a:pt x="41" y="135"/>
                    <a:pt x="40" y="135"/>
                  </a:cubicBezTo>
                  <a:close/>
                </a:path>
              </a:pathLst>
            </a:custGeom>
            <a:solidFill>
              <a:srgbClr val="F6CA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4" name="Freeform 81"/>
            <p:cNvSpPr>
              <a:spLocks/>
            </p:cNvSpPr>
            <p:nvPr userDrawn="1"/>
          </p:nvSpPr>
          <p:spPr bwMode="auto">
            <a:xfrm>
              <a:off x="8508034" y="3608057"/>
              <a:ext cx="258716" cy="362974"/>
            </a:xfrm>
            <a:custGeom>
              <a:avLst/>
              <a:gdLst>
                <a:gd name="T0" fmla="*/ 40 w 96"/>
                <a:gd name="T1" fmla="*/ 135 h 135"/>
                <a:gd name="T2" fmla="*/ 24 w 96"/>
                <a:gd name="T3" fmla="*/ 128 h 135"/>
                <a:gd name="T4" fmla="*/ 0 w 96"/>
                <a:gd name="T5" fmla="*/ 87 h 135"/>
                <a:gd name="T6" fmla="*/ 18 w 96"/>
                <a:gd name="T7" fmla="*/ 71 h 135"/>
                <a:gd name="T8" fmla="*/ 34 w 96"/>
                <a:gd name="T9" fmla="*/ 86 h 135"/>
                <a:gd name="T10" fmla="*/ 66 w 96"/>
                <a:gd name="T11" fmla="*/ 0 h 135"/>
                <a:gd name="T12" fmla="*/ 96 w 96"/>
                <a:gd name="T13" fmla="*/ 43 h 135"/>
                <a:gd name="T14" fmla="*/ 59 w 96"/>
                <a:gd name="T15" fmla="*/ 123 h 135"/>
                <a:gd name="T16" fmla="*/ 43 w 96"/>
                <a:gd name="T17" fmla="*/ 135 h 135"/>
                <a:gd name="T18" fmla="*/ 40 w 96"/>
                <a:gd name="T19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35">
                  <a:moveTo>
                    <a:pt x="40" y="135"/>
                  </a:moveTo>
                  <a:cubicBezTo>
                    <a:pt x="34" y="135"/>
                    <a:pt x="28" y="133"/>
                    <a:pt x="24" y="128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18" y="71"/>
                    <a:pt x="18" y="71"/>
                    <a:pt x="18" y="71"/>
                  </a:cubicBezTo>
                  <a:cubicBezTo>
                    <a:pt x="34" y="86"/>
                    <a:pt x="34" y="86"/>
                    <a:pt x="34" y="86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96" y="43"/>
                    <a:pt x="96" y="43"/>
                    <a:pt x="96" y="43"/>
                  </a:cubicBezTo>
                  <a:cubicBezTo>
                    <a:pt x="59" y="123"/>
                    <a:pt x="59" y="123"/>
                    <a:pt x="59" y="123"/>
                  </a:cubicBezTo>
                  <a:cubicBezTo>
                    <a:pt x="56" y="129"/>
                    <a:pt x="50" y="134"/>
                    <a:pt x="43" y="135"/>
                  </a:cubicBezTo>
                  <a:cubicBezTo>
                    <a:pt x="42" y="135"/>
                    <a:pt x="41" y="135"/>
                    <a:pt x="40" y="135"/>
                  </a:cubicBezTo>
                  <a:close/>
                </a:path>
              </a:pathLst>
            </a:custGeom>
            <a:solidFill>
              <a:srgbClr val="F6CA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5" name="Freeform 82"/>
            <p:cNvSpPr>
              <a:spLocks/>
            </p:cNvSpPr>
            <p:nvPr userDrawn="1"/>
          </p:nvSpPr>
          <p:spPr bwMode="auto">
            <a:xfrm>
              <a:off x="8623877" y="3704594"/>
              <a:ext cx="142874" cy="266439"/>
            </a:xfrm>
            <a:custGeom>
              <a:avLst/>
              <a:gdLst>
                <a:gd name="T0" fmla="*/ 0 w 53"/>
                <a:gd name="T1" fmla="*/ 99 h 99"/>
                <a:gd name="T2" fmla="*/ 16 w 53"/>
                <a:gd name="T3" fmla="*/ 87 h 99"/>
                <a:gd name="T4" fmla="*/ 53 w 53"/>
                <a:gd name="T5" fmla="*/ 7 h 99"/>
                <a:gd name="T6" fmla="*/ 50 w 53"/>
                <a:gd name="T7" fmla="*/ 0 h 99"/>
                <a:gd name="T8" fmla="*/ 0 w 53"/>
                <a:gd name="T9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99">
                  <a:moveTo>
                    <a:pt x="0" y="99"/>
                  </a:moveTo>
                  <a:cubicBezTo>
                    <a:pt x="7" y="98"/>
                    <a:pt x="13" y="93"/>
                    <a:pt x="16" y="87"/>
                  </a:cubicBezTo>
                  <a:cubicBezTo>
                    <a:pt x="53" y="7"/>
                    <a:pt x="53" y="7"/>
                    <a:pt x="53" y="7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0"/>
                    <a:pt x="16" y="87"/>
                    <a:pt x="0" y="99"/>
                  </a:cubicBezTo>
                  <a:close/>
                </a:path>
              </a:pathLst>
            </a:custGeom>
            <a:solidFill>
              <a:srgbClr val="DEB6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6" name="Freeform 83"/>
            <p:cNvSpPr>
              <a:spLocks/>
            </p:cNvSpPr>
            <p:nvPr userDrawn="1"/>
          </p:nvSpPr>
          <p:spPr bwMode="auto">
            <a:xfrm>
              <a:off x="8600708" y="3608057"/>
              <a:ext cx="108120" cy="239408"/>
            </a:xfrm>
            <a:custGeom>
              <a:avLst/>
              <a:gdLst>
                <a:gd name="T0" fmla="*/ 22 w 28"/>
                <a:gd name="T1" fmla="*/ 0 h 62"/>
                <a:gd name="T2" fmla="*/ 0 w 28"/>
                <a:gd name="T3" fmla="*/ 60 h 62"/>
                <a:gd name="T4" fmla="*/ 4 w 28"/>
                <a:gd name="T5" fmla="*/ 62 h 62"/>
                <a:gd name="T6" fmla="*/ 28 w 28"/>
                <a:gd name="T7" fmla="*/ 8 h 62"/>
                <a:gd name="T8" fmla="*/ 22 w 28"/>
                <a:gd name="T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62">
                  <a:moveTo>
                    <a:pt x="22" y="0"/>
                  </a:moveTo>
                  <a:lnTo>
                    <a:pt x="0" y="60"/>
                  </a:lnTo>
                  <a:lnTo>
                    <a:pt x="4" y="62"/>
                  </a:lnTo>
                  <a:lnTo>
                    <a:pt x="28" y="8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F8D5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7" name="Freeform 84"/>
            <p:cNvSpPr>
              <a:spLocks/>
            </p:cNvSpPr>
            <p:nvPr userDrawn="1"/>
          </p:nvSpPr>
          <p:spPr bwMode="auto">
            <a:xfrm>
              <a:off x="8392191" y="3696871"/>
              <a:ext cx="38614" cy="81091"/>
            </a:xfrm>
            <a:custGeom>
              <a:avLst/>
              <a:gdLst>
                <a:gd name="T0" fmla="*/ 10 w 15"/>
                <a:gd name="T1" fmla="*/ 30 h 30"/>
                <a:gd name="T2" fmla="*/ 6 w 15"/>
                <a:gd name="T3" fmla="*/ 26 h 30"/>
                <a:gd name="T4" fmla="*/ 1 w 15"/>
                <a:gd name="T5" fmla="*/ 7 h 30"/>
                <a:gd name="T6" fmla="*/ 4 w 15"/>
                <a:gd name="T7" fmla="*/ 1 h 30"/>
                <a:gd name="T8" fmla="*/ 9 w 15"/>
                <a:gd name="T9" fmla="*/ 4 h 30"/>
                <a:gd name="T10" fmla="*/ 15 w 15"/>
                <a:gd name="T11" fmla="*/ 24 h 30"/>
                <a:gd name="T12" fmla="*/ 12 w 15"/>
                <a:gd name="T13" fmla="*/ 29 h 30"/>
                <a:gd name="T14" fmla="*/ 10 w 15"/>
                <a:gd name="T1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30">
                  <a:moveTo>
                    <a:pt x="10" y="30"/>
                  </a:moveTo>
                  <a:cubicBezTo>
                    <a:pt x="8" y="30"/>
                    <a:pt x="7" y="28"/>
                    <a:pt x="6" y="2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4"/>
                    <a:pt x="1" y="2"/>
                    <a:pt x="4" y="1"/>
                  </a:cubicBezTo>
                  <a:cubicBezTo>
                    <a:pt x="6" y="0"/>
                    <a:pt x="8" y="2"/>
                    <a:pt x="9" y="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6"/>
                    <a:pt x="14" y="29"/>
                    <a:pt x="12" y="29"/>
                  </a:cubicBezTo>
                  <a:cubicBezTo>
                    <a:pt x="11" y="29"/>
                    <a:pt x="11" y="30"/>
                    <a:pt x="10" y="30"/>
                  </a:cubicBezTo>
                  <a:close/>
                </a:path>
              </a:pathLst>
            </a:custGeom>
            <a:solidFill>
              <a:srgbClr val="F6CA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8" name="Freeform 85"/>
            <p:cNvSpPr>
              <a:spLocks/>
            </p:cNvSpPr>
            <p:nvPr userDrawn="1"/>
          </p:nvSpPr>
          <p:spPr bwMode="auto">
            <a:xfrm>
              <a:off x="8419220" y="3681425"/>
              <a:ext cx="42477" cy="88814"/>
            </a:xfrm>
            <a:custGeom>
              <a:avLst/>
              <a:gdLst>
                <a:gd name="T0" fmla="*/ 11 w 16"/>
                <a:gd name="T1" fmla="*/ 32 h 32"/>
                <a:gd name="T2" fmla="*/ 7 w 16"/>
                <a:gd name="T3" fmla="*/ 28 h 32"/>
                <a:gd name="T4" fmla="*/ 0 w 16"/>
                <a:gd name="T5" fmla="*/ 6 h 32"/>
                <a:gd name="T6" fmla="*/ 3 w 16"/>
                <a:gd name="T7" fmla="*/ 1 h 32"/>
                <a:gd name="T8" fmla="*/ 9 w 16"/>
                <a:gd name="T9" fmla="*/ 4 h 32"/>
                <a:gd name="T10" fmla="*/ 15 w 16"/>
                <a:gd name="T11" fmla="*/ 26 h 32"/>
                <a:gd name="T12" fmla="*/ 12 w 16"/>
                <a:gd name="T13" fmla="*/ 31 h 32"/>
                <a:gd name="T14" fmla="*/ 11 w 16"/>
                <a:gd name="T15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32">
                  <a:moveTo>
                    <a:pt x="11" y="32"/>
                  </a:moveTo>
                  <a:cubicBezTo>
                    <a:pt x="9" y="32"/>
                    <a:pt x="7" y="30"/>
                    <a:pt x="7" y="2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6" y="0"/>
                    <a:pt x="8" y="2"/>
                    <a:pt x="9" y="4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6" y="28"/>
                    <a:pt x="15" y="31"/>
                    <a:pt x="12" y="31"/>
                  </a:cubicBezTo>
                  <a:cubicBezTo>
                    <a:pt x="12" y="32"/>
                    <a:pt x="11" y="32"/>
                    <a:pt x="11" y="32"/>
                  </a:cubicBezTo>
                  <a:close/>
                </a:path>
              </a:pathLst>
            </a:custGeom>
            <a:solidFill>
              <a:srgbClr val="F6CA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9" name="Freeform 86"/>
            <p:cNvSpPr>
              <a:spLocks/>
            </p:cNvSpPr>
            <p:nvPr userDrawn="1"/>
          </p:nvSpPr>
          <p:spPr bwMode="auto">
            <a:xfrm>
              <a:off x="8453974" y="3681425"/>
              <a:ext cx="34754" cy="77228"/>
            </a:xfrm>
            <a:custGeom>
              <a:avLst/>
              <a:gdLst>
                <a:gd name="T0" fmla="*/ 9 w 14"/>
                <a:gd name="T1" fmla="*/ 29 h 29"/>
                <a:gd name="T2" fmla="*/ 5 w 14"/>
                <a:gd name="T3" fmla="*/ 26 h 29"/>
                <a:gd name="T4" fmla="*/ 0 w 14"/>
                <a:gd name="T5" fmla="*/ 6 h 29"/>
                <a:gd name="T6" fmla="*/ 4 w 14"/>
                <a:gd name="T7" fmla="*/ 1 h 29"/>
                <a:gd name="T8" fmla="*/ 9 w 14"/>
                <a:gd name="T9" fmla="*/ 4 h 29"/>
                <a:gd name="T10" fmla="*/ 14 w 14"/>
                <a:gd name="T11" fmla="*/ 24 h 29"/>
                <a:gd name="T12" fmla="*/ 10 w 14"/>
                <a:gd name="T13" fmla="*/ 29 h 29"/>
                <a:gd name="T14" fmla="*/ 9 w 14"/>
                <a:gd name="T15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29">
                  <a:moveTo>
                    <a:pt x="9" y="29"/>
                  </a:moveTo>
                  <a:cubicBezTo>
                    <a:pt x="7" y="29"/>
                    <a:pt x="5" y="28"/>
                    <a:pt x="5" y="2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1" y="1"/>
                    <a:pt x="4" y="1"/>
                  </a:cubicBezTo>
                  <a:cubicBezTo>
                    <a:pt x="6" y="0"/>
                    <a:pt x="9" y="2"/>
                    <a:pt x="9" y="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6"/>
                    <a:pt x="13" y="29"/>
                    <a:pt x="10" y="29"/>
                  </a:cubicBezTo>
                  <a:cubicBezTo>
                    <a:pt x="10" y="29"/>
                    <a:pt x="9" y="29"/>
                    <a:pt x="9" y="29"/>
                  </a:cubicBezTo>
                  <a:close/>
                </a:path>
              </a:pathLst>
            </a:custGeom>
            <a:solidFill>
              <a:srgbClr val="F6CA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0" name="Freeform 87"/>
            <p:cNvSpPr>
              <a:spLocks/>
            </p:cNvSpPr>
            <p:nvPr userDrawn="1"/>
          </p:nvSpPr>
          <p:spPr bwMode="auto">
            <a:xfrm>
              <a:off x="8488726" y="3704594"/>
              <a:ext cx="38614" cy="77228"/>
            </a:xfrm>
            <a:custGeom>
              <a:avLst/>
              <a:gdLst>
                <a:gd name="T0" fmla="*/ 8 w 13"/>
                <a:gd name="T1" fmla="*/ 29 h 29"/>
                <a:gd name="T2" fmla="*/ 4 w 13"/>
                <a:gd name="T3" fmla="*/ 25 h 29"/>
                <a:gd name="T4" fmla="*/ 1 w 13"/>
                <a:gd name="T5" fmla="*/ 5 h 29"/>
                <a:gd name="T6" fmla="*/ 4 w 13"/>
                <a:gd name="T7" fmla="*/ 0 h 29"/>
                <a:gd name="T8" fmla="*/ 9 w 13"/>
                <a:gd name="T9" fmla="*/ 4 h 29"/>
                <a:gd name="T10" fmla="*/ 13 w 13"/>
                <a:gd name="T11" fmla="*/ 24 h 29"/>
                <a:gd name="T12" fmla="*/ 9 w 13"/>
                <a:gd name="T13" fmla="*/ 29 h 29"/>
                <a:gd name="T14" fmla="*/ 8 w 13"/>
                <a:gd name="T15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29">
                  <a:moveTo>
                    <a:pt x="8" y="29"/>
                  </a:moveTo>
                  <a:cubicBezTo>
                    <a:pt x="6" y="29"/>
                    <a:pt x="4" y="27"/>
                    <a:pt x="4" y="2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3"/>
                    <a:pt x="2" y="0"/>
                    <a:pt x="4" y="0"/>
                  </a:cubicBezTo>
                  <a:cubicBezTo>
                    <a:pt x="7" y="0"/>
                    <a:pt x="9" y="1"/>
                    <a:pt x="9" y="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3" y="26"/>
                    <a:pt x="11" y="28"/>
                    <a:pt x="9" y="29"/>
                  </a:cubicBezTo>
                  <a:cubicBezTo>
                    <a:pt x="8" y="29"/>
                    <a:pt x="8" y="29"/>
                    <a:pt x="8" y="29"/>
                  </a:cubicBezTo>
                  <a:close/>
                </a:path>
              </a:pathLst>
            </a:custGeom>
            <a:solidFill>
              <a:srgbClr val="F6CA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1" name="Freeform 88"/>
            <p:cNvSpPr>
              <a:spLocks/>
            </p:cNvSpPr>
            <p:nvPr userDrawn="1"/>
          </p:nvSpPr>
          <p:spPr bwMode="auto">
            <a:xfrm>
              <a:off x="8407637" y="3739346"/>
              <a:ext cx="158319" cy="119705"/>
            </a:xfrm>
            <a:custGeom>
              <a:avLst/>
              <a:gdLst>
                <a:gd name="T0" fmla="*/ 1 w 59"/>
                <a:gd name="T1" fmla="*/ 10 h 44"/>
                <a:gd name="T2" fmla="*/ 53 w 59"/>
                <a:gd name="T3" fmla="*/ 38 h 44"/>
                <a:gd name="T4" fmla="*/ 55 w 59"/>
                <a:gd name="T5" fmla="*/ 19 h 44"/>
                <a:gd name="T6" fmla="*/ 41 w 59"/>
                <a:gd name="T7" fmla="*/ 0 h 44"/>
                <a:gd name="T8" fmla="*/ 1 w 59"/>
                <a:gd name="T9" fmla="*/ 9 h 44"/>
                <a:gd name="T10" fmla="*/ 1 w 59"/>
                <a:gd name="T11" fmla="*/ 1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9" h="44">
                  <a:moveTo>
                    <a:pt x="1" y="10"/>
                  </a:moveTo>
                  <a:cubicBezTo>
                    <a:pt x="5" y="17"/>
                    <a:pt x="26" y="44"/>
                    <a:pt x="53" y="38"/>
                  </a:cubicBezTo>
                  <a:cubicBezTo>
                    <a:pt x="59" y="36"/>
                    <a:pt x="58" y="29"/>
                    <a:pt x="55" y="19"/>
                  </a:cubicBezTo>
                  <a:cubicBezTo>
                    <a:pt x="52" y="9"/>
                    <a:pt x="41" y="0"/>
                    <a:pt x="41" y="0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9"/>
                    <a:pt x="0" y="9"/>
                    <a:pt x="1" y="10"/>
                  </a:cubicBezTo>
                  <a:close/>
                </a:path>
              </a:pathLst>
            </a:custGeom>
            <a:solidFill>
              <a:srgbClr val="F6CA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2" name="Freeform 89"/>
            <p:cNvSpPr>
              <a:spLocks/>
            </p:cNvSpPr>
            <p:nvPr userDrawn="1"/>
          </p:nvSpPr>
          <p:spPr bwMode="auto">
            <a:xfrm>
              <a:off x="9535172" y="3940139"/>
              <a:ext cx="73368" cy="42477"/>
            </a:xfrm>
            <a:custGeom>
              <a:avLst/>
              <a:gdLst>
                <a:gd name="T0" fmla="*/ 26 w 27"/>
                <a:gd name="T1" fmla="*/ 12 h 16"/>
                <a:gd name="T2" fmla="*/ 7 w 27"/>
                <a:gd name="T3" fmla="*/ 16 h 16"/>
                <a:gd name="T4" fmla="*/ 0 w 27"/>
                <a:gd name="T5" fmla="*/ 16 h 16"/>
                <a:gd name="T6" fmla="*/ 2 w 27"/>
                <a:gd name="T7" fmla="*/ 5 h 16"/>
                <a:gd name="T8" fmla="*/ 3 w 27"/>
                <a:gd name="T9" fmla="*/ 5 h 16"/>
                <a:gd name="T10" fmla="*/ 11 w 27"/>
                <a:gd name="T11" fmla="*/ 5 h 16"/>
                <a:gd name="T12" fmla="*/ 26 w 27"/>
                <a:gd name="T13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16">
                  <a:moveTo>
                    <a:pt x="26" y="12"/>
                  </a:moveTo>
                  <a:cubicBezTo>
                    <a:pt x="16" y="9"/>
                    <a:pt x="7" y="16"/>
                    <a:pt x="7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4" y="6"/>
                    <a:pt x="8" y="6"/>
                    <a:pt x="11" y="5"/>
                  </a:cubicBezTo>
                  <a:cubicBezTo>
                    <a:pt x="19" y="0"/>
                    <a:pt x="27" y="7"/>
                    <a:pt x="26" y="12"/>
                  </a:cubicBezTo>
                  <a:close/>
                </a:path>
              </a:pathLst>
            </a:custGeom>
            <a:solidFill>
              <a:srgbClr val="E3C4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3" name="Freeform 90"/>
            <p:cNvSpPr>
              <a:spLocks/>
            </p:cNvSpPr>
            <p:nvPr userDrawn="1"/>
          </p:nvSpPr>
          <p:spPr bwMode="auto">
            <a:xfrm>
              <a:off x="9129722" y="3608057"/>
              <a:ext cx="324359" cy="401588"/>
            </a:xfrm>
            <a:custGeom>
              <a:avLst/>
              <a:gdLst>
                <a:gd name="T0" fmla="*/ 56 w 121"/>
                <a:gd name="T1" fmla="*/ 135 h 150"/>
                <a:gd name="T2" fmla="*/ 63 w 121"/>
                <a:gd name="T3" fmla="*/ 129 h 150"/>
                <a:gd name="T4" fmla="*/ 121 w 121"/>
                <a:gd name="T5" fmla="*/ 150 h 150"/>
                <a:gd name="T6" fmla="*/ 107 w 121"/>
                <a:gd name="T7" fmla="*/ 130 h 150"/>
                <a:gd name="T8" fmla="*/ 64 w 121"/>
                <a:gd name="T9" fmla="*/ 92 h 150"/>
                <a:gd name="T10" fmla="*/ 29 w 121"/>
                <a:gd name="T11" fmla="*/ 0 h 150"/>
                <a:gd name="T12" fmla="*/ 0 w 121"/>
                <a:gd name="T13" fmla="*/ 43 h 150"/>
                <a:gd name="T14" fmla="*/ 37 w 121"/>
                <a:gd name="T15" fmla="*/ 123 h 150"/>
                <a:gd name="T16" fmla="*/ 52 w 121"/>
                <a:gd name="T17" fmla="*/ 135 h 150"/>
                <a:gd name="T18" fmla="*/ 56 w 121"/>
                <a:gd name="T19" fmla="*/ 13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1" h="150">
                  <a:moveTo>
                    <a:pt x="56" y="135"/>
                  </a:moveTo>
                  <a:cubicBezTo>
                    <a:pt x="62" y="135"/>
                    <a:pt x="59" y="133"/>
                    <a:pt x="63" y="129"/>
                  </a:cubicBezTo>
                  <a:cubicBezTo>
                    <a:pt x="121" y="150"/>
                    <a:pt x="121" y="150"/>
                    <a:pt x="121" y="150"/>
                  </a:cubicBezTo>
                  <a:cubicBezTo>
                    <a:pt x="107" y="130"/>
                    <a:pt x="107" y="130"/>
                    <a:pt x="107" y="130"/>
                  </a:cubicBezTo>
                  <a:cubicBezTo>
                    <a:pt x="64" y="92"/>
                    <a:pt x="64" y="92"/>
                    <a:pt x="64" y="92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37" y="123"/>
                    <a:pt x="37" y="123"/>
                    <a:pt x="37" y="123"/>
                  </a:cubicBezTo>
                  <a:cubicBezTo>
                    <a:pt x="40" y="129"/>
                    <a:pt x="46" y="134"/>
                    <a:pt x="52" y="135"/>
                  </a:cubicBezTo>
                  <a:cubicBezTo>
                    <a:pt x="54" y="135"/>
                    <a:pt x="55" y="135"/>
                    <a:pt x="56" y="135"/>
                  </a:cubicBezTo>
                  <a:close/>
                </a:path>
              </a:pathLst>
            </a:custGeom>
            <a:solidFill>
              <a:srgbClr val="F6CA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4" name="Freeform 91"/>
            <p:cNvSpPr>
              <a:spLocks/>
            </p:cNvSpPr>
            <p:nvPr userDrawn="1"/>
          </p:nvSpPr>
          <p:spPr bwMode="auto">
            <a:xfrm>
              <a:off x="9129722" y="3608057"/>
              <a:ext cx="324359" cy="401588"/>
            </a:xfrm>
            <a:custGeom>
              <a:avLst/>
              <a:gdLst>
                <a:gd name="T0" fmla="*/ 56 w 121"/>
                <a:gd name="T1" fmla="*/ 135 h 150"/>
                <a:gd name="T2" fmla="*/ 121 w 121"/>
                <a:gd name="T3" fmla="*/ 150 h 150"/>
                <a:gd name="T4" fmla="*/ 120 w 121"/>
                <a:gd name="T5" fmla="*/ 120 h 150"/>
                <a:gd name="T6" fmla="*/ 64 w 121"/>
                <a:gd name="T7" fmla="*/ 92 h 150"/>
                <a:gd name="T8" fmla="*/ 29 w 121"/>
                <a:gd name="T9" fmla="*/ 0 h 150"/>
                <a:gd name="T10" fmla="*/ 0 w 121"/>
                <a:gd name="T11" fmla="*/ 43 h 150"/>
                <a:gd name="T12" fmla="*/ 37 w 121"/>
                <a:gd name="T13" fmla="*/ 123 h 150"/>
                <a:gd name="T14" fmla="*/ 52 w 121"/>
                <a:gd name="T15" fmla="*/ 135 h 150"/>
                <a:gd name="T16" fmla="*/ 56 w 121"/>
                <a:gd name="T17" fmla="*/ 13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1" h="150">
                  <a:moveTo>
                    <a:pt x="56" y="135"/>
                  </a:moveTo>
                  <a:cubicBezTo>
                    <a:pt x="62" y="135"/>
                    <a:pt x="121" y="150"/>
                    <a:pt x="121" y="150"/>
                  </a:cubicBezTo>
                  <a:cubicBezTo>
                    <a:pt x="120" y="120"/>
                    <a:pt x="120" y="120"/>
                    <a:pt x="120" y="120"/>
                  </a:cubicBezTo>
                  <a:cubicBezTo>
                    <a:pt x="64" y="92"/>
                    <a:pt x="64" y="92"/>
                    <a:pt x="64" y="92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37" y="123"/>
                    <a:pt x="37" y="123"/>
                    <a:pt x="37" y="123"/>
                  </a:cubicBezTo>
                  <a:cubicBezTo>
                    <a:pt x="40" y="129"/>
                    <a:pt x="46" y="134"/>
                    <a:pt x="52" y="135"/>
                  </a:cubicBezTo>
                  <a:cubicBezTo>
                    <a:pt x="54" y="135"/>
                    <a:pt x="55" y="135"/>
                    <a:pt x="56" y="135"/>
                  </a:cubicBezTo>
                  <a:close/>
                </a:path>
              </a:pathLst>
            </a:custGeom>
            <a:solidFill>
              <a:srgbClr val="F6CA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5" name="Freeform 92"/>
            <p:cNvSpPr>
              <a:spLocks/>
            </p:cNvSpPr>
            <p:nvPr userDrawn="1"/>
          </p:nvSpPr>
          <p:spPr bwMode="auto">
            <a:xfrm>
              <a:off x="9129722" y="3704594"/>
              <a:ext cx="139011" cy="266439"/>
            </a:xfrm>
            <a:custGeom>
              <a:avLst/>
              <a:gdLst>
                <a:gd name="T0" fmla="*/ 52 w 52"/>
                <a:gd name="T1" fmla="*/ 99 h 99"/>
                <a:gd name="T2" fmla="*/ 37 w 52"/>
                <a:gd name="T3" fmla="*/ 87 h 99"/>
                <a:gd name="T4" fmla="*/ 0 w 52"/>
                <a:gd name="T5" fmla="*/ 7 h 99"/>
                <a:gd name="T6" fmla="*/ 2 w 52"/>
                <a:gd name="T7" fmla="*/ 0 h 99"/>
                <a:gd name="T8" fmla="*/ 52 w 52"/>
                <a:gd name="T9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99">
                  <a:moveTo>
                    <a:pt x="52" y="99"/>
                  </a:moveTo>
                  <a:cubicBezTo>
                    <a:pt x="46" y="98"/>
                    <a:pt x="40" y="93"/>
                    <a:pt x="37" y="8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37" y="87"/>
                    <a:pt x="52" y="99"/>
                  </a:cubicBezTo>
                  <a:close/>
                </a:path>
              </a:pathLst>
            </a:custGeom>
            <a:solidFill>
              <a:srgbClr val="E3C4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6" name="Freeform 93"/>
            <p:cNvSpPr>
              <a:spLocks/>
            </p:cNvSpPr>
            <p:nvPr userDrawn="1"/>
          </p:nvSpPr>
          <p:spPr bwMode="auto">
            <a:xfrm>
              <a:off x="9187644" y="3608057"/>
              <a:ext cx="115843" cy="258716"/>
            </a:xfrm>
            <a:custGeom>
              <a:avLst/>
              <a:gdLst>
                <a:gd name="T0" fmla="*/ 5 w 30"/>
                <a:gd name="T1" fmla="*/ 0 h 67"/>
                <a:gd name="T2" fmla="*/ 30 w 30"/>
                <a:gd name="T3" fmla="*/ 64 h 67"/>
                <a:gd name="T4" fmla="*/ 26 w 30"/>
                <a:gd name="T5" fmla="*/ 67 h 67"/>
                <a:gd name="T6" fmla="*/ 0 w 30"/>
                <a:gd name="T7" fmla="*/ 8 h 67"/>
                <a:gd name="T8" fmla="*/ 5 w 30"/>
                <a:gd name="T9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67">
                  <a:moveTo>
                    <a:pt x="5" y="0"/>
                  </a:moveTo>
                  <a:lnTo>
                    <a:pt x="30" y="64"/>
                  </a:lnTo>
                  <a:lnTo>
                    <a:pt x="26" y="67"/>
                  </a:lnTo>
                  <a:lnTo>
                    <a:pt x="0" y="8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F8D5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7" name="Freeform 94"/>
            <p:cNvSpPr>
              <a:spLocks/>
            </p:cNvSpPr>
            <p:nvPr userDrawn="1"/>
          </p:nvSpPr>
          <p:spPr bwMode="auto">
            <a:xfrm>
              <a:off x="9546755" y="3889942"/>
              <a:ext cx="50200" cy="73368"/>
            </a:xfrm>
            <a:custGeom>
              <a:avLst/>
              <a:gdLst>
                <a:gd name="T0" fmla="*/ 4 w 19"/>
                <a:gd name="T1" fmla="*/ 27 h 28"/>
                <a:gd name="T2" fmla="*/ 9 w 19"/>
                <a:gd name="T3" fmla="*/ 25 h 28"/>
                <a:gd name="T4" fmla="*/ 18 w 19"/>
                <a:gd name="T5" fmla="*/ 7 h 28"/>
                <a:gd name="T6" fmla="*/ 16 w 19"/>
                <a:gd name="T7" fmla="*/ 1 h 28"/>
                <a:gd name="T8" fmla="*/ 10 w 19"/>
                <a:gd name="T9" fmla="*/ 3 h 28"/>
                <a:gd name="T10" fmla="*/ 1 w 19"/>
                <a:gd name="T11" fmla="*/ 21 h 28"/>
                <a:gd name="T12" fmla="*/ 3 w 19"/>
                <a:gd name="T13" fmla="*/ 27 h 28"/>
                <a:gd name="T14" fmla="*/ 4 w 19"/>
                <a:gd name="T15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28">
                  <a:moveTo>
                    <a:pt x="4" y="27"/>
                  </a:moveTo>
                  <a:cubicBezTo>
                    <a:pt x="6" y="28"/>
                    <a:pt x="8" y="27"/>
                    <a:pt x="9" y="25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9" y="5"/>
                    <a:pt x="19" y="2"/>
                    <a:pt x="16" y="1"/>
                  </a:cubicBezTo>
                  <a:cubicBezTo>
                    <a:pt x="14" y="0"/>
                    <a:pt x="12" y="1"/>
                    <a:pt x="10" y="3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0" y="23"/>
                    <a:pt x="1" y="26"/>
                    <a:pt x="3" y="27"/>
                  </a:cubicBezTo>
                  <a:cubicBezTo>
                    <a:pt x="3" y="27"/>
                    <a:pt x="3" y="27"/>
                    <a:pt x="4" y="27"/>
                  </a:cubicBezTo>
                  <a:close/>
                </a:path>
              </a:pathLst>
            </a:custGeom>
            <a:solidFill>
              <a:srgbClr val="F6CA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8" name="Freeform 95"/>
            <p:cNvSpPr>
              <a:spLocks/>
            </p:cNvSpPr>
            <p:nvPr userDrawn="1"/>
          </p:nvSpPr>
          <p:spPr bwMode="auto">
            <a:xfrm>
              <a:off x="9519726" y="3870634"/>
              <a:ext cx="57923" cy="81091"/>
            </a:xfrm>
            <a:custGeom>
              <a:avLst/>
              <a:gdLst>
                <a:gd name="T0" fmla="*/ 4 w 21"/>
                <a:gd name="T1" fmla="*/ 29 h 30"/>
                <a:gd name="T2" fmla="*/ 9 w 21"/>
                <a:gd name="T3" fmla="*/ 27 h 30"/>
                <a:gd name="T4" fmla="*/ 20 w 21"/>
                <a:gd name="T5" fmla="*/ 7 h 30"/>
                <a:gd name="T6" fmla="*/ 18 w 21"/>
                <a:gd name="T7" fmla="*/ 1 h 30"/>
                <a:gd name="T8" fmla="*/ 12 w 21"/>
                <a:gd name="T9" fmla="*/ 3 h 30"/>
                <a:gd name="T10" fmla="*/ 1 w 21"/>
                <a:gd name="T11" fmla="*/ 23 h 30"/>
                <a:gd name="T12" fmla="*/ 3 w 21"/>
                <a:gd name="T13" fmla="*/ 29 h 30"/>
                <a:gd name="T14" fmla="*/ 4 w 21"/>
                <a:gd name="T15" fmla="*/ 2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30">
                  <a:moveTo>
                    <a:pt x="4" y="29"/>
                  </a:moveTo>
                  <a:cubicBezTo>
                    <a:pt x="6" y="30"/>
                    <a:pt x="8" y="29"/>
                    <a:pt x="9" y="27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1" y="5"/>
                    <a:pt x="20" y="2"/>
                    <a:pt x="18" y="1"/>
                  </a:cubicBezTo>
                  <a:cubicBezTo>
                    <a:pt x="16" y="0"/>
                    <a:pt x="13" y="0"/>
                    <a:pt x="12" y="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0" y="25"/>
                    <a:pt x="1" y="28"/>
                    <a:pt x="3" y="29"/>
                  </a:cubicBezTo>
                  <a:cubicBezTo>
                    <a:pt x="3" y="29"/>
                    <a:pt x="4" y="29"/>
                    <a:pt x="4" y="29"/>
                  </a:cubicBezTo>
                  <a:close/>
                </a:path>
              </a:pathLst>
            </a:custGeom>
            <a:solidFill>
              <a:srgbClr val="F6CA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9" name="Freeform 96"/>
            <p:cNvSpPr>
              <a:spLocks/>
            </p:cNvSpPr>
            <p:nvPr userDrawn="1"/>
          </p:nvSpPr>
          <p:spPr bwMode="auto">
            <a:xfrm>
              <a:off x="9492695" y="3859051"/>
              <a:ext cx="50200" cy="77228"/>
            </a:xfrm>
            <a:custGeom>
              <a:avLst/>
              <a:gdLst>
                <a:gd name="T0" fmla="*/ 4 w 18"/>
                <a:gd name="T1" fmla="*/ 28 h 28"/>
                <a:gd name="T2" fmla="*/ 9 w 18"/>
                <a:gd name="T3" fmla="*/ 25 h 28"/>
                <a:gd name="T4" fmla="*/ 17 w 18"/>
                <a:gd name="T5" fmla="*/ 7 h 28"/>
                <a:gd name="T6" fmla="*/ 15 w 18"/>
                <a:gd name="T7" fmla="*/ 1 h 28"/>
                <a:gd name="T8" fmla="*/ 9 w 18"/>
                <a:gd name="T9" fmla="*/ 3 h 28"/>
                <a:gd name="T10" fmla="*/ 1 w 18"/>
                <a:gd name="T11" fmla="*/ 22 h 28"/>
                <a:gd name="T12" fmla="*/ 3 w 18"/>
                <a:gd name="T13" fmla="*/ 27 h 28"/>
                <a:gd name="T14" fmla="*/ 4 w 18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28">
                  <a:moveTo>
                    <a:pt x="4" y="28"/>
                  </a:moveTo>
                  <a:cubicBezTo>
                    <a:pt x="6" y="28"/>
                    <a:pt x="8" y="27"/>
                    <a:pt x="9" y="25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8" y="4"/>
                    <a:pt x="17" y="2"/>
                    <a:pt x="15" y="1"/>
                  </a:cubicBezTo>
                  <a:cubicBezTo>
                    <a:pt x="13" y="0"/>
                    <a:pt x="10" y="1"/>
                    <a:pt x="9" y="3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0" y="24"/>
                    <a:pt x="1" y="26"/>
                    <a:pt x="3" y="27"/>
                  </a:cubicBezTo>
                  <a:cubicBezTo>
                    <a:pt x="3" y="28"/>
                    <a:pt x="4" y="28"/>
                    <a:pt x="4" y="28"/>
                  </a:cubicBezTo>
                  <a:close/>
                </a:path>
              </a:pathLst>
            </a:custGeom>
            <a:solidFill>
              <a:srgbClr val="F6CA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0" name="Freeform 97"/>
            <p:cNvSpPr>
              <a:spLocks/>
            </p:cNvSpPr>
            <p:nvPr userDrawn="1"/>
          </p:nvSpPr>
          <p:spPr bwMode="auto">
            <a:xfrm>
              <a:off x="9454081" y="3874497"/>
              <a:ext cx="46337" cy="77228"/>
            </a:xfrm>
            <a:custGeom>
              <a:avLst/>
              <a:gdLst>
                <a:gd name="T0" fmla="*/ 5 w 18"/>
                <a:gd name="T1" fmla="*/ 28 h 29"/>
                <a:gd name="T2" fmla="*/ 9 w 18"/>
                <a:gd name="T3" fmla="*/ 26 h 29"/>
                <a:gd name="T4" fmla="*/ 17 w 18"/>
                <a:gd name="T5" fmla="*/ 7 h 29"/>
                <a:gd name="T6" fmla="*/ 14 w 18"/>
                <a:gd name="T7" fmla="*/ 1 h 29"/>
                <a:gd name="T8" fmla="*/ 9 w 18"/>
                <a:gd name="T9" fmla="*/ 3 h 29"/>
                <a:gd name="T10" fmla="*/ 1 w 18"/>
                <a:gd name="T11" fmla="*/ 23 h 29"/>
                <a:gd name="T12" fmla="*/ 4 w 18"/>
                <a:gd name="T13" fmla="*/ 28 h 29"/>
                <a:gd name="T14" fmla="*/ 5 w 18"/>
                <a:gd name="T15" fmla="*/ 28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29">
                  <a:moveTo>
                    <a:pt x="5" y="28"/>
                  </a:moveTo>
                  <a:cubicBezTo>
                    <a:pt x="7" y="29"/>
                    <a:pt x="9" y="28"/>
                    <a:pt x="9" y="26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8" y="4"/>
                    <a:pt x="17" y="2"/>
                    <a:pt x="14" y="1"/>
                  </a:cubicBezTo>
                  <a:cubicBezTo>
                    <a:pt x="12" y="0"/>
                    <a:pt x="9" y="1"/>
                    <a:pt x="9" y="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0" y="25"/>
                    <a:pt x="1" y="27"/>
                    <a:pt x="4" y="28"/>
                  </a:cubicBezTo>
                  <a:cubicBezTo>
                    <a:pt x="4" y="28"/>
                    <a:pt x="4" y="28"/>
                    <a:pt x="5" y="28"/>
                  </a:cubicBezTo>
                  <a:close/>
                </a:path>
              </a:pathLst>
            </a:custGeom>
            <a:solidFill>
              <a:srgbClr val="F6CA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1" name="Freeform 98"/>
            <p:cNvSpPr>
              <a:spLocks/>
            </p:cNvSpPr>
            <p:nvPr userDrawn="1"/>
          </p:nvSpPr>
          <p:spPr bwMode="auto">
            <a:xfrm>
              <a:off x="9400021" y="3905388"/>
              <a:ext cx="169902" cy="127428"/>
            </a:xfrm>
            <a:custGeom>
              <a:avLst/>
              <a:gdLst>
                <a:gd name="T0" fmla="*/ 63 w 64"/>
                <a:gd name="T1" fmla="*/ 19 h 47"/>
                <a:gd name="T2" fmla="*/ 7 w 64"/>
                <a:gd name="T3" fmla="*/ 35 h 47"/>
                <a:gd name="T4" fmla="*/ 8 w 64"/>
                <a:gd name="T5" fmla="*/ 16 h 47"/>
                <a:gd name="T6" fmla="*/ 26 w 64"/>
                <a:gd name="T7" fmla="*/ 0 h 47"/>
                <a:gd name="T8" fmla="*/ 64 w 64"/>
                <a:gd name="T9" fmla="*/ 17 h 47"/>
                <a:gd name="T10" fmla="*/ 63 w 64"/>
                <a:gd name="T11" fmla="*/ 19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4" h="47">
                  <a:moveTo>
                    <a:pt x="63" y="19"/>
                  </a:moveTo>
                  <a:cubicBezTo>
                    <a:pt x="57" y="24"/>
                    <a:pt x="31" y="47"/>
                    <a:pt x="7" y="35"/>
                  </a:cubicBezTo>
                  <a:cubicBezTo>
                    <a:pt x="0" y="32"/>
                    <a:pt x="3" y="25"/>
                    <a:pt x="8" y="16"/>
                  </a:cubicBezTo>
                  <a:cubicBezTo>
                    <a:pt x="13" y="7"/>
                    <a:pt x="26" y="0"/>
                    <a:pt x="26" y="0"/>
                  </a:cubicBezTo>
                  <a:cubicBezTo>
                    <a:pt x="64" y="17"/>
                    <a:pt x="64" y="17"/>
                    <a:pt x="64" y="17"/>
                  </a:cubicBezTo>
                  <a:cubicBezTo>
                    <a:pt x="64" y="17"/>
                    <a:pt x="64" y="18"/>
                    <a:pt x="63" y="19"/>
                  </a:cubicBezTo>
                  <a:close/>
                </a:path>
              </a:pathLst>
            </a:custGeom>
            <a:solidFill>
              <a:srgbClr val="F6CA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2" name="Freeform 99"/>
            <p:cNvSpPr>
              <a:spLocks/>
            </p:cNvSpPr>
            <p:nvPr userDrawn="1"/>
          </p:nvSpPr>
          <p:spPr bwMode="auto">
            <a:xfrm>
              <a:off x="8654768" y="3523106"/>
              <a:ext cx="598521" cy="675750"/>
            </a:xfrm>
            <a:custGeom>
              <a:avLst/>
              <a:gdLst>
                <a:gd name="T0" fmla="*/ 192 w 222"/>
                <a:gd name="T1" fmla="*/ 97 h 251"/>
                <a:gd name="T2" fmla="*/ 222 w 222"/>
                <a:gd name="T3" fmla="*/ 48 h 251"/>
                <a:gd name="T4" fmla="*/ 127 w 222"/>
                <a:gd name="T5" fmla="*/ 0 h 251"/>
                <a:gd name="T6" fmla="*/ 95 w 222"/>
                <a:gd name="T7" fmla="*/ 0 h 251"/>
                <a:gd name="T8" fmla="*/ 0 w 222"/>
                <a:gd name="T9" fmla="*/ 48 h 251"/>
                <a:gd name="T10" fmla="*/ 30 w 222"/>
                <a:gd name="T11" fmla="*/ 97 h 251"/>
                <a:gd name="T12" fmla="*/ 66 w 222"/>
                <a:gd name="T13" fmla="*/ 237 h 251"/>
                <a:gd name="T14" fmla="*/ 111 w 222"/>
                <a:gd name="T15" fmla="*/ 251 h 251"/>
                <a:gd name="T16" fmla="*/ 156 w 222"/>
                <a:gd name="T17" fmla="*/ 237 h 251"/>
                <a:gd name="T18" fmla="*/ 192 w 222"/>
                <a:gd name="T19" fmla="*/ 97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2" h="251">
                  <a:moveTo>
                    <a:pt x="192" y="97"/>
                  </a:moveTo>
                  <a:cubicBezTo>
                    <a:pt x="222" y="48"/>
                    <a:pt x="222" y="48"/>
                    <a:pt x="222" y="48"/>
                  </a:cubicBezTo>
                  <a:cubicBezTo>
                    <a:pt x="222" y="48"/>
                    <a:pt x="195" y="0"/>
                    <a:pt x="127" y="0"/>
                  </a:cubicBezTo>
                  <a:cubicBezTo>
                    <a:pt x="114" y="0"/>
                    <a:pt x="107" y="0"/>
                    <a:pt x="95" y="0"/>
                  </a:cubicBezTo>
                  <a:cubicBezTo>
                    <a:pt x="27" y="0"/>
                    <a:pt x="0" y="48"/>
                    <a:pt x="0" y="48"/>
                  </a:cubicBezTo>
                  <a:cubicBezTo>
                    <a:pt x="30" y="97"/>
                    <a:pt x="30" y="97"/>
                    <a:pt x="30" y="97"/>
                  </a:cubicBezTo>
                  <a:cubicBezTo>
                    <a:pt x="66" y="237"/>
                    <a:pt x="66" y="237"/>
                    <a:pt x="66" y="237"/>
                  </a:cubicBezTo>
                  <a:cubicBezTo>
                    <a:pt x="66" y="237"/>
                    <a:pt x="82" y="251"/>
                    <a:pt x="111" y="251"/>
                  </a:cubicBezTo>
                  <a:cubicBezTo>
                    <a:pt x="140" y="251"/>
                    <a:pt x="156" y="237"/>
                    <a:pt x="156" y="237"/>
                  </a:cubicBezTo>
                  <a:lnTo>
                    <a:pt x="192" y="9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3" name="Freeform 100"/>
            <p:cNvSpPr>
              <a:spLocks/>
            </p:cNvSpPr>
            <p:nvPr userDrawn="1"/>
          </p:nvSpPr>
          <p:spPr bwMode="auto">
            <a:xfrm>
              <a:off x="8882591" y="3376372"/>
              <a:ext cx="142874" cy="235548"/>
            </a:xfrm>
            <a:custGeom>
              <a:avLst/>
              <a:gdLst>
                <a:gd name="T0" fmla="*/ 0 w 52"/>
                <a:gd name="T1" fmla="*/ 0 h 87"/>
                <a:gd name="T2" fmla="*/ 0 w 52"/>
                <a:gd name="T3" fmla="*/ 61 h 87"/>
                <a:gd name="T4" fmla="*/ 26 w 52"/>
                <a:gd name="T5" fmla="*/ 87 h 87"/>
                <a:gd name="T6" fmla="*/ 52 w 52"/>
                <a:gd name="T7" fmla="*/ 61 h 87"/>
                <a:gd name="T8" fmla="*/ 52 w 52"/>
                <a:gd name="T9" fmla="*/ 0 h 87"/>
                <a:gd name="T10" fmla="*/ 0 w 52"/>
                <a:gd name="T1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87">
                  <a:moveTo>
                    <a:pt x="0" y="0"/>
                  </a:moveTo>
                  <a:cubicBezTo>
                    <a:pt x="0" y="61"/>
                    <a:pt x="0" y="61"/>
                    <a:pt x="0" y="61"/>
                  </a:cubicBezTo>
                  <a:cubicBezTo>
                    <a:pt x="0" y="76"/>
                    <a:pt x="12" y="87"/>
                    <a:pt x="26" y="87"/>
                  </a:cubicBezTo>
                  <a:cubicBezTo>
                    <a:pt x="40" y="87"/>
                    <a:pt x="52" y="76"/>
                    <a:pt x="52" y="61"/>
                  </a:cubicBezTo>
                  <a:cubicBezTo>
                    <a:pt x="52" y="0"/>
                    <a:pt x="52" y="0"/>
                    <a:pt x="52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3C4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4" name="Freeform 101"/>
            <p:cNvSpPr>
              <a:spLocks/>
            </p:cNvSpPr>
            <p:nvPr userDrawn="1"/>
          </p:nvSpPr>
          <p:spPr bwMode="auto">
            <a:xfrm>
              <a:off x="8731996" y="2982507"/>
              <a:ext cx="444065" cy="436342"/>
            </a:xfrm>
            <a:custGeom>
              <a:avLst/>
              <a:gdLst>
                <a:gd name="T0" fmla="*/ 162 w 164"/>
                <a:gd name="T1" fmla="*/ 84 h 163"/>
                <a:gd name="T2" fmla="*/ 79 w 164"/>
                <a:gd name="T3" fmla="*/ 162 h 163"/>
                <a:gd name="T4" fmla="*/ 2 w 164"/>
                <a:gd name="T5" fmla="*/ 78 h 163"/>
                <a:gd name="T6" fmla="*/ 85 w 164"/>
                <a:gd name="T7" fmla="*/ 1 h 163"/>
                <a:gd name="T8" fmla="*/ 162 w 164"/>
                <a:gd name="T9" fmla="*/ 84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4" h="163">
                  <a:moveTo>
                    <a:pt x="162" y="84"/>
                  </a:moveTo>
                  <a:cubicBezTo>
                    <a:pt x="160" y="129"/>
                    <a:pt x="123" y="163"/>
                    <a:pt x="79" y="162"/>
                  </a:cubicBezTo>
                  <a:cubicBezTo>
                    <a:pt x="35" y="160"/>
                    <a:pt x="0" y="123"/>
                    <a:pt x="2" y="78"/>
                  </a:cubicBezTo>
                  <a:cubicBezTo>
                    <a:pt x="3" y="34"/>
                    <a:pt x="41" y="0"/>
                    <a:pt x="85" y="1"/>
                  </a:cubicBezTo>
                  <a:cubicBezTo>
                    <a:pt x="129" y="3"/>
                    <a:pt x="164" y="40"/>
                    <a:pt x="162" y="84"/>
                  </a:cubicBezTo>
                </a:path>
              </a:pathLst>
            </a:custGeom>
            <a:solidFill>
              <a:srgbClr val="3214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5" name="Freeform 102"/>
            <p:cNvSpPr>
              <a:spLocks/>
            </p:cNvSpPr>
            <p:nvPr userDrawn="1"/>
          </p:nvSpPr>
          <p:spPr bwMode="auto">
            <a:xfrm>
              <a:off x="8813085" y="2789436"/>
              <a:ext cx="285745" cy="285745"/>
            </a:xfrm>
            <a:custGeom>
              <a:avLst/>
              <a:gdLst>
                <a:gd name="T0" fmla="*/ 105 w 106"/>
                <a:gd name="T1" fmla="*/ 55 h 106"/>
                <a:gd name="T2" fmla="*/ 51 w 106"/>
                <a:gd name="T3" fmla="*/ 105 h 106"/>
                <a:gd name="T4" fmla="*/ 1 w 106"/>
                <a:gd name="T5" fmla="*/ 51 h 106"/>
                <a:gd name="T6" fmla="*/ 55 w 106"/>
                <a:gd name="T7" fmla="*/ 1 h 106"/>
                <a:gd name="T8" fmla="*/ 105 w 106"/>
                <a:gd name="T9" fmla="*/ 5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" h="106">
                  <a:moveTo>
                    <a:pt x="105" y="55"/>
                  </a:moveTo>
                  <a:cubicBezTo>
                    <a:pt x="103" y="83"/>
                    <a:pt x="79" y="106"/>
                    <a:pt x="51" y="105"/>
                  </a:cubicBezTo>
                  <a:cubicBezTo>
                    <a:pt x="22" y="103"/>
                    <a:pt x="0" y="79"/>
                    <a:pt x="1" y="51"/>
                  </a:cubicBezTo>
                  <a:cubicBezTo>
                    <a:pt x="2" y="22"/>
                    <a:pt x="26" y="0"/>
                    <a:pt x="55" y="1"/>
                  </a:cubicBezTo>
                  <a:cubicBezTo>
                    <a:pt x="83" y="2"/>
                    <a:pt x="106" y="26"/>
                    <a:pt x="105" y="55"/>
                  </a:cubicBezTo>
                  <a:close/>
                </a:path>
              </a:pathLst>
            </a:custGeom>
            <a:solidFill>
              <a:srgbClr val="3214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6" name="Freeform 103"/>
            <p:cNvSpPr>
              <a:spLocks/>
            </p:cNvSpPr>
            <p:nvPr userDrawn="1"/>
          </p:nvSpPr>
          <p:spPr bwMode="auto">
            <a:xfrm>
              <a:off x="9083384" y="3221915"/>
              <a:ext cx="88814" cy="84951"/>
            </a:xfrm>
            <a:custGeom>
              <a:avLst/>
              <a:gdLst>
                <a:gd name="T0" fmla="*/ 33 w 33"/>
                <a:gd name="T1" fmla="*/ 16 h 32"/>
                <a:gd name="T2" fmla="*/ 17 w 33"/>
                <a:gd name="T3" fmla="*/ 32 h 32"/>
                <a:gd name="T4" fmla="*/ 0 w 33"/>
                <a:gd name="T5" fmla="*/ 16 h 32"/>
                <a:gd name="T6" fmla="*/ 17 w 33"/>
                <a:gd name="T7" fmla="*/ 0 h 32"/>
                <a:gd name="T8" fmla="*/ 33 w 33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32">
                  <a:moveTo>
                    <a:pt x="33" y="16"/>
                  </a:moveTo>
                  <a:cubicBezTo>
                    <a:pt x="33" y="25"/>
                    <a:pt x="26" y="32"/>
                    <a:pt x="17" y="32"/>
                  </a:cubicBezTo>
                  <a:cubicBezTo>
                    <a:pt x="8" y="32"/>
                    <a:pt x="0" y="25"/>
                    <a:pt x="0" y="16"/>
                  </a:cubicBezTo>
                  <a:cubicBezTo>
                    <a:pt x="1" y="7"/>
                    <a:pt x="8" y="0"/>
                    <a:pt x="17" y="0"/>
                  </a:cubicBezTo>
                  <a:cubicBezTo>
                    <a:pt x="26" y="0"/>
                    <a:pt x="33" y="7"/>
                    <a:pt x="33" y="16"/>
                  </a:cubicBezTo>
                  <a:close/>
                </a:path>
              </a:pathLst>
            </a:custGeom>
            <a:solidFill>
              <a:srgbClr val="F8D5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7" name="Freeform 104"/>
            <p:cNvSpPr>
              <a:spLocks/>
            </p:cNvSpPr>
            <p:nvPr userDrawn="1"/>
          </p:nvSpPr>
          <p:spPr bwMode="auto">
            <a:xfrm>
              <a:off x="9087247" y="3221915"/>
              <a:ext cx="84951" cy="69506"/>
            </a:xfrm>
            <a:custGeom>
              <a:avLst/>
              <a:gdLst>
                <a:gd name="T0" fmla="*/ 13 w 31"/>
                <a:gd name="T1" fmla="*/ 3 h 26"/>
                <a:gd name="T2" fmla="*/ 29 w 31"/>
                <a:gd name="T3" fmla="*/ 20 h 26"/>
                <a:gd name="T4" fmla="*/ 27 w 31"/>
                <a:gd name="T5" fmla="*/ 26 h 26"/>
                <a:gd name="T6" fmla="*/ 31 w 31"/>
                <a:gd name="T7" fmla="*/ 16 h 26"/>
                <a:gd name="T8" fmla="*/ 15 w 31"/>
                <a:gd name="T9" fmla="*/ 0 h 26"/>
                <a:gd name="T10" fmla="*/ 0 w 31"/>
                <a:gd name="T11" fmla="*/ 9 h 26"/>
                <a:gd name="T12" fmla="*/ 13 w 31"/>
                <a:gd name="T13" fmla="*/ 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26">
                  <a:moveTo>
                    <a:pt x="13" y="3"/>
                  </a:moveTo>
                  <a:cubicBezTo>
                    <a:pt x="22" y="3"/>
                    <a:pt x="29" y="11"/>
                    <a:pt x="29" y="20"/>
                  </a:cubicBezTo>
                  <a:cubicBezTo>
                    <a:pt x="29" y="22"/>
                    <a:pt x="28" y="24"/>
                    <a:pt x="27" y="26"/>
                  </a:cubicBezTo>
                  <a:cubicBezTo>
                    <a:pt x="30" y="23"/>
                    <a:pt x="31" y="20"/>
                    <a:pt x="31" y="16"/>
                  </a:cubicBezTo>
                  <a:cubicBezTo>
                    <a:pt x="31" y="7"/>
                    <a:pt x="24" y="0"/>
                    <a:pt x="15" y="0"/>
                  </a:cubicBezTo>
                  <a:cubicBezTo>
                    <a:pt x="8" y="0"/>
                    <a:pt x="2" y="4"/>
                    <a:pt x="0" y="9"/>
                  </a:cubicBezTo>
                  <a:cubicBezTo>
                    <a:pt x="3" y="6"/>
                    <a:pt x="7" y="3"/>
                    <a:pt x="13" y="3"/>
                  </a:cubicBezTo>
                  <a:close/>
                </a:path>
              </a:pathLst>
            </a:custGeom>
            <a:solidFill>
              <a:srgbClr val="E3C4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8" name="Oval 105"/>
            <p:cNvSpPr>
              <a:spLocks noChangeArrowheads="1"/>
            </p:cNvSpPr>
            <p:nvPr userDrawn="1"/>
          </p:nvSpPr>
          <p:spPr bwMode="auto">
            <a:xfrm>
              <a:off x="8735857" y="3218055"/>
              <a:ext cx="84951" cy="88814"/>
            </a:xfrm>
            <a:prstGeom prst="ellipse">
              <a:avLst/>
            </a:prstGeom>
            <a:solidFill>
              <a:srgbClr val="F8D5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9" name="Freeform 106"/>
            <p:cNvSpPr>
              <a:spLocks/>
            </p:cNvSpPr>
            <p:nvPr userDrawn="1"/>
          </p:nvSpPr>
          <p:spPr bwMode="auto">
            <a:xfrm>
              <a:off x="8735857" y="3218055"/>
              <a:ext cx="84951" cy="69506"/>
            </a:xfrm>
            <a:custGeom>
              <a:avLst/>
              <a:gdLst>
                <a:gd name="T0" fmla="*/ 18 w 31"/>
                <a:gd name="T1" fmla="*/ 4 h 26"/>
                <a:gd name="T2" fmla="*/ 2 w 31"/>
                <a:gd name="T3" fmla="*/ 20 h 26"/>
                <a:gd name="T4" fmla="*/ 3 w 31"/>
                <a:gd name="T5" fmla="*/ 26 h 26"/>
                <a:gd name="T6" fmla="*/ 0 w 31"/>
                <a:gd name="T7" fmla="*/ 16 h 26"/>
                <a:gd name="T8" fmla="*/ 16 w 31"/>
                <a:gd name="T9" fmla="*/ 0 h 26"/>
                <a:gd name="T10" fmla="*/ 31 w 31"/>
                <a:gd name="T11" fmla="*/ 10 h 26"/>
                <a:gd name="T12" fmla="*/ 18 w 31"/>
                <a:gd name="T13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26">
                  <a:moveTo>
                    <a:pt x="18" y="4"/>
                  </a:moveTo>
                  <a:cubicBezTo>
                    <a:pt x="9" y="4"/>
                    <a:pt x="2" y="11"/>
                    <a:pt x="2" y="20"/>
                  </a:cubicBezTo>
                  <a:cubicBezTo>
                    <a:pt x="2" y="22"/>
                    <a:pt x="2" y="24"/>
                    <a:pt x="3" y="26"/>
                  </a:cubicBezTo>
                  <a:cubicBezTo>
                    <a:pt x="1" y="23"/>
                    <a:pt x="0" y="20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3" y="0"/>
                    <a:pt x="29" y="4"/>
                    <a:pt x="31" y="10"/>
                  </a:cubicBezTo>
                  <a:cubicBezTo>
                    <a:pt x="28" y="6"/>
                    <a:pt x="24" y="4"/>
                    <a:pt x="18" y="4"/>
                  </a:cubicBezTo>
                  <a:close/>
                </a:path>
              </a:pathLst>
            </a:custGeom>
            <a:solidFill>
              <a:srgbClr val="E3C4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0" name="Freeform 107"/>
            <p:cNvSpPr>
              <a:spLocks/>
            </p:cNvSpPr>
            <p:nvPr userDrawn="1"/>
          </p:nvSpPr>
          <p:spPr bwMode="auto">
            <a:xfrm>
              <a:off x="8774471" y="3144687"/>
              <a:ext cx="355251" cy="343668"/>
            </a:xfrm>
            <a:custGeom>
              <a:avLst/>
              <a:gdLst>
                <a:gd name="T0" fmla="*/ 131 w 131"/>
                <a:gd name="T1" fmla="*/ 10 h 129"/>
                <a:gd name="T2" fmla="*/ 124 w 131"/>
                <a:gd name="T3" fmla="*/ 1 h 129"/>
                <a:gd name="T4" fmla="*/ 9 w 131"/>
                <a:gd name="T5" fmla="*/ 0 h 129"/>
                <a:gd name="T6" fmla="*/ 1 w 131"/>
                <a:gd name="T7" fmla="*/ 9 h 129"/>
                <a:gd name="T8" fmla="*/ 0 w 131"/>
                <a:gd name="T9" fmla="*/ 80 h 129"/>
                <a:gd name="T10" fmla="*/ 0 w 131"/>
                <a:gd name="T11" fmla="*/ 81 h 129"/>
                <a:gd name="T12" fmla="*/ 0 w 131"/>
                <a:gd name="T13" fmla="*/ 83 h 129"/>
                <a:gd name="T14" fmla="*/ 6 w 131"/>
                <a:gd name="T15" fmla="*/ 95 h 129"/>
                <a:gd name="T16" fmla="*/ 6 w 131"/>
                <a:gd name="T17" fmla="*/ 95 h 129"/>
                <a:gd name="T18" fmla="*/ 6 w 131"/>
                <a:gd name="T19" fmla="*/ 95 h 129"/>
                <a:gd name="T20" fmla="*/ 10 w 131"/>
                <a:gd name="T21" fmla="*/ 98 h 129"/>
                <a:gd name="T22" fmla="*/ 49 w 131"/>
                <a:gd name="T23" fmla="*/ 122 h 129"/>
                <a:gd name="T24" fmla="*/ 57 w 131"/>
                <a:gd name="T25" fmla="*/ 129 h 129"/>
                <a:gd name="T26" fmla="*/ 74 w 131"/>
                <a:gd name="T27" fmla="*/ 129 h 129"/>
                <a:gd name="T28" fmla="*/ 82 w 131"/>
                <a:gd name="T29" fmla="*/ 123 h 129"/>
                <a:gd name="T30" fmla="*/ 121 w 131"/>
                <a:gd name="T31" fmla="*/ 99 h 129"/>
                <a:gd name="T32" fmla="*/ 126 w 131"/>
                <a:gd name="T33" fmla="*/ 96 h 129"/>
                <a:gd name="T34" fmla="*/ 126 w 131"/>
                <a:gd name="T35" fmla="*/ 96 h 129"/>
                <a:gd name="T36" fmla="*/ 126 w 131"/>
                <a:gd name="T37" fmla="*/ 96 h 129"/>
                <a:gd name="T38" fmla="*/ 131 w 131"/>
                <a:gd name="T39" fmla="*/ 84 h 129"/>
                <a:gd name="T40" fmla="*/ 131 w 131"/>
                <a:gd name="T41" fmla="*/ 82 h 129"/>
                <a:gd name="T42" fmla="*/ 131 w 131"/>
                <a:gd name="T43" fmla="*/ 81 h 129"/>
                <a:gd name="T44" fmla="*/ 131 w 131"/>
                <a:gd name="T45" fmla="*/ 1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1" h="129">
                  <a:moveTo>
                    <a:pt x="131" y="10"/>
                  </a:moveTo>
                  <a:cubicBezTo>
                    <a:pt x="131" y="5"/>
                    <a:pt x="128" y="1"/>
                    <a:pt x="124" y="1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1" y="4"/>
                    <a:pt x="1" y="9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0" y="82"/>
                    <a:pt x="0" y="82"/>
                    <a:pt x="0" y="83"/>
                  </a:cubicBezTo>
                  <a:cubicBezTo>
                    <a:pt x="0" y="88"/>
                    <a:pt x="2" y="92"/>
                    <a:pt x="6" y="95"/>
                  </a:cubicBezTo>
                  <a:cubicBezTo>
                    <a:pt x="6" y="95"/>
                    <a:pt x="6" y="95"/>
                    <a:pt x="6" y="95"/>
                  </a:cubicBezTo>
                  <a:cubicBezTo>
                    <a:pt x="6" y="95"/>
                    <a:pt x="6" y="95"/>
                    <a:pt x="6" y="95"/>
                  </a:cubicBezTo>
                  <a:cubicBezTo>
                    <a:pt x="7" y="97"/>
                    <a:pt x="9" y="98"/>
                    <a:pt x="10" y="98"/>
                  </a:cubicBezTo>
                  <a:cubicBezTo>
                    <a:pt x="49" y="122"/>
                    <a:pt x="49" y="122"/>
                    <a:pt x="49" y="122"/>
                  </a:cubicBezTo>
                  <a:cubicBezTo>
                    <a:pt x="51" y="126"/>
                    <a:pt x="54" y="129"/>
                    <a:pt x="57" y="129"/>
                  </a:cubicBezTo>
                  <a:cubicBezTo>
                    <a:pt x="74" y="129"/>
                    <a:pt x="74" y="129"/>
                    <a:pt x="74" y="129"/>
                  </a:cubicBezTo>
                  <a:cubicBezTo>
                    <a:pt x="76" y="129"/>
                    <a:pt x="80" y="126"/>
                    <a:pt x="82" y="123"/>
                  </a:cubicBezTo>
                  <a:cubicBezTo>
                    <a:pt x="121" y="99"/>
                    <a:pt x="121" y="99"/>
                    <a:pt x="121" y="99"/>
                  </a:cubicBezTo>
                  <a:cubicBezTo>
                    <a:pt x="123" y="98"/>
                    <a:pt x="124" y="97"/>
                    <a:pt x="126" y="96"/>
                  </a:cubicBezTo>
                  <a:cubicBezTo>
                    <a:pt x="126" y="96"/>
                    <a:pt x="126" y="96"/>
                    <a:pt x="126" y="96"/>
                  </a:cubicBezTo>
                  <a:cubicBezTo>
                    <a:pt x="126" y="96"/>
                    <a:pt x="126" y="96"/>
                    <a:pt x="126" y="96"/>
                  </a:cubicBezTo>
                  <a:cubicBezTo>
                    <a:pt x="129" y="93"/>
                    <a:pt x="131" y="89"/>
                    <a:pt x="131" y="84"/>
                  </a:cubicBezTo>
                  <a:cubicBezTo>
                    <a:pt x="131" y="83"/>
                    <a:pt x="131" y="83"/>
                    <a:pt x="131" y="82"/>
                  </a:cubicBezTo>
                  <a:cubicBezTo>
                    <a:pt x="131" y="82"/>
                    <a:pt x="131" y="81"/>
                    <a:pt x="131" y="81"/>
                  </a:cubicBezTo>
                  <a:cubicBezTo>
                    <a:pt x="131" y="10"/>
                    <a:pt x="131" y="10"/>
                    <a:pt x="131" y="10"/>
                  </a:cubicBezTo>
                </a:path>
              </a:pathLst>
            </a:custGeom>
            <a:solidFill>
              <a:srgbClr val="F6CA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1" name="Freeform 108"/>
            <p:cNvSpPr>
              <a:spLocks/>
            </p:cNvSpPr>
            <p:nvPr userDrawn="1"/>
          </p:nvSpPr>
          <p:spPr bwMode="auto">
            <a:xfrm>
              <a:off x="8774471" y="3144687"/>
              <a:ext cx="139011" cy="335945"/>
            </a:xfrm>
            <a:custGeom>
              <a:avLst/>
              <a:gdLst>
                <a:gd name="T0" fmla="*/ 49 w 51"/>
                <a:gd name="T1" fmla="*/ 122 h 126"/>
                <a:gd name="T2" fmla="*/ 15 w 51"/>
                <a:gd name="T3" fmla="*/ 98 h 126"/>
                <a:gd name="T4" fmla="*/ 10 w 51"/>
                <a:gd name="T5" fmla="*/ 95 h 126"/>
                <a:gd name="T6" fmla="*/ 10 w 51"/>
                <a:gd name="T7" fmla="*/ 95 h 126"/>
                <a:gd name="T8" fmla="*/ 10 w 51"/>
                <a:gd name="T9" fmla="*/ 95 h 126"/>
                <a:gd name="T10" fmla="*/ 5 w 51"/>
                <a:gd name="T11" fmla="*/ 83 h 126"/>
                <a:gd name="T12" fmla="*/ 5 w 51"/>
                <a:gd name="T13" fmla="*/ 81 h 126"/>
                <a:gd name="T14" fmla="*/ 5 w 51"/>
                <a:gd name="T15" fmla="*/ 80 h 126"/>
                <a:gd name="T16" fmla="*/ 5 w 51"/>
                <a:gd name="T17" fmla="*/ 9 h 126"/>
                <a:gd name="T18" fmla="*/ 13 w 51"/>
                <a:gd name="T19" fmla="*/ 0 h 126"/>
                <a:gd name="T20" fmla="*/ 9 w 51"/>
                <a:gd name="T21" fmla="*/ 0 h 126"/>
                <a:gd name="T22" fmla="*/ 1 w 51"/>
                <a:gd name="T23" fmla="*/ 9 h 126"/>
                <a:gd name="T24" fmla="*/ 0 w 51"/>
                <a:gd name="T25" fmla="*/ 80 h 126"/>
                <a:gd name="T26" fmla="*/ 0 w 51"/>
                <a:gd name="T27" fmla="*/ 81 h 126"/>
                <a:gd name="T28" fmla="*/ 0 w 51"/>
                <a:gd name="T29" fmla="*/ 83 h 126"/>
                <a:gd name="T30" fmla="*/ 6 w 51"/>
                <a:gd name="T31" fmla="*/ 95 h 126"/>
                <a:gd name="T32" fmla="*/ 6 w 51"/>
                <a:gd name="T33" fmla="*/ 95 h 126"/>
                <a:gd name="T34" fmla="*/ 6 w 51"/>
                <a:gd name="T35" fmla="*/ 95 h 126"/>
                <a:gd name="T36" fmla="*/ 10 w 51"/>
                <a:gd name="T37" fmla="*/ 98 h 126"/>
                <a:gd name="T38" fmla="*/ 49 w 51"/>
                <a:gd name="T39" fmla="*/ 122 h 126"/>
                <a:gd name="T40" fmla="*/ 49 w 51"/>
                <a:gd name="T41" fmla="*/ 122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" h="126">
                  <a:moveTo>
                    <a:pt x="49" y="122"/>
                  </a:moveTo>
                  <a:cubicBezTo>
                    <a:pt x="15" y="98"/>
                    <a:pt x="15" y="98"/>
                    <a:pt x="15" y="98"/>
                  </a:cubicBezTo>
                  <a:cubicBezTo>
                    <a:pt x="13" y="98"/>
                    <a:pt x="12" y="97"/>
                    <a:pt x="10" y="95"/>
                  </a:cubicBezTo>
                  <a:cubicBezTo>
                    <a:pt x="10" y="95"/>
                    <a:pt x="10" y="95"/>
                    <a:pt x="10" y="95"/>
                  </a:cubicBezTo>
                  <a:cubicBezTo>
                    <a:pt x="10" y="95"/>
                    <a:pt x="10" y="95"/>
                    <a:pt x="10" y="95"/>
                  </a:cubicBezTo>
                  <a:cubicBezTo>
                    <a:pt x="7" y="92"/>
                    <a:pt x="5" y="88"/>
                    <a:pt x="5" y="83"/>
                  </a:cubicBezTo>
                  <a:cubicBezTo>
                    <a:pt x="5" y="82"/>
                    <a:pt x="5" y="82"/>
                    <a:pt x="5" y="81"/>
                  </a:cubicBezTo>
                  <a:cubicBezTo>
                    <a:pt x="5" y="81"/>
                    <a:pt x="5" y="81"/>
                    <a:pt x="5" y="80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4"/>
                    <a:pt x="9" y="0"/>
                    <a:pt x="1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1" y="4"/>
                    <a:pt x="1" y="9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0" y="82"/>
                    <a:pt x="0" y="82"/>
                    <a:pt x="0" y="83"/>
                  </a:cubicBezTo>
                  <a:cubicBezTo>
                    <a:pt x="0" y="88"/>
                    <a:pt x="2" y="92"/>
                    <a:pt x="6" y="95"/>
                  </a:cubicBezTo>
                  <a:cubicBezTo>
                    <a:pt x="6" y="95"/>
                    <a:pt x="6" y="95"/>
                    <a:pt x="6" y="95"/>
                  </a:cubicBezTo>
                  <a:cubicBezTo>
                    <a:pt x="6" y="95"/>
                    <a:pt x="6" y="95"/>
                    <a:pt x="6" y="95"/>
                  </a:cubicBezTo>
                  <a:cubicBezTo>
                    <a:pt x="7" y="97"/>
                    <a:pt x="9" y="98"/>
                    <a:pt x="10" y="98"/>
                  </a:cubicBezTo>
                  <a:cubicBezTo>
                    <a:pt x="49" y="122"/>
                    <a:pt x="49" y="122"/>
                    <a:pt x="49" y="122"/>
                  </a:cubicBezTo>
                  <a:cubicBezTo>
                    <a:pt x="51" y="126"/>
                    <a:pt x="51" y="126"/>
                    <a:pt x="49" y="122"/>
                  </a:cubicBezTo>
                  <a:close/>
                </a:path>
              </a:pathLst>
            </a:custGeom>
            <a:solidFill>
              <a:srgbClr val="F8D5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2" name="Freeform 109"/>
            <p:cNvSpPr>
              <a:spLocks/>
            </p:cNvSpPr>
            <p:nvPr userDrawn="1"/>
          </p:nvSpPr>
          <p:spPr bwMode="auto">
            <a:xfrm>
              <a:off x="8998433" y="3160132"/>
              <a:ext cx="131288" cy="312776"/>
            </a:xfrm>
            <a:custGeom>
              <a:avLst/>
              <a:gdLst>
                <a:gd name="T0" fmla="*/ 49 w 49"/>
                <a:gd name="T1" fmla="*/ 4 h 117"/>
                <a:gd name="T2" fmla="*/ 45 w 49"/>
                <a:gd name="T3" fmla="*/ 71 h 117"/>
                <a:gd name="T4" fmla="*/ 45 w 49"/>
                <a:gd name="T5" fmla="*/ 72 h 117"/>
                <a:gd name="T6" fmla="*/ 45 w 49"/>
                <a:gd name="T7" fmla="*/ 73 h 117"/>
                <a:gd name="T8" fmla="*/ 40 w 49"/>
                <a:gd name="T9" fmla="*/ 85 h 117"/>
                <a:gd name="T10" fmla="*/ 35 w 49"/>
                <a:gd name="T11" fmla="*/ 89 h 117"/>
                <a:gd name="T12" fmla="*/ 0 w 49"/>
                <a:gd name="T13" fmla="*/ 117 h 117"/>
                <a:gd name="T14" fmla="*/ 39 w 49"/>
                <a:gd name="T15" fmla="*/ 93 h 117"/>
                <a:gd name="T16" fmla="*/ 44 w 49"/>
                <a:gd name="T17" fmla="*/ 90 h 117"/>
                <a:gd name="T18" fmla="*/ 44 w 49"/>
                <a:gd name="T19" fmla="*/ 90 h 117"/>
                <a:gd name="T20" fmla="*/ 44 w 49"/>
                <a:gd name="T21" fmla="*/ 90 h 117"/>
                <a:gd name="T22" fmla="*/ 49 w 49"/>
                <a:gd name="T23" fmla="*/ 78 h 117"/>
                <a:gd name="T24" fmla="*/ 49 w 49"/>
                <a:gd name="T25" fmla="*/ 76 h 117"/>
                <a:gd name="T26" fmla="*/ 49 w 49"/>
                <a:gd name="T27" fmla="*/ 75 h 117"/>
                <a:gd name="T28" fmla="*/ 49 w 49"/>
                <a:gd name="T29" fmla="*/ 4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9" h="117">
                  <a:moveTo>
                    <a:pt x="49" y="4"/>
                  </a:moveTo>
                  <a:cubicBezTo>
                    <a:pt x="49" y="0"/>
                    <a:pt x="45" y="71"/>
                    <a:pt x="45" y="71"/>
                  </a:cubicBezTo>
                  <a:cubicBezTo>
                    <a:pt x="45" y="71"/>
                    <a:pt x="45" y="71"/>
                    <a:pt x="45" y="72"/>
                  </a:cubicBezTo>
                  <a:cubicBezTo>
                    <a:pt x="45" y="72"/>
                    <a:pt x="45" y="73"/>
                    <a:pt x="45" y="73"/>
                  </a:cubicBezTo>
                  <a:cubicBezTo>
                    <a:pt x="45" y="78"/>
                    <a:pt x="41" y="84"/>
                    <a:pt x="40" y="85"/>
                  </a:cubicBezTo>
                  <a:cubicBezTo>
                    <a:pt x="38" y="86"/>
                    <a:pt x="37" y="87"/>
                    <a:pt x="35" y="89"/>
                  </a:cubicBezTo>
                  <a:cubicBezTo>
                    <a:pt x="33" y="90"/>
                    <a:pt x="3" y="114"/>
                    <a:pt x="0" y="117"/>
                  </a:cubicBezTo>
                  <a:cubicBezTo>
                    <a:pt x="39" y="93"/>
                    <a:pt x="39" y="93"/>
                    <a:pt x="39" y="93"/>
                  </a:cubicBezTo>
                  <a:cubicBezTo>
                    <a:pt x="41" y="92"/>
                    <a:pt x="42" y="91"/>
                    <a:pt x="44" y="90"/>
                  </a:cubicBezTo>
                  <a:cubicBezTo>
                    <a:pt x="44" y="90"/>
                    <a:pt x="44" y="90"/>
                    <a:pt x="44" y="90"/>
                  </a:cubicBezTo>
                  <a:cubicBezTo>
                    <a:pt x="44" y="90"/>
                    <a:pt x="44" y="90"/>
                    <a:pt x="44" y="90"/>
                  </a:cubicBezTo>
                  <a:cubicBezTo>
                    <a:pt x="47" y="87"/>
                    <a:pt x="49" y="83"/>
                    <a:pt x="49" y="78"/>
                  </a:cubicBezTo>
                  <a:cubicBezTo>
                    <a:pt x="49" y="77"/>
                    <a:pt x="49" y="77"/>
                    <a:pt x="49" y="76"/>
                  </a:cubicBezTo>
                  <a:cubicBezTo>
                    <a:pt x="49" y="76"/>
                    <a:pt x="49" y="75"/>
                    <a:pt x="49" y="75"/>
                  </a:cubicBezTo>
                  <a:lnTo>
                    <a:pt x="49" y="4"/>
                  </a:lnTo>
                  <a:close/>
                </a:path>
              </a:pathLst>
            </a:custGeom>
            <a:solidFill>
              <a:srgbClr val="E3C4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3" name="Freeform 110"/>
            <p:cNvSpPr>
              <a:spLocks/>
            </p:cNvSpPr>
            <p:nvPr userDrawn="1"/>
          </p:nvSpPr>
          <p:spPr bwMode="auto">
            <a:xfrm>
              <a:off x="8874868" y="3260529"/>
              <a:ext cx="38614" cy="34754"/>
            </a:xfrm>
            <a:custGeom>
              <a:avLst/>
              <a:gdLst>
                <a:gd name="T0" fmla="*/ 7 w 15"/>
                <a:gd name="T1" fmla="*/ 11 h 12"/>
                <a:gd name="T2" fmla="*/ 13 w 15"/>
                <a:gd name="T3" fmla="*/ 12 h 12"/>
                <a:gd name="T4" fmla="*/ 15 w 15"/>
                <a:gd name="T5" fmla="*/ 7 h 12"/>
                <a:gd name="T6" fmla="*/ 7 w 15"/>
                <a:gd name="T7" fmla="*/ 0 h 12"/>
                <a:gd name="T8" fmla="*/ 0 w 15"/>
                <a:gd name="T9" fmla="*/ 7 h 12"/>
                <a:gd name="T10" fmla="*/ 2 w 15"/>
                <a:gd name="T11" fmla="*/ 12 h 12"/>
                <a:gd name="T12" fmla="*/ 7 w 15"/>
                <a:gd name="T1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12">
                  <a:moveTo>
                    <a:pt x="7" y="11"/>
                  </a:moveTo>
                  <a:cubicBezTo>
                    <a:pt x="9" y="11"/>
                    <a:pt x="11" y="11"/>
                    <a:pt x="13" y="12"/>
                  </a:cubicBezTo>
                  <a:cubicBezTo>
                    <a:pt x="14" y="11"/>
                    <a:pt x="15" y="9"/>
                    <a:pt x="15" y="7"/>
                  </a:cubicBezTo>
                  <a:cubicBezTo>
                    <a:pt x="15" y="3"/>
                    <a:pt x="11" y="0"/>
                    <a:pt x="7" y="0"/>
                  </a:cubicBezTo>
                  <a:cubicBezTo>
                    <a:pt x="3" y="0"/>
                    <a:pt x="0" y="3"/>
                    <a:pt x="0" y="7"/>
                  </a:cubicBezTo>
                  <a:cubicBezTo>
                    <a:pt x="0" y="9"/>
                    <a:pt x="0" y="11"/>
                    <a:pt x="2" y="12"/>
                  </a:cubicBezTo>
                  <a:cubicBezTo>
                    <a:pt x="3" y="11"/>
                    <a:pt x="5" y="11"/>
                    <a:pt x="7" y="11"/>
                  </a:cubicBezTo>
                  <a:close/>
                </a:path>
              </a:pathLst>
            </a:custGeom>
            <a:solidFill>
              <a:srgbClr val="3214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4" name="Freeform 111"/>
            <p:cNvSpPr>
              <a:spLocks/>
            </p:cNvSpPr>
            <p:nvPr userDrawn="1"/>
          </p:nvSpPr>
          <p:spPr bwMode="auto">
            <a:xfrm>
              <a:off x="8994573" y="3260529"/>
              <a:ext cx="38614" cy="34754"/>
            </a:xfrm>
            <a:custGeom>
              <a:avLst/>
              <a:gdLst>
                <a:gd name="T0" fmla="*/ 8 w 15"/>
                <a:gd name="T1" fmla="*/ 11 h 12"/>
                <a:gd name="T2" fmla="*/ 13 w 15"/>
                <a:gd name="T3" fmla="*/ 12 h 12"/>
                <a:gd name="T4" fmla="*/ 15 w 15"/>
                <a:gd name="T5" fmla="*/ 7 h 12"/>
                <a:gd name="T6" fmla="*/ 8 w 15"/>
                <a:gd name="T7" fmla="*/ 0 h 12"/>
                <a:gd name="T8" fmla="*/ 0 w 15"/>
                <a:gd name="T9" fmla="*/ 7 h 12"/>
                <a:gd name="T10" fmla="*/ 2 w 15"/>
                <a:gd name="T11" fmla="*/ 12 h 12"/>
                <a:gd name="T12" fmla="*/ 8 w 15"/>
                <a:gd name="T13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12">
                  <a:moveTo>
                    <a:pt x="8" y="11"/>
                  </a:moveTo>
                  <a:cubicBezTo>
                    <a:pt x="10" y="11"/>
                    <a:pt x="12" y="11"/>
                    <a:pt x="13" y="12"/>
                  </a:cubicBezTo>
                  <a:cubicBezTo>
                    <a:pt x="14" y="11"/>
                    <a:pt x="15" y="9"/>
                    <a:pt x="15" y="7"/>
                  </a:cubicBezTo>
                  <a:cubicBezTo>
                    <a:pt x="15" y="3"/>
                    <a:pt x="12" y="0"/>
                    <a:pt x="8" y="0"/>
                  </a:cubicBezTo>
                  <a:cubicBezTo>
                    <a:pt x="4" y="0"/>
                    <a:pt x="0" y="3"/>
                    <a:pt x="0" y="7"/>
                  </a:cubicBezTo>
                  <a:cubicBezTo>
                    <a:pt x="0" y="9"/>
                    <a:pt x="1" y="11"/>
                    <a:pt x="2" y="12"/>
                  </a:cubicBezTo>
                  <a:cubicBezTo>
                    <a:pt x="4" y="11"/>
                    <a:pt x="6" y="11"/>
                    <a:pt x="8" y="11"/>
                  </a:cubicBezTo>
                  <a:close/>
                </a:path>
              </a:pathLst>
            </a:custGeom>
            <a:solidFill>
              <a:srgbClr val="3214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5" name="Freeform 112"/>
            <p:cNvSpPr>
              <a:spLocks/>
            </p:cNvSpPr>
            <p:nvPr userDrawn="1"/>
          </p:nvSpPr>
          <p:spPr bwMode="auto">
            <a:xfrm>
              <a:off x="8766748" y="3094489"/>
              <a:ext cx="250994" cy="150597"/>
            </a:xfrm>
            <a:custGeom>
              <a:avLst/>
              <a:gdLst>
                <a:gd name="T0" fmla="*/ 4 w 94"/>
                <a:gd name="T1" fmla="*/ 32 h 56"/>
                <a:gd name="T2" fmla="*/ 4 w 94"/>
                <a:gd name="T3" fmla="*/ 56 h 56"/>
                <a:gd name="T4" fmla="*/ 94 w 94"/>
                <a:gd name="T5" fmla="*/ 0 h 56"/>
                <a:gd name="T6" fmla="*/ 0 w 94"/>
                <a:gd name="T7" fmla="*/ 12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4" h="56">
                  <a:moveTo>
                    <a:pt x="4" y="32"/>
                  </a:moveTo>
                  <a:cubicBezTo>
                    <a:pt x="4" y="56"/>
                    <a:pt x="4" y="56"/>
                    <a:pt x="4" y="56"/>
                  </a:cubicBezTo>
                  <a:cubicBezTo>
                    <a:pt x="4" y="56"/>
                    <a:pt x="87" y="54"/>
                    <a:pt x="94" y="0"/>
                  </a:cubicBezTo>
                  <a:cubicBezTo>
                    <a:pt x="0" y="9"/>
                    <a:pt x="0" y="12"/>
                    <a:pt x="0" y="12"/>
                  </a:cubicBezTo>
                </a:path>
              </a:pathLst>
            </a:custGeom>
            <a:solidFill>
              <a:srgbClr val="3214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6" name="Freeform 113"/>
            <p:cNvSpPr>
              <a:spLocks/>
            </p:cNvSpPr>
            <p:nvPr userDrawn="1"/>
          </p:nvSpPr>
          <p:spPr bwMode="auto">
            <a:xfrm>
              <a:off x="9002296" y="3086767"/>
              <a:ext cx="139011" cy="135151"/>
            </a:xfrm>
            <a:custGeom>
              <a:avLst/>
              <a:gdLst>
                <a:gd name="T0" fmla="*/ 51 w 51"/>
                <a:gd name="T1" fmla="*/ 38 h 50"/>
                <a:gd name="T2" fmla="*/ 51 w 51"/>
                <a:gd name="T3" fmla="*/ 50 h 50"/>
                <a:gd name="T4" fmla="*/ 0 w 51"/>
                <a:gd name="T5" fmla="*/ 22 h 50"/>
                <a:gd name="T6" fmla="*/ 45 w 51"/>
                <a:gd name="T7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1" h="50">
                  <a:moveTo>
                    <a:pt x="51" y="38"/>
                  </a:moveTo>
                  <a:cubicBezTo>
                    <a:pt x="51" y="50"/>
                    <a:pt x="51" y="50"/>
                    <a:pt x="51" y="50"/>
                  </a:cubicBezTo>
                  <a:cubicBezTo>
                    <a:pt x="51" y="50"/>
                    <a:pt x="3" y="50"/>
                    <a:pt x="0" y="22"/>
                  </a:cubicBezTo>
                  <a:cubicBezTo>
                    <a:pt x="23" y="8"/>
                    <a:pt x="45" y="0"/>
                    <a:pt x="45" y="0"/>
                  </a:cubicBezTo>
                </a:path>
              </a:pathLst>
            </a:custGeom>
            <a:solidFill>
              <a:srgbClr val="3214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7" name="Freeform 114"/>
            <p:cNvSpPr>
              <a:spLocks/>
            </p:cNvSpPr>
            <p:nvPr userDrawn="1"/>
          </p:nvSpPr>
          <p:spPr bwMode="auto">
            <a:xfrm>
              <a:off x="8894176" y="3368649"/>
              <a:ext cx="123565" cy="38614"/>
            </a:xfrm>
            <a:custGeom>
              <a:avLst/>
              <a:gdLst>
                <a:gd name="T0" fmla="*/ 0 w 45"/>
                <a:gd name="T1" fmla="*/ 0 h 15"/>
                <a:gd name="T2" fmla="*/ 23 w 45"/>
                <a:gd name="T3" fmla="*/ 15 h 15"/>
                <a:gd name="T4" fmla="*/ 45 w 45"/>
                <a:gd name="T5" fmla="*/ 0 h 15"/>
                <a:gd name="T6" fmla="*/ 0 w 45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5" h="15">
                  <a:moveTo>
                    <a:pt x="0" y="0"/>
                  </a:moveTo>
                  <a:cubicBezTo>
                    <a:pt x="0" y="0"/>
                    <a:pt x="5" y="15"/>
                    <a:pt x="23" y="15"/>
                  </a:cubicBezTo>
                  <a:cubicBezTo>
                    <a:pt x="40" y="15"/>
                    <a:pt x="45" y="0"/>
                    <a:pt x="4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EB69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8" name="Freeform 115"/>
            <p:cNvSpPr>
              <a:spLocks/>
            </p:cNvSpPr>
            <p:nvPr userDrawn="1"/>
          </p:nvSpPr>
          <p:spPr bwMode="auto">
            <a:xfrm>
              <a:off x="8901899" y="3368649"/>
              <a:ext cx="104260" cy="30891"/>
            </a:xfrm>
            <a:custGeom>
              <a:avLst/>
              <a:gdLst>
                <a:gd name="T0" fmla="*/ 0 w 39"/>
                <a:gd name="T1" fmla="*/ 0 h 12"/>
                <a:gd name="T2" fmla="*/ 20 w 39"/>
                <a:gd name="T3" fmla="*/ 12 h 12"/>
                <a:gd name="T4" fmla="*/ 39 w 39"/>
                <a:gd name="T5" fmla="*/ 0 h 12"/>
                <a:gd name="T6" fmla="*/ 0 w 39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9" h="12">
                  <a:moveTo>
                    <a:pt x="0" y="0"/>
                  </a:moveTo>
                  <a:cubicBezTo>
                    <a:pt x="4" y="7"/>
                    <a:pt x="11" y="12"/>
                    <a:pt x="20" y="12"/>
                  </a:cubicBezTo>
                  <a:cubicBezTo>
                    <a:pt x="28" y="12"/>
                    <a:pt x="35" y="7"/>
                    <a:pt x="39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9" name="Freeform 116"/>
            <p:cNvSpPr>
              <a:spLocks/>
            </p:cNvSpPr>
            <p:nvPr userDrawn="1"/>
          </p:nvSpPr>
          <p:spPr bwMode="auto">
            <a:xfrm>
              <a:off x="8928928" y="3260529"/>
              <a:ext cx="23169" cy="69506"/>
            </a:xfrm>
            <a:custGeom>
              <a:avLst/>
              <a:gdLst>
                <a:gd name="T0" fmla="*/ 8 w 8"/>
                <a:gd name="T1" fmla="*/ 0 h 26"/>
                <a:gd name="T2" fmla="*/ 3 w 8"/>
                <a:gd name="T3" fmla="*/ 5 h 26"/>
                <a:gd name="T4" fmla="*/ 0 w 8"/>
                <a:gd name="T5" fmla="*/ 26 h 26"/>
                <a:gd name="T6" fmla="*/ 8 w 8"/>
                <a:gd name="T7" fmla="*/ 26 h 26"/>
                <a:gd name="T8" fmla="*/ 8 w 8"/>
                <a:gd name="T9" fmla="*/ 0 h 26"/>
                <a:gd name="T10" fmla="*/ 8 w 8"/>
                <a:gd name="T11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26">
                  <a:moveTo>
                    <a:pt x="8" y="0"/>
                  </a:moveTo>
                  <a:cubicBezTo>
                    <a:pt x="6" y="0"/>
                    <a:pt x="3" y="2"/>
                    <a:pt x="3" y="5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</a:path>
              </a:pathLst>
            </a:custGeom>
            <a:solidFill>
              <a:srgbClr val="F8D5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0" name="Freeform 117"/>
            <p:cNvSpPr>
              <a:spLocks/>
            </p:cNvSpPr>
            <p:nvPr userDrawn="1"/>
          </p:nvSpPr>
          <p:spPr bwMode="auto">
            <a:xfrm>
              <a:off x="8944373" y="3523106"/>
              <a:ext cx="308914" cy="675750"/>
            </a:xfrm>
            <a:custGeom>
              <a:avLst/>
              <a:gdLst>
                <a:gd name="T0" fmla="*/ 20 w 115"/>
                <a:gd name="T1" fmla="*/ 0 h 251"/>
                <a:gd name="T2" fmla="*/ 12 w 115"/>
                <a:gd name="T3" fmla="*/ 0 h 251"/>
                <a:gd name="T4" fmla="*/ 107 w 115"/>
                <a:gd name="T5" fmla="*/ 48 h 251"/>
                <a:gd name="T6" fmla="*/ 77 w 115"/>
                <a:gd name="T7" fmla="*/ 97 h 251"/>
                <a:gd name="T8" fmla="*/ 38 w 115"/>
                <a:gd name="T9" fmla="*/ 237 h 251"/>
                <a:gd name="T10" fmla="*/ 0 w 115"/>
                <a:gd name="T11" fmla="*/ 251 h 251"/>
                <a:gd name="T12" fmla="*/ 4 w 115"/>
                <a:gd name="T13" fmla="*/ 251 h 251"/>
                <a:gd name="T14" fmla="*/ 49 w 115"/>
                <a:gd name="T15" fmla="*/ 237 h 251"/>
                <a:gd name="T16" fmla="*/ 85 w 115"/>
                <a:gd name="T17" fmla="*/ 97 h 251"/>
                <a:gd name="T18" fmla="*/ 115 w 115"/>
                <a:gd name="T19" fmla="*/ 48 h 251"/>
                <a:gd name="T20" fmla="*/ 20 w 115"/>
                <a:gd name="T21" fmla="*/ 0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5" h="251">
                  <a:moveTo>
                    <a:pt x="20" y="0"/>
                  </a:moveTo>
                  <a:cubicBezTo>
                    <a:pt x="17" y="0"/>
                    <a:pt x="14" y="0"/>
                    <a:pt x="12" y="0"/>
                  </a:cubicBezTo>
                  <a:cubicBezTo>
                    <a:pt x="80" y="0"/>
                    <a:pt x="107" y="48"/>
                    <a:pt x="107" y="48"/>
                  </a:cubicBezTo>
                  <a:cubicBezTo>
                    <a:pt x="77" y="97"/>
                    <a:pt x="77" y="97"/>
                    <a:pt x="77" y="97"/>
                  </a:cubicBezTo>
                  <a:cubicBezTo>
                    <a:pt x="38" y="237"/>
                    <a:pt x="38" y="237"/>
                    <a:pt x="38" y="237"/>
                  </a:cubicBezTo>
                  <a:cubicBezTo>
                    <a:pt x="38" y="237"/>
                    <a:pt x="27" y="250"/>
                    <a:pt x="0" y="251"/>
                  </a:cubicBezTo>
                  <a:cubicBezTo>
                    <a:pt x="1" y="251"/>
                    <a:pt x="3" y="251"/>
                    <a:pt x="4" y="251"/>
                  </a:cubicBezTo>
                  <a:cubicBezTo>
                    <a:pt x="33" y="251"/>
                    <a:pt x="49" y="237"/>
                    <a:pt x="49" y="237"/>
                  </a:cubicBezTo>
                  <a:cubicBezTo>
                    <a:pt x="85" y="97"/>
                    <a:pt x="85" y="97"/>
                    <a:pt x="85" y="97"/>
                  </a:cubicBezTo>
                  <a:cubicBezTo>
                    <a:pt x="115" y="48"/>
                    <a:pt x="115" y="48"/>
                    <a:pt x="115" y="48"/>
                  </a:cubicBezTo>
                  <a:cubicBezTo>
                    <a:pt x="115" y="48"/>
                    <a:pt x="88" y="0"/>
                    <a:pt x="20" y="0"/>
                  </a:cubicBezTo>
                  <a:close/>
                </a:path>
              </a:pathLst>
            </a:custGeom>
            <a:solidFill>
              <a:srgbClr val="DEDE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8940" y="935515"/>
            <a:ext cx="5829299" cy="5123496"/>
          </a:xfrm>
        </p:spPr>
        <p:txBody>
          <a:bodyPr wrap="square" anchor="ctr"/>
          <a:lstStyle>
            <a:lvl1pPr>
              <a:defRPr sz="5399">
                <a:gradFill>
                  <a:gsLst>
                    <a:gs pos="2917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Click to add section divider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3177" y="6238241"/>
            <a:ext cx="1385761" cy="525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1779479"/>
      </p:ext>
    </p:extLst>
  </p:cSld>
  <p:clrMapOvr>
    <a:masterClrMapping/>
  </p:clrMapOvr>
  <p:transition>
    <p:fade/>
  </p:transition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5CD4134-4ACD-4597-96CC-B1BED1F503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5021" t="976" b="976"/>
          <a:stretch/>
        </p:blipFill>
        <p:spPr>
          <a:xfrm>
            <a:off x="5347686" y="0"/>
            <a:ext cx="7088790" cy="69945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0059" y="2473827"/>
            <a:ext cx="4251462" cy="1130053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50E6FF"/>
                </a:solidFill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93713" y="4041281"/>
            <a:ext cx="4248092" cy="345294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244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pic>
        <p:nvPicPr>
          <p:cNvPr id="8" name="MS logo white - EMF" descr="Microsoft logo white text version">
            <a:extLst>
              <a:ext uri="{FF2B5EF4-FFF2-40B4-BE49-F238E27FC236}">
                <a16:creationId xmlns:a16="http://schemas.microsoft.com/office/drawing/2014/main" id="{10847DFE-DD48-4C93-84DD-AE782B2A9A2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595916" y="597451"/>
            <a:ext cx="1393641" cy="298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02642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quare photo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5CD4134-4ACD-4597-96CC-B1BED1F503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5021" t="976" b="976"/>
          <a:stretch/>
        </p:blipFill>
        <p:spPr>
          <a:xfrm>
            <a:off x="5347686" y="0"/>
            <a:ext cx="7088790" cy="69945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0059" y="2473827"/>
            <a:ext cx="4251462" cy="1130053"/>
          </a:xfrm>
        </p:spPr>
        <p:txBody>
          <a:bodyPr anchor="b" anchorCtr="0">
            <a:spAutoFit/>
          </a:bodyPr>
          <a:lstStyle>
            <a:lvl1pPr>
              <a:defRPr>
                <a:solidFill>
                  <a:srgbClr val="50E6FF"/>
                </a:solidFill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93713" y="4041281"/>
            <a:ext cx="4248092" cy="345294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244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pic>
        <p:nvPicPr>
          <p:cNvPr id="8" name="MS logo white - EMF" descr="Microsoft logo white text version">
            <a:extLst>
              <a:ext uri="{FF2B5EF4-FFF2-40B4-BE49-F238E27FC236}">
                <a16:creationId xmlns:a16="http://schemas.microsoft.com/office/drawing/2014/main" id="{10847DFE-DD48-4C93-84DD-AE782B2A9A2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 bwMode="black">
          <a:xfrm>
            <a:off x="360706" y="735312"/>
            <a:ext cx="1393641" cy="298433"/>
          </a:xfrm>
          <a:prstGeom prst="rect">
            <a:avLst/>
          </a:prstGeom>
        </p:spPr>
      </p:pic>
      <p:pic>
        <p:nvPicPr>
          <p:cNvPr id="1026" name="Picture 2" descr="SUR20_Headphones2_Contextual_061">
            <a:extLst>
              <a:ext uri="{FF2B5EF4-FFF2-40B4-BE49-F238E27FC236}">
                <a16:creationId xmlns:a16="http://schemas.microsoft.com/office/drawing/2014/main" id="{8CEE7FEB-3B48-4076-A697-0FF9E0A996D2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85" r="20225"/>
          <a:stretch/>
        </p:blipFill>
        <p:spPr bwMode="auto">
          <a:xfrm>
            <a:off x="5337970" y="0"/>
            <a:ext cx="7108222" cy="6994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56464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55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0059" y="2473827"/>
            <a:ext cx="4251462" cy="1130053"/>
          </a:xfrm>
        </p:spPr>
        <p:txBody>
          <a:bodyPr anchor="b" anchorCtr="0">
            <a:spAutoFit/>
          </a:bodyPr>
          <a:lstStyle>
            <a:lvl1pPr>
              <a:defRPr/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93713" y="4041281"/>
            <a:ext cx="4248092" cy="345294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244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pic>
        <p:nvPicPr>
          <p:cNvPr id="6" name="MS logo white - EMF" descr="Microsoft logo white text version">
            <a:extLst>
              <a:ext uri="{FF2B5EF4-FFF2-40B4-BE49-F238E27FC236}">
                <a16:creationId xmlns:a16="http://schemas.microsoft.com/office/drawing/2014/main" id="{752F7F94-9231-4E4A-AA40-FA537E6B0D7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95916" y="597451"/>
            <a:ext cx="1393641" cy="298433"/>
          </a:xfrm>
          <a:prstGeom prst="rect">
            <a:avLst/>
          </a:prstGeom>
        </p:spPr>
      </p:pic>
      <p:pic>
        <p:nvPicPr>
          <p:cNvPr id="8" name="Picture 7" descr="A desk with a laptop and other supplies.&#10;&#10;Description automatically generated">
            <a:extLst>
              <a:ext uri="{FF2B5EF4-FFF2-40B4-BE49-F238E27FC236}">
                <a16:creationId xmlns:a16="http://schemas.microsoft.com/office/drawing/2014/main" id="{CC9558DD-B5AD-48A1-8447-EEDE89898C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440959" y="0"/>
            <a:ext cx="6995517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778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95915" y="3039097"/>
            <a:ext cx="9327356" cy="565027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72" spc="-51" baseline="0">
                <a:solidFill>
                  <a:srgbClr val="50E6FF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95915" y="4041281"/>
            <a:ext cx="9327356" cy="345294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244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BB651035-36B1-415D-8FE3-8C820588801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95916" y="597451"/>
            <a:ext cx="1393641" cy="298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34764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595915" y="3039097"/>
            <a:ext cx="9327356" cy="565027"/>
          </a:xfrm>
          <a:noFill/>
        </p:spPr>
        <p:txBody>
          <a:bodyPr lIns="0" tIns="0" rIns="0" bIns="0" anchor="b" anchorCtr="0">
            <a:spAutoFit/>
          </a:bodyPr>
          <a:lstStyle>
            <a:lvl1pPr>
              <a:defRPr sz="3672" spc="-51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95915" y="4041281"/>
            <a:ext cx="9327356" cy="345294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244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 text</a:t>
            </a:r>
          </a:p>
        </p:txBody>
      </p:sp>
      <p:pic>
        <p:nvPicPr>
          <p:cNvPr id="7" name="MS logo white - EMF" descr="Microsoft logo white text version">
            <a:extLst>
              <a:ext uri="{FF2B5EF4-FFF2-40B4-BE49-F238E27FC236}">
                <a16:creationId xmlns:a16="http://schemas.microsoft.com/office/drawing/2014/main" id="{923145A3-A9AB-4B3E-A898-5EC4C932840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95916" y="597451"/>
            <a:ext cx="1393641" cy="298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6028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228">
          <p15:clr>
            <a:srgbClr val="5ACBF0"/>
          </p15:clr>
        </p15:guide>
        <p15:guide id="2" orient="horz" pos="2496">
          <p15:clr>
            <a:srgbClr val="5ACBF0"/>
          </p15:clr>
        </p15:guide>
        <p15:guide id="3" pos="6132">
          <p15:clr>
            <a:srgbClr val="5ACBF0"/>
          </p15:clr>
        </p15:guide>
        <p15:guide id="4" orient="horz" pos="2160">
          <p15:clr>
            <a:srgbClr val="FBAE40"/>
          </p15:clr>
        </p15:guide>
      </p15:sldGuideLst>
    </p:ext>
  </p:extLst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FCFEFD-88E5-4869-B5C3-1611B0B50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A212C2-8B30-4835-8711-AA981B6CFBE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95914" y="1463669"/>
            <a:ext cx="11239789" cy="164487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4228864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  <p15:guide id="5" orient="horz" pos="904">
          <p15:clr>
            <a:srgbClr val="5ACBF0"/>
          </p15:clr>
        </p15:guide>
      </p15:sldGuideLst>
    </p:ext>
  </p:extLst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98148" y="1462924"/>
            <a:ext cx="11239464" cy="1644874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233104" indent="0">
              <a:buNone/>
              <a:defRPr/>
            </a:lvl2pPr>
            <a:lvl3pPr marL="466209" indent="0">
              <a:buNone/>
              <a:defRPr/>
            </a:lvl3pPr>
            <a:lvl4pPr marL="699313" indent="0">
              <a:buNone/>
              <a:defRPr/>
            </a:lvl4pPr>
            <a:lvl5pPr marL="932418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228069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905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BE2550-DA43-453C-A328-33C740E654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4B7A288-CDAC-4184-9F73-137C95F5E64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95916" y="1463669"/>
            <a:ext cx="5316270" cy="164487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CEC22105-78D6-4753-94FA-3DA949361A9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517814" y="1463669"/>
            <a:ext cx="5324366" cy="164487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4175018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6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Section Divider Lifesty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436475" cy="6994525"/>
          </a:xfrm>
          <a:prstGeom prst="rect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8939" y="935515"/>
            <a:ext cx="5486400" cy="5123496"/>
          </a:xfrm>
        </p:spPr>
        <p:txBody>
          <a:bodyPr wrap="square" anchor="ctr"/>
          <a:lstStyle>
            <a:lvl1pPr>
              <a:defRPr sz="5399">
                <a:gradFill>
                  <a:gsLst>
                    <a:gs pos="2917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Click to add section divider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3177" y="6238241"/>
            <a:ext cx="1385761" cy="525463"/>
          </a:xfrm>
          <a:prstGeom prst="rect">
            <a:avLst/>
          </a:prstGeom>
        </p:spPr>
      </p:pic>
      <p:sp>
        <p:nvSpPr>
          <p:cNvPr id="8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218238" y="0"/>
            <a:ext cx="6218238" cy="6994525"/>
          </a:xfrm>
          <a:blipFill>
            <a:blip r:embed="rId3"/>
            <a:stretch>
              <a:fillRect/>
            </a:stretch>
          </a:blipFill>
        </p:spPr>
        <p:txBody>
          <a:bodyPr anchor="ctr"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9216236"/>
      </p:ext>
    </p:extLst>
  </p:cSld>
  <p:clrMapOvr>
    <a:masterClrMapping/>
  </p:clrMapOvr>
  <p:transition>
    <p:fade/>
  </p:transition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876633-3E8D-4CF4-A5D4-D4E9D88A6D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95914" y="1463669"/>
            <a:ext cx="5316593" cy="1682523"/>
          </a:xfrm>
        </p:spPr>
        <p:txBody>
          <a:bodyPr wrap="square">
            <a:spAutoFit/>
          </a:bodyPr>
          <a:lstStyle>
            <a:lvl1pPr marL="0" indent="0">
              <a:spcBef>
                <a:spcPts val="1247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56" b="0">
                <a:latin typeface="+mn-lt"/>
                <a:cs typeface="Segoe UI" panose="020B0502040204020203" pitchFamily="34" charset="0"/>
              </a:defRPr>
            </a:lvl1pPr>
            <a:lvl2pPr marL="260624" indent="0">
              <a:buFont typeface="Wingdings" panose="05000000000000000000" pitchFamily="2" charset="2"/>
              <a:buNone/>
              <a:defRPr sz="2040" b="0">
                <a:latin typeface="+mn-lt"/>
              </a:defRPr>
            </a:lvl2pPr>
            <a:lvl3pPr marL="459734" indent="0">
              <a:buFont typeface="Wingdings" panose="05000000000000000000" pitchFamily="2" charset="2"/>
              <a:buNone/>
              <a:tabLst/>
              <a:defRPr sz="1632" b="0">
                <a:latin typeface="+mn-lt"/>
              </a:defRPr>
            </a:lvl3pPr>
            <a:lvl4pPr marL="665319" indent="0">
              <a:buFont typeface="Wingdings" panose="05000000000000000000" pitchFamily="2" charset="2"/>
              <a:buNone/>
              <a:defRPr sz="1428" b="0">
                <a:latin typeface="+mn-lt"/>
              </a:defRPr>
            </a:lvl4pPr>
            <a:lvl5pPr marL="870904" indent="0">
              <a:buFont typeface="Wingdings" panose="05000000000000000000" pitchFamily="2" charset="2"/>
              <a:buNone/>
              <a:tabLst/>
              <a:defRPr sz="1428" b="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E9CDCB4-03E1-4763-B83E-A1334BCDB0C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525449" y="1463669"/>
            <a:ext cx="5316593" cy="1682523"/>
          </a:xfrm>
        </p:spPr>
        <p:txBody>
          <a:bodyPr wrap="square">
            <a:spAutoFit/>
          </a:bodyPr>
          <a:lstStyle>
            <a:lvl1pPr marL="0" indent="0">
              <a:spcBef>
                <a:spcPts val="1247"/>
              </a:spcBef>
              <a:buClr>
                <a:schemeClr val="tx1"/>
              </a:buClr>
              <a:buFont typeface="Wingdings" panose="05000000000000000000" pitchFamily="2" charset="2"/>
              <a:buNone/>
              <a:defRPr sz="2856" b="0">
                <a:latin typeface="+mn-lt"/>
                <a:cs typeface="Segoe UI" panose="020B0502040204020203" pitchFamily="34" charset="0"/>
              </a:defRPr>
            </a:lvl1pPr>
            <a:lvl2pPr marL="260624" indent="0">
              <a:buFont typeface="Wingdings" panose="05000000000000000000" pitchFamily="2" charset="2"/>
              <a:buNone/>
              <a:defRPr sz="2040" b="0">
                <a:latin typeface="+mn-lt"/>
              </a:defRPr>
            </a:lvl2pPr>
            <a:lvl3pPr marL="459734" indent="0">
              <a:buFont typeface="Wingdings" panose="05000000000000000000" pitchFamily="2" charset="2"/>
              <a:buNone/>
              <a:tabLst/>
              <a:defRPr sz="1632" b="0">
                <a:latin typeface="+mn-lt"/>
              </a:defRPr>
            </a:lvl3pPr>
            <a:lvl4pPr marL="665319" indent="0">
              <a:buFont typeface="Wingdings" panose="05000000000000000000" pitchFamily="2" charset="2"/>
              <a:buNone/>
              <a:defRPr sz="1428" b="0">
                <a:latin typeface="+mn-lt"/>
              </a:defRPr>
            </a:lvl4pPr>
            <a:lvl5pPr marL="870904" indent="0">
              <a:buFont typeface="Wingdings" panose="05000000000000000000" pitchFamily="2" charset="2"/>
              <a:buNone/>
              <a:tabLst/>
              <a:defRPr sz="1428" b="0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8898406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904">
          <p15:clr>
            <a:srgbClr val="5ACBF0"/>
          </p15:clr>
        </p15:guide>
      </p15:sldGuideLst>
    </p:ext>
  </p:extLst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8AD36F-C0EA-4185-ADAF-F4A4448F9B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3995765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5915" y="466302"/>
            <a:ext cx="5618874" cy="379824"/>
          </a:xfrm>
        </p:spPr>
        <p:txBody>
          <a:bodyPr tIns="64008"/>
          <a:lstStyle>
            <a:lvl1pPr>
              <a:defRPr sz="204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4435355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780C89-4FC1-4FE7-AFCA-1C41A1B094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95915" y="3605924"/>
            <a:ext cx="4245890" cy="345351"/>
          </a:xfrm>
        </p:spPr>
        <p:txBody>
          <a:bodyPr/>
          <a:lstStyle>
            <a:lvl1pPr marL="0" indent="0">
              <a:buNone/>
              <a:defRPr sz="2244">
                <a:latin typeface="+mn-lt"/>
              </a:defRPr>
            </a:lvl1pPr>
            <a:lvl2pPr marL="233104" indent="0">
              <a:buNone/>
              <a:defRPr/>
            </a:lvl2pPr>
            <a:lvl3pPr marL="466209" indent="0">
              <a:buNone/>
              <a:defRPr/>
            </a:lvl3pPr>
            <a:lvl4pPr marL="675032" indent="0">
              <a:buNone/>
              <a:defRPr/>
            </a:lvl4pPr>
            <a:lvl5pPr marL="872523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2E18FD0C-FA99-4937-92CD-5CF7F279CD8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440959" y="0"/>
            <a:ext cx="6995517" cy="6994525"/>
          </a:xfrm>
          <a:blipFill>
            <a:blip r:embed="rId2"/>
            <a:stretch>
              <a:fillRect/>
            </a:stretch>
          </a:blipFill>
        </p:spPr>
        <p:txBody>
          <a:bodyPr lIns="0" tIns="210312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32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35C9167-B5C7-4834-AC78-240C8C3EF1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0059" y="2056214"/>
            <a:ext cx="4241746" cy="1130181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Title square photo layout </a:t>
            </a:r>
          </a:p>
        </p:txBody>
      </p:sp>
    </p:spTree>
    <p:extLst>
      <p:ext uri="{BB962C8B-B14F-4D97-AF65-F5344CB8AC3E}">
        <p14:creationId xmlns:p14="http://schemas.microsoft.com/office/powerpoint/2010/main" val="23514643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6" orient="horz" pos="904">
          <p15:clr>
            <a:srgbClr val="5ACBF0"/>
          </p15:clr>
        </p15:guide>
        <p15:guide id="7" orient="horz" pos="1968">
          <p15:clr>
            <a:srgbClr val="5ACBF0"/>
          </p15:clr>
        </p15:guide>
        <p15:guide id="8" orient="horz" pos="2226">
          <p15:clr>
            <a:srgbClr val="5ACBF0"/>
          </p15:clr>
        </p15:guide>
        <p15:guide id="10" pos="3729">
          <p15:clr>
            <a:srgbClr val="C35EA4"/>
          </p15:clr>
        </p15:guide>
        <p15:guide id="11" pos="2993">
          <p15:clr>
            <a:srgbClr val="5ACBF0"/>
          </p15:clr>
        </p15:guide>
        <p15:guide id="12" pos="3543">
          <p15:clr>
            <a:srgbClr val="A4A3A4"/>
          </p15:clr>
        </p15:guide>
      </p15:sldGuideLst>
    </p:ext>
  </p:extLst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EB5B31F-7AD9-4BC6-8D61-62AD8011666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440959" y="0"/>
            <a:ext cx="6995517" cy="6994525"/>
          </a:xfrm>
          <a:blipFill>
            <a:blip r:embed="rId2"/>
            <a:stretch>
              <a:fillRect/>
            </a:stretch>
          </a:blipFill>
        </p:spPr>
        <p:txBody>
          <a:bodyPr lIns="0" tIns="210312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32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B92DE97-5F35-4963-AC7A-96FEB98062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0059" y="2930554"/>
            <a:ext cx="4243366" cy="1130181"/>
          </a:xfrm>
        </p:spPr>
        <p:txBody>
          <a:bodyPr anchor="ctr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9538749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pos="2991">
          <p15:clr>
            <a:srgbClr val="5ACBF0"/>
          </p15:clr>
        </p15:guide>
        <p15:guide id="7" pos="3728">
          <p15:clr>
            <a:srgbClr val="C35EA4"/>
          </p15:clr>
        </p15:guide>
        <p15:guide id="8" pos="3544">
          <p15:clr>
            <a:srgbClr val="A4A3A4"/>
          </p15:clr>
        </p15:guide>
      </p15:sldGuideLst>
    </p:ext>
  </p:extLst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quare Ph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3EBEAA94-C151-43DE-8A5A-09E8A930427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5440959" y="0"/>
            <a:ext cx="6995517" cy="6994525"/>
          </a:xfrm>
          <a:blipFill>
            <a:blip r:embed="rId2"/>
            <a:stretch>
              <a:fillRect/>
            </a:stretch>
          </a:blipFill>
        </p:spPr>
        <p:txBody>
          <a:bodyPr lIns="0" tIns="2103120" rIns="0" anchor="t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1632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4E2C6C6-B442-4DE7-9C6C-405B900531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0061" y="3056180"/>
            <a:ext cx="4246604" cy="878959"/>
          </a:xfrm>
        </p:spPr>
        <p:txBody>
          <a:bodyPr anchor="t"/>
          <a:lstStyle>
            <a:lvl1pPr>
              <a:defRPr sz="2856"/>
            </a:lvl1pPr>
          </a:lstStyle>
          <a:p>
            <a:r>
              <a:rPr lang="en-US"/>
              <a:t>Square photo layout with smaller text</a:t>
            </a:r>
          </a:p>
        </p:txBody>
      </p:sp>
    </p:spTree>
    <p:extLst>
      <p:ext uri="{BB962C8B-B14F-4D97-AF65-F5344CB8AC3E}">
        <p14:creationId xmlns:p14="http://schemas.microsoft.com/office/powerpoint/2010/main" val="147727059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" pos="3360">
          <p15:clr>
            <a:srgbClr val="FBAE40"/>
          </p15:clr>
        </p15:guide>
        <p15:guide id="3" orient="horz" pos="1877">
          <p15:clr>
            <a:srgbClr val="5ACBF0"/>
          </p15:clr>
        </p15:guide>
        <p15:guide id="4" pos="3731">
          <p15:clr>
            <a:srgbClr val="C35EA4"/>
          </p15:clr>
        </p15:guide>
        <p15:guide id="5" pos="2993">
          <p15:clr>
            <a:srgbClr val="5ACBF0"/>
          </p15:clr>
        </p15:guide>
        <p15:guide id="6" pos="3547">
          <p15:clr>
            <a:srgbClr val="A4A3A4"/>
          </p15:clr>
        </p15:guide>
      </p15:sldGuideLst>
    </p:ext>
  </p:extLst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horizontal photo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EB5B31F-7AD9-4BC6-8D61-62AD8011666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1"/>
            <a:ext cx="12436475" cy="4663017"/>
          </a:xfrm>
          <a:blipFill>
            <a:blip r:embed="rId2"/>
            <a:stretch>
              <a:fillRect/>
            </a:stretch>
          </a:blipFill>
        </p:spPr>
        <p:txBody>
          <a:bodyPr vert="horz" wrap="square" lIns="0" tIns="1097280" rIns="0" bIns="0" rtlCol="0" anchor="t" anchorCtr="0">
            <a:noAutofit/>
          </a:bodyPr>
          <a:lstStyle>
            <a:lvl1pPr marL="0" indent="0" algn="ctr">
              <a:buNone/>
              <a:defRPr lang="en-US" sz="1428" b="1" dirty="0">
                <a:solidFill>
                  <a:srgbClr val="FFFFFF"/>
                </a:solidFill>
              </a:defRPr>
            </a:lvl1pPr>
          </a:lstStyle>
          <a:p>
            <a:pPr marL="233104" lvl="0" indent="-233104" algn="ctr"/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E01E45-D858-46CB-8C37-2ADA7A8B4F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0059" y="5544316"/>
            <a:ext cx="11239464" cy="56509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6857890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5" orient="horz" pos="2880">
          <p15:clr>
            <a:srgbClr val="5ACBF0"/>
          </p15:clr>
        </p15:guide>
        <p15:guide id="6" orient="horz" pos="3600">
          <p15:clr>
            <a:srgbClr val="FBAE40"/>
          </p15:clr>
        </p15:guide>
      </p15:sldGuideLst>
    </p:ext>
  </p:extLst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horizontal photo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FEB5B31F-7AD9-4BC6-8D61-62AD8011666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-2429" y="2331508"/>
            <a:ext cx="12436475" cy="4663017"/>
          </a:xfrm>
          <a:blipFill>
            <a:blip r:embed="rId2"/>
            <a:stretch>
              <a:fillRect/>
            </a:stretch>
          </a:blipFill>
        </p:spPr>
        <p:txBody>
          <a:bodyPr vert="horz" wrap="square" lIns="0" tIns="1097280" rIns="0" bIns="0" rtlCol="0" anchor="t" anchorCtr="0">
            <a:noAutofit/>
          </a:bodyPr>
          <a:lstStyle>
            <a:lvl1pPr marL="0" indent="0" algn="ctr">
              <a:buNone/>
              <a:defRPr lang="en-US" sz="1428" b="1" dirty="0">
                <a:solidFill>
                  <a:srgbClr val="FFFFFF"/>
                </a:solidFill>
              </a:defRPr>
            </a:lvl1pPr>
          </a:lstStyle>
          <a:p>
            <a:pPr marL="233104" lvl="0" indent="-233104" algn="ctr"/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45563AC-3A0B-4839-A9DC-F00E8E5411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0059" y="883501"/>
            <a:ext cx="11239464" cy="56509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9849103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5" orient="horz" pos="1440">
          <p15:clr>
            <a:srgbClr val="5ACBF0"/>
          </p15:clr>
        </p15:guide>
        <p15:guide id="6" orient="horz" pos="720">
          <p15:clr>
            <a:srgbClr val="FBAE40"/>
          </p15:clr>
        </p15:guide>
      </p15:sldGuideLst>
    </p:ext>
  </p:extLst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833B58-0629-4A46-8711-902C16A9931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95913" y="5802865"/>
            <a:ext cx="5475158" cy="313932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2040"/>
            </a:lvl1pPr>
          </a:lstStyle>
          <a:p>
            <a:pPr lvl="0"/>
            <a:r>
              <a:rPr lang="en-US"/>
              <a:t>Edit Master text</a:t>
            </a:r>
          </a:p>
        </p:txBody>
      </p:sp>
      <p:sp>
        <p:nvSpPr>
          <p:cNvPr id="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231301F-62BD-4CF6-8990-CDF00AFC8CC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94295" y="2065975"/>
            <a:ext cx="5475158" cy="3543893"/>
          </a:xfrm>
          <a:blipFill>
            <a:blip r:embed="rId2"/>
            <a:stretch>
              <a:fillRect/>
            </a:stretch>
          </a:blipFill>
        </p:spPr>
        <p:txBody>
          <a:bodyPr vert="horz" wrap="square" lIns="0" tIns="0" rIns="0" bIns="1188720" rtlCol="0" anchor="ctr" anchorCtr="0">
            <a:noAutofit/>
          </a:bodyPr>
          <a:lstStyle>
            <a:lvl1pPr marL="0" indent="0" algn="ctr">
              <a:buNone/>
              <a:defRPr lang="en-US" sz="1020" b="1" dirty="0">
                <a:solidFill>
                  <a:srgbClr val="FFFFFF"/>
                </a:solidFill>
              </a:defRPr>
            </a:lvl1pPr>
          </a:lstStyle>
          <a:p>
            <a:pPr marL="233104" lvl="0" indent="-233104" algn="ctr"/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5B401B2-8D93-427E-90A4-52337B3965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67022" y="5802865"/>
            <a:ext cx="5475158" cy="313932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2040"/>
            </a:lvl1pPr>
          </a:lstStyle>
          <a:p>
            <a:pPr lvl="0"/>
            <a:r>
              <a:rPr lang="en-US"/>
              <a:t>Edit Master text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223C820-5673-4288-A9D6-185A95066B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364365" y="2065975"/>
            <a:ext cx="5475158" cy="3543893"/>
          </a:xfrm>
          <a:blipFill>
            <a:blip r:embed="rId2"/>
            <a:stretch>
              <a:fillRect/>
            </a:stretch>
          </a:blipFill>
        </p:spPr>
        <p:txBody>
          <a:bodyPr vert="horz" wrap="square" lIns="0" tIns="0" rIns="0" bIns="1188720" rtlCol="0" anchor="ctr" anchorCtr="0">
            <a:noAutofit/>
          </a:bodyPr>
          <a:lstStyle>
            <a:lvl1pPr marL="0" indent="0" algn="ctr">
              <a:buNone/>
              <a:defRPr lang="en-US" sz="1020" b="1" dirty="0">
                <a:solidFill>
                  <a:srgbClr val="FFFFFF"/>
                </a:solidFill>
              </a:defRPr>
            </a:lvl1pPr>
          </a:lstStyle>
          <a:p>
            <a:pPr marL="233104" lvl="0" indent="-233104" algn="ctr"/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27DCA08-1117-4B11-AEFD-AAB2B33543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0059" y="466302"/>
            <a:ext cx="11239464" cy="56509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0909067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3584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3749">
          <p15:clr>
            <a:srgbClr val="5ACBF0"/>
          </p15:clr>
        </p15:guide>
        <p15:guide id="7" pos="3931">
          <p15:clr>
            <a:srgbClr val="5ACBF0"/>
          </p15:clr>
        </p15:guide>
      </p15:sldGuideLst>
    </p:ext>
  </p:extLst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833B58-0629-4A46-8711-902C16A9931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94297" y="5802865"/>
            <a:ext cx="3544719" cy="313932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2040"/>
            </a:lvl1pPr>
          </a:lstStyle>
          <a:p>
            <a:pPr lvl="0"/>
            <a:r>
              <a:rPr lang="en-US"/>
              <a:t>Edit Master text</a:t>
            </a:r>
          </a:p>
        </p:txBody>
      </p:sp>
      <p:sp>
        <p:nvSpPr>
          <p:cNvPr id="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231301F-62BD-4CF6-8990-CDF00AFC8CC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94296" y="2065975"/>
            <a:ext cx="3544395" cy="3543893"/>
          </a:xfrm>
          <a:blipFill>
            <a:blip r:embed="rId2"/>
            <a:stretch>
              <a:fillRect/>
            </a:stretch>
          </a:blipFill>
        </p:spPr>
        <p:txBody>
          <a:bodyPr lIns="0" tIns="0" rIns="0" bIns="100584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16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E8A9C08-F392-459F-B90B-EDBF4A830C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46041" y="5802865"/>
            <a:ext cx="3544719" cy="313932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2040"/>
            </a:lvl1pPr>
          </a:lstStyle>
          <a:p>
            <a:pPr lvl="0"/>
            <a:r>
              <a:rPr lang="en-US"/>
              <a:t>Edit Master text</a:t>
            </a:r>
          </a:p>
        </p:txBody>
      </p:sp>
      <p:sp>
        <p:nvSpPr>
          <p:cNvPr id="10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E401A97-B3D4-43E4-9B09-8AD4B6B2606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446040" y="2065975"/>
            <a:ext cx="3544395" cy="3543893"/>
          </a:xfrm>
          <a:blipFill>
            <a:blip r:embed="rId2"/>
            <a:stretch>
              <a:fillRect/>
            </a:stretch>
          </a:blipFill>
        </p:spPr>
        <p:txBody>
          <a:bodyPr lIns="0" tIns="0" rIns="0" bIns="100584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16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5B401B2-8D93-427E-90A4-52337B3965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97463" y="5802865"/>
            <a:ext cx="3544719" cy="313932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2040"/>
            </a:lvl1pPr>
          </a:lstStyle>
          <a:p>
            <a:pPr lvl="0"/>
            <a:r>
              <a:rPr lang="en-US"/>
              <a:t>Edit Master text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223C820-5673-4288-A9D6-185A95066B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8295128" y="2065975"/>
            <a:ext cx="3544395" cy="3543893"/>
          </a:xfrm>
          <a:blipFill>
            <a:blip r:embed="rId2"/>
            <a:stretch>
              <a:fillRect/>
            </a:stretch>
          </a:blipFill>
        </p:spPr>
        <p:txBody>
          <a:bodyPr lIns="0" tIns="0" rIns="0" bIns="100584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816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260F77E-464D-46F7-A8F8-6F281DAB0C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0059" y="466302"/>
            <a:ext cx="11239464" cy="56509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9620431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3584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2557">
          <p15:clr>
            <a:srgbClr val="5ACBF0"/>
          </p15:clr>
        </p15:guide>
        <p15:guide id="7" pos="2744">
          <p15:clr>
            <a:srgbClr val="5ACBF0"/>
          </p15:clr>
        </p15:guide>
        <p15:guide id="8" pos="4936">
          <p15:clr>
            <a:srgbClr val="5ACBF0"/>
          </p15:clr>
        </p15:guide>
        <p15:guide id="9" pos="5123">
          <p15:clr>
            <a:srgbClr val="5ACBF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Edu Grade 3-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" y="0"/>
            <a:ext cx="4084638" cy="6994525"/>
          </a:xfrm>
          <a:prstGeom prst="rect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3177" y="6238241"/>
            <a:ext cx="1385761" cy="52546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8939" y="373063"/>
            <a:ext cx="3474720" cy="3124200"/>
          </a:xfrm>
        </p:spPr>
        <p:txBody>
          <a:bodyPr wrap="square" tIns="0" bIns="0" anchor="ctr"/>
          <a:lstStyle>
            <a:lvl1pPr>
              <a:defRPr sz="3999">
                <a:gradFill>
                  <a:gsLst>
                    <a:gs pos="2917">
                      <a:schemeClr val="bg1"/>
                    </a:gs>
                    <a:gs pos="100000">
                      <a:schemeClr val="bg1">
                        <a:alpha val="99000"/>
                      </a:schemeClr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4084639" y="0"/>
            <a:ext cx="8351837" cy="6994525"/>
          </a:xfrm>
          <a:blipFill>
            <a:blip r:embed="rId3"/>
            <a:srcRect/>
            <a:stretch>
              <a:fillRect/>
            </a:stretch>
          </a:blipFill>
        </p:spPr>
        <p:txBody>
          <a:bodyPr anchor="ctr"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388938" y="3497264"/>
            <a:ext cx="3474720" cy="2100262"/>
          </a:xfrm>
        </p:spPr>
        <p:txBody>
          <a:bodyPr tIns="0" bIns="0" anchor="ctr"/>
          <a:lstStyle>
            <a:lvl1pPr>
              <a:defRPr sz="2000">
                <a:gradFill>
                  <a:gsLst>
                    <a:gs pos="2917">
                      <a:schemeClr val="bg1"/>
                    </a:gs>
                    <a:gs pos="100000">
                      <a:schemeClr val="bg1">
                        <a:alpha val="99000"/>
                      </a:schemeClr>
                    </a:gs>
                  </a:gsLst>
                  <a:lin ang="5400000" scaled="0"/>
                </a:gradFill>
              </a:defRPr>
            </a:lvl1pPr>
            <a:lvl2pPr>
              <a:defRPr sz="1800">
                <a:gradFill>
                  <a:gsLst>
                    <a:gs pos="2917">
                      <a:schemeClr val="bg1"/>
                    </a:gs>
                    <a:gs pos="100000">
                      <a:schemeClr val="bg1">
                        <a:alpha val="99000"/>
                      </a:schemeClr>
                    </a:gs>
                  </a:gsLst>
                  <a:lin ang="5400000" scaled="0"/>
                </a:gradFill>
              </a:defRPr>
            </a:lvl2pPr>
            <a:lvl3pPr marL="3174" indent="0">
              <a:buNone/>
              <a:defRPr sz="2000">
                <a:gradFill>
                  <a:gsLst>
                    <a:gs pos="2917">
                      <a:schemeClr val="bg1"/>
                    </a:gs>
                    <a:gs pos="100000">
                      <a:schemeClr val="bg1">
                        <a:alpha val="99000"/>
                      </a:schemeClr>
                    </a:gs>
                  </a:gsLst>
                  <a:lin ang="5400000" scaled="0"/>
                </a:gradFill>
              </a:defRPr>
            </a:lvl3pPr>
            <a:lvl4pPr>
              <a:defRPr sz="2000">
                <a:gradFill>
                  <a:gsLst>
                    <a:gs pos="2917">
                      <a:schemeClr val="bg1"/>
                    </a:gs>
                    <a:gs pos="100000">
                      <a:schemeClr val="bg1">
                        <a:alpha val="99000"/>
                      </a:schemeClr>
                    </a:gs>
                  </a:gsLst>
                  <a:lin ang="5400000" scaled="0"/>
                </a:gradFill>
              </a:defRPr>
            </a:lvl4pPr>
            <a:lvl5pPr>
              <a:defRPr sz="2000">
                <a:gradFill>
                  <a:gsLst>
                    <a:gs pos="2917">
                      <a:schemeClr val="bg1"/>
                    </a:gs>
                    <a:gs pos="100000">
                      <a:schemeClr val="bg1">
                        <a:alpha val="99000"/>
                      </a:schemeClr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 dirty="0"/>
              <a:t>Click to add byline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093743437"/>
      </p:ext>
    </p:extLst>
  </p:cSld>
  <p:clrMapOvr>
    <a:masterClrMapping/>
  </p:clrMapOvr>
  <p:transition>
    <p:fade/>
  </p:transition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833B58-0629-4A46-8711-902C16A9931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94295" y="4848576"/>
            <a:ext cx="2583678" cy="313932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2040"/>
            </a:lvl1pPr>
          </a:lstStyle>
          <a:p>
            <a:pPr lvl="0"/>
            <a:r>
              <a:rPr lang="en-US"/>
              <a:t>Edit Master text</a:t>
            </a:r>
          </a:p>
        </p:txBody>
      </p:sp>
      <p:sp>
        <p:nvSpPr>
          <p:cNvPr id="9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1231301F-62BD-4CF6-8990-CDF00AFC8CC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94294" y="2065977"/>
            <a:ext cx="2583678" cy="2583311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12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E8A9C08-F392-459F-B90B-EDBF4A830C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82364" y="4848576"/>
            <a:ext cx="2583678" cy="313932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2040"/>
            </a:lvl1pPr>
          </a:lstStyle>
          <a:p>
            <a:pPr lvl="0"/>
            <a:r>
              <a:rPr lang="en-US"/>
              <a:t>Edit Master text</a:t>
            </a:r>
          </a:p>
        </p:txBody>
      </p:sp>
      <p:sp>
        <p:nvSpPr>
          <p:cNvPr id="10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E401A97-B3D4-43E4-9B09-8AD4B6B2606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482364" y="2065977"/>
            <a:ext cx="2583678" cy="2583311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12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5B401B2-8D93-427E-90A4-52337B3965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70433" y="4848576"/>
            <a:ext cx="2583678" cy="313932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2040"/>
            </a:lvl1pPr>
          </a:lstStyle>
          <a:p>
            <a:pPr lvl="0"/>
            <a:r>
              <a:rPr lang="en-US"/>
              <a:t>Edit Master text</a:t>
            </a:r>
          </a:p>
        </p:txBody>
      </p:sp>
      <p:sp>
        <p:nvSpPr>
          <p:cNvPr id="11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7223C820-5673-4288-A9D6-185A95066B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370433" y="2065977"/>
            <a:ext cx="2583678" cy="2583311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12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38E883C1-8203-4549-AF30-B96AEC45AC6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58503" y="4848576"/>
            <a:ext cx="2583678" cy="313932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2040"/>
            </a:lvl1pPr>
          </a:lstStyle>
          <a:p>
            <a:pPr lvl="0"/>
            <a:r>
              <a:rPr lang="en-US"/>
              <a:t>Edit Master text</a:t>
            </a:r>
          </a:p>
        </p:txBody>
      </p:sp>
      <p:sp>
        <p:nvSpPr>
          <p:cNvPr id="14" name="Picture Placeholder" descr="This photo is a 'placeholder' only. Drag or drop your photo here, or click and tap the center to insert a photo.">
            <a:extLst>
              <a:ext uri="{FF2B5EF4-FFF2-40B4-BE49-F238E27FC236}">
                <a16:creationId xmlns:a16="http://schemas.microsoft.com/office/drawing/2014/main" id="{BBD58C33-921C-42F1-9803-1C798DB548C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9258503" y="2065977"/>
            <a:ext cx="2583678" cy="2583311"/>
          </a:xfrm>
          <a:blipFill>
            <a:blip r:embed="rId2"/>
            <a:stretch>
              <a:fillRect/>
            </a:stretch>
          </a:blipFill>
        </p:spPr>
        <p:txBody>
          <a:bodyPr lIns="0" tIns="0" rIns="0" bIns="731520" anchor="ctr" anchorCtr="0">
            <a:noAutofit/>
          </a:bodyPr>
          <a:lstStyle>
            <a:lvl1pPr marL="0" indent="0" algn="ctr">
              <a:lnSpc>
                <a:spcPct val="100000"/>
              </a:lnSpc>
              <a:buNone/>
              <a:defRPr sz="612" b="1">
                <a:solidFill>
                  <a:srgbClr val="FFFFFF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Dag &amp; drop your photo here </a:t>
            </a:r>
            <a:br>
              <a:rPr lang="en-US"/>
            </a:br>
            <a:r>
              <a:rPr lang="en-US"/>
              <a:t>or click or tap icon below </a:t>
            </a:r>
            <a:br>
              <a:rPr lang="en-US"/>
            </a:br>
            <a:r>
              <a:rPr lang="en-US"/>
              <a:t>to insert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7A434B7-D4B9-4D45-A31C-F0CC4D2279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0059" y="466302"/>
            <a:ext cx="11239464" cy="56509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5408915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3" orient="horz" pos="2993">
          <p15:clr>
            <a:srgbClr val="5ACBF0"/>
          </p15:clr>
        </p15:guide>
        <p15:guide id="4" orient="horz" pos="1276">
          <p15:clr>
            <a:srgbClr val="5ACBF0"/>
          </p15:clr>
        </p15:guide>
        <p15:guide id="5" orient="horz" pos="288">
          <p15:clr>
            <a:srgbClr val="5ACBF0"/>
          </p15:clr>
        </p15:guide>
        <p15:guide id="6" pos="1963">
          <p15:clr>
            <a:srgbClr val="5ACBF0"/>
          </p15:clr>
        </p15:guide>
        <p15:guide id="7" pos="2150">
          <p15:clr>
            <a:srgbClr val="5ACBF0"/>
          </p15:clr>
        </p15:guide>
        <p15:guide id="8" pos="3746">
          <p15:clr>
            <a:srgbClr val="5ACBF0"/>
          </p15:clr>
        </p15:guide>
        <p15:guide id="9" pos="3934">
          <p15:clr>
            <a:srgbClr val="5ACBF0"/>
          </p15:clr>
        </p15:guide>
        <p15:guide id="10" pos="5530">
          <p15:clr>
            <a:srgbClr val="5ACBF0"/>
          </p15:clr>
        </p15:guide>
        <p15:guide id="11" pos="5716">
          <p15:clr>
            <a:srgbClr val="5ACBF0"/>
          </p15:clr>
        </p15:guide>
      </p15:sldGuideLst>
    </p:ext>
  </p:extLst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reenshot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9D883269-C75C-4B87-8CD9-BE4E94E2BF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2C923CE-7CB3-4CF0-AAA2-722B1683A10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278029" y="2057881"/>
            <a:ext cx="3564152" cy="313932"/>
          </a:xfrm>
        </p:spPr>
        <p:txBody>
          <a:bodyPr/>
          <a:lstStyle>
            <a:lvl1pPr marL="0" indent="0">
              <a:buFontTx/>
              <a:buNone/>
              <a:defRPr sz="2040"/>
            </a:lvl1pPr>
          </a:lstStyle>
          <a:p>
            <a:pPr lvl="0"/>
            <a:r>
              <a:rPr lang="en-US"/>
              <a:t>Add a caption</a:t>
            </a:r>
          </a:p>
        </p:txBody>
      </p:sp>
      <p:sp>
        <p:nvSpPr>
          <p:cNvPr id="3" name="Picture Placeholder 2" descr="This screenshot is a 'placeholder' only. Drag or drop your screen shot here, or click and tap the center to insert a photo.">
            <a:extLst>
              <a:ext uri="{FF2B5EF4-FFF2-40B4-BE49-F238E27FC236}">
                <a16:creationId xmlns:a16="http://schemas.microsoft.com/office/drawing/2014/main" id="{32952E5A-3BE5-4580-872E-DC3A31E8D44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594294" y="1465289"/>
            <a:ext cx="7398732" cy="4928550"/>
          </a:xfrm>
          <a:blipFill>
            <a:blip r:embed="rId2"/>
            <a:stretch>
              <a:fillRect/>
            </a:stretch>
          </a:blipFill>
        </p:spPr>
        <p:txBody>
          <a:bodyPr bIns="1005840" anchor="ctr">
            <a:noAutofit/>
          </a:bodyPr>
          <a:lstStyle>
            <a:lvl1pPr marL="0" indent="0" algn="ctr">
              <a:buNone/>
              <a:defRPr sz="1020" b="1">
                <a:solidFill>
                  <a:srgbClr val="000000"/>
                </a:solidFill>
              </a:defRPr>
            </a:lvl1pPr>
          </a:lstStyle>
          <a:p>
            <a:r>
              <a:rPr lang="en-US"/>
              <a:t>Drag &amp; drop a screenshot </a:t>
            </a:r>
            <a:br>
              <a:rPr lang="en-US"/>
            </a:br>
            <a:r>
              <a:rPr lang="en-US"/>
              <a:t>here or click or tap icon </a:t>
            </a:r>
            <a:br>
              <a:rPr lang="en-US"/>
            </a:br>
            <a:r>
              <a:rPr lang="en-US"/>
              <a:t>below to insert </a:t>
            </a:r>
          </a:p>
        </p:txBody>
      </p:sp>
    </p:spTree>
    <p:extLst>
      <p:ext uri="{BB962C8B-B14F-4D97-AF65-F5344CB8AC3E}">
        <p14:creationId xmlns:p14="http://schemas.microsoft.com/office/powerpoint/2010/main" val="316167997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20" pos="4937">
          <p15:clr>
            <a:srgbClr val="5ACBF0"/>
          </p15:clr>
        </p15:guide>
        <p15:guide id="21" pos="5112">
          <p15:clr>
            <a:srgbClr val="5ACBF0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D31026A-4A74-439D-A8F5-DB82A03E71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5914" y="2351745"/>
            <a:ext cx="3538516" cy="1130181"/>
          </a:xfrm>
        </p:spPr>
        <p:txBody>
          <a:bodyPr/>
          <a:lstStyle>
            <a:lvl1pPr>
              <a:defRPr sz="3672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08DBB0A-21C9-483B-83DA-E59B5C35787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39268" y="2495754"/>
            <a:ext cx="7100774" cy="376706"/>
          </a:xfrm>
        </p:spPr>
        <p:txBody>
          <a:bodyPr/>
          <a:lstStyle>
            <a:lvl1pPr marL="0" indent="0">
              <a:spcAft>
                <a:spcPts val="1224"/>
              </a:spcAft>
              <a:buNone/>
              <a:defRPr sz="2448"/>
            </a:lvl1pPr>
            <a:lvl2pPr marL="233104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9FD800B-7DF4-487A-ADA4-F44FB0D5A33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/>
          <p:nvPr userDrawn="1"/>
        </p:nvCxnSpPr>
        <p:spPr>
          <a:xfrm>
            <a:off x="600060" y="2057880"/>
            <a:ext cx="3547053" cy="0"/>
          </a:xfrm>
          <a:prstGeom prst="line">
            <a:avLst/>
          </a:prstGeom>
          <a:ln w="28575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17D0DD9-81B9-4F58-9346-51EE2B8F81A3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cxnSpLocks/>
          </p:cNvCxnSpPr>
          <p:nvPr userDrawn="1"/>
        </p:nvCxnSpPr>
        <p:spPr>
          <a:xfrm>
            <a:off x="4741406" y="2057880"/>
            <a:ext cx="7100774" cy="0"/>
          </a:xfrm>
          <a:prstGeom prst="line">
            <a:avLst/>
          </a:prstGeom>
          <a:ln w="12700">
            <a:solidFill>
              <a:schemeClr val="tx1">
                <a:lumMod val="85000"/>
              </a:schemeClr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6602888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2" pos="2561">
          <p15:clr>
            <a:srgbClr val="5ACBF0"/>
          </p15:clr>
        </p15:guide>
        <p15:guide id="13" pos="2744">
          <p15:clr>
            <a:srgbClr val="5ACBF0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2" orient="horz" pos="1728">
          <p15:clr>
            <a:srgbClr val="FBAE40"/>
          </p15:clr>
        </p15:guide>
        <p15:guide id="33" pos="2928">
          <p15:clr>
            <a:srgbClr val="5ACBF0"/>
          </p15:clr>
        </p15:guide>
      </p15:sldGuideLst>
    </p:ext>
  </p:extLst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EDEC010-DDB9-42D4-B78F-4D54E3BEA4F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 userDrawn="1"/>
        </p:nvSpPr>
        <p:spPr bwMode="blackWhite">
          <a:xfrm>
            <a:off x="1" y="0"/>
            <a:ext cx="4443449" cy="6994525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494" tIns="149196" rIns="186494" bIns="14919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50846" fontAlgn="base">
              <a:spcBef>
                <a:spcPct val="0"/>
              </a:spcBef>
              <a:spcAft>
                <a:spcPct val="0"/>
              </a:spcAft>
            </a:pPr>
            <a:endParaRPr lang="en-US" sz="204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55F69672-DC8B-4F90-8167-6367A65F8F7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37338" y="3275905"/>
            <a:ext cx="6803399" cy="439479"/>
          </a:xfrm>
        </p:spPr>
        <p:txBody>
          <a:bodyPr anchor="ctr" anchorCtr="0"/>
          <a:lstStyle>
            <a:lvl1pPr marL="0" indent="0">
              <a:spcAft>
                <a:spcPts val="1224"/>
              </a:spcAft>
              <a:buNone/>
              <a:defRPr sz="2856"/>
            </a:lvl1pPr>
            <a:lvl2pPr marL="233104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CF6E003-50E5-45D8-A623-8E629A545C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0059" y="3213099"/>
            <a:ext cx="3247476" cy="565091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6213451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3" pos="2744">
          <p15:clr>
            <a:srgbClr val="5ACBF0"/>
          </p15:clr>
        </p15:guide>
        <p15:guide id="14" pos="3110">
          <p15:clr>
            <a:srgbClr val="5ACBF0"/>
          </p15:clr>
        </p15:guide>
        <p15:guide id="29" orient="horz" pos="2160">
          <p15:clr>
            <a:srgbClr val="FDE53C"/>
          </p15:clr>
        </p15:guide>
        <p15:guide id="30" pos="2376">
          <p15:clr>
            <a:srgbClr val="5ACBF0"/>
          </p15:clr>
        </p15:guide>
      </p15:sldGuideLst>
    </p:ext>
  </p:extLst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side by s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EDEC010-DDB9-42D4-B78F-4D54E3BEA4F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 userDrawn="1"/>
        </p:nvSpPr>
        <p:spPr bwMode="blackWhite">
          <a:xfrm>
            <a:off x="1" y="0"/>
            <a:ext cx="4443449" cy="6994525"/>
          </a:xfrm>
          <a:prstGeom prst="rect">
            <a:avLst/>
          </a:prstGeom>
          <a:solidFill>
            <a:schemeClr val="bg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494" tIns="149196" rIns="186494" bIns="14919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50846" fontAlgn="base">
              <a:spcBef>
                <a:spcPct val="0"/>
              </a:spcBef>
              <a:spcAft>
                <a:spcPct val="0"/>
              </a:spcAft>
            </a:pPr>
            <a:endParaRPr lang="en-US" sz="204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55F69672-DC8B-4F90-8167-6367A65F8F7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37338" y="3275905"/>
            <a:ext cx="6803399" cy="439479"/>
          </a:xfrm>
        </p:spPr>
        <p:txBody>
          <a:bodyPr anchor="ctr" anchorCtr="0"/>
          <a:lstStyle>
            <a:lvl1pPr marL="0" indent="0">
              <a:spcAft>
                <a:spcPts val="1224"/>
              </a:spcAft>
              <a:buNone/>
              <a:defRPr sz="2856"/>
            </a:lvl1pPr>
            <a:lvl2pPr marL="233104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CF6E003-50E5-45D8-A623-8E629A545C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0059" y="3213099"/>
            <a:ext cx="3247476" cy="565091"/>
          </a:xfrm>
        </p:spPr>
        <p:txBody>
          <a:bodyPr anchor="ctr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1972113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3" pos="2744">
          <p15:clr>
            <a:srgbClr val="5ACBF0"/>
          </p15:clr>
        </p15:guide>
        <p15:guide id="14" pos="3110">
          <p15:clr>
            <a:srgbClr val="5ACBF0"/>
          </p15:clr>
        </p15:guide>
        <p15:guide id="29" orient="horz" pos="2160">
          <p15:clr>
            <a:srgbClr val="FDE53C"/>
          </p15:clr>
        </p15:guide>
        <p15:guide id="30" pos="2376">
          <p15:clr>
            <a:srgbClr val="5ACBF0"/>
          </p15:clr>
        </p15:guide>
      </p15:sldGuideLst>
    </p:ext>
  </p:extLst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side by 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35867F2-3994-4092-B53B-5792FEE6988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/>
          <p:nvPr userDrawn="1"/>
        </p:nvCxnSpPr>
        <p:spPr>
          <a:xfrm>
            <a:off x="4443449" y="2629424"/>
            <a:ext cx="0" cy="1735678"/>
          </a:xfrm>
          <a:prstGeom prst="line">
            <a:avLst/>
          </a:prstGeom>
          <a:ln w="28575">
            <a:solidFill>
              <a:schemeClr val="accent1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015781-2431-48C9-AEF1-52FBD41AF3F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40983" y="3275905"/>
            <a:ext cx="6801197" cy="439479"/>
          </a:xfrm>
        </p:spPr>
        <p:txBody>
          <a:bodyPr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E5C076-3B78-4451-8068-576892A08E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0061" y="3213099"/>
            <a:ext cx="3245833" cy="565091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13728324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3" pos="2744">
          <p15:clr>
            <a:srgbClr val="5ACBF0"/>
          </p15:clr>
        </p15:guide>
        <p15:guide id="29" orient="horz" pos="2160">
          <p15:clr>
            <a:srgbClr val="FDE53C"/>
          </p15:clr>
        </p15:guide>
        <p15:guide id="30" pos="2376">
          <p15:clr>
            <a:srgbClr val="5ACBF0"/>
          </p15:clr>
        </p15:guide>
        <p15:guide id="31" pos="3113">
          <p15:clr>
            <a:srgbClr val="5ACBF0"/>
          </p15:clr>
        </p15:guide>
      </p15:sldGuideLst>
    </p:ext>
  </p:extLst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6951" y="3093607"/>
            <a:ext cx="9327356" cy="508524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5112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72" b="0" kern="1200" cap="none" spc="-51" baseline="0" dirty="0">
                <a:ln w="3175">
                  <a:noFill/>
                </a:ln>
                <a:solidFill>
                  <a:srgbClr val="50E6FF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96951" y="4056497"/>
            <a:ext cx="9327356" cy="345294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44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4530503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6951" y="3093607"/>
            <a:ext cx="9327356" cy="508524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5112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72" b="0" kern="1200" cap="none" spc="-51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96951" y="4056497"/>
            <a:ext cx="9327356" cy="345294"/>
          </a:xfrm>
          <a:noFill/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244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125422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6951" y="3096243"/>
            <a:ext cx="9327356" cy="508524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5112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72" b="0" kern="1200" cap="none" spc="-51" baseline="0" dirty="0">
                <a:ln w="3175">
                  <a:noFill/>
                </a:ln>
                <a:solidFill>
                  <a:srgbClr val="50E6FF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0800949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27">
          <p15:clr>
            <a:srgbClr val="5ACBF0"/>
          </p15:clr>
        </p15:guide>
        <p15:guide id="3" orient="horz" pos="1911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6951" y="3096243"/>
            <a:ext cx="9327356" cy="508524"/>
          </a:xfrm>
          <a:noFill/>
        </p:spPr>
        <p:txBody>
          <a:bodyPr lIns="0" tIns="0" rIns="0" bIns="0" anchor="b" anchorCtr="0">
            <a:spAutoFit/>
          </a:bodyPr>
          <a:lstStyle>
            <a:lvl1pPr algn="l" defTabSz="95112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72" b="0" kern="1200" cap="none" spc="-51" baseline="0" dirty="0">
                <a:ln w="3175">
                  <a:noFill/>
                </a:ln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720949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6135">
          <p15:clr>
            <a:srgbClr val="5ACBF0"/>
          </p15:clr>
        </p15:guide>
        <p15:guide id="3" orient="horz" pos="1910">
          <p15:clr>
            <a:srgbClr val="5ACBF0"/>
          </p15:clr>
        </p15:guide>
        <p15:guide id="4" orient="horz" pos="2505">
          <p15:clr>
            <a:srgbClr val="5ACBF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Edu Grade 6-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" y="0"/>
            <a:ext cx="4084638" cy="6994525"/>
          </a:xfrm>
          <a:prstGeom prst="rect">
            <a:avLst/>
          </a:prstGeom>
          <a:solidFill>
            <a:srgbClr val="0082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3177" y="6238241"/>
            <a:ext cx="1385761" cy="52546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8939" y="373063"/>
            <a:ext cx="3474720" cy="3124200"/>
          </a:xfrm>
        </p:spPr>
        <p:txBody>
          <a:bodyPr wrap="square" tIns="0" bIns="0" anchor="ctr"/>
          <a:lstStyle>
            <a:lvl1pPr>
              <a:defRPr sz="3999">
                <a:gradFill>
                  <a:gsLst>
                    <a:gs pos="2917">
                      <a:schemeClr val="bg1"/>
                    </a:gs>
                    <a:gs pos="100000">
                      <a:schemeClr val="bg1">
                        <a:alpha val="99000"/>
                      </a:schemeClr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4084639" y="0"/>
            <a:ext cx="8351837" cy="6994525"/>
          </a:xfrm>
          <a:blipFill>
            <a:blip r:embed="rId3"/>
            <a:srcRect/>
            <a:stretch>
              <a:fillRect/>
            </a:stretch>
          </a:blipFill>
        </p:spPr>
        <p:txBody>
          <a:bodyPr anchor="ctr"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388938" y="3497264"/>
            <a:ext cx="3474720" cy="2100262"/>
          </a:xfrm>
        </p:spPr>
        <p:txBody>
          <a:bodyPr tIns="0" bIns="0" anchor="ctr"/>
          <a:lstStyle>
            <a:lvl1pPr>
              <a:defRPr sz="2000">
                <a:gradFill>
                  <a:gsLst>
                    <a:gs pos="2917">
                      <a:schemeClr val="bg1"/>
                    </a:gs>
                    <a:gs pos="100000">
                      <a:schemeClr val="bg1">
                        <a:alpha val="99000"/>
                      </a:schemeClr>
                    </a:gs>
                  </a:gsLst>
                  <a:lin ang="5400000" scaled="0"/>
                </a:gradFill>
              </a:defRPr>
            </a:lvl1pPr>
            <a:lvl2pPr>
              <a:defRPr sz="1800">
                <a:gradFill>
                  <a:gsLst>
                    <a:gs pos="2917">
                      <a:schemeClr val="bg1"/>
                    </a:gs>
                    <a:gs pos="100000">
                      <a:schemeClr val="bg1">
                        <a:alpha val="99000"/>
                      </a:schemeClr>
                    </a:gs>
                  </a:gsLst>
                  <a:lin ang="5400000" scaled="0"/>
                </a:gradFill>
              </a:defRPr>
            </a:lvl2pPr>
            <a:lvl3pPr marL="3174" indent="0">
              <a:buNone/>
              <a:defRPr sz="2000">
                <a:gradFill>
                  <a:gsLst>
                    <a:gs pos="2917">
                      <a:schemeClr val="bg1"/>
                    </a:gs>
                    <a:gs pos="100000">
                      <a:schemeClr val="bg1">
                        <a:alpha val="99000"/>
                      </a:schemeClr>
                    </a:gs>
                  </a:gsLst>
                  <a:lin ang="5400000" scaled="0"/>
                </a:gradFill>
              </a:defRPr>
            </a:lvl3pPr>
            <a:lvl4pPr>
              <a:defRPr sz="2000">
                <a:gradFill>
                  <a:gsLst>
                    <a:gs pos="2917">
                      <a:schemeClr val="bg1"/>
                    </a:gs>
                    <a:gs pos="100000">
                      <a:schemeClr val="bg1">
                        <a:alpha val="99000"/>
                      </a:schemeClr>
                    </a:gs>
                  </a:gsLst>
                  <a:lin ang="5400000" scaled="0"/>
                </a:gradFill>
              </a:defRPr>
            </a:lvl4pPr>
            <a:lvl5pPr>
              <a:defRPr sz="2000">
                <a:gradFill>
                  <a:gsLst>
                    <a:gs pos="2917">
                      <a:schemeClr val="bg1"/>
                    </a:gs>
                    <a:gs pos="100000">
                      <a:schemeClr val="bg1">
                        <a:alpha val="99000"/>
                      </a:schemeClr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 dirty="0"/>
              <a:t>Click to add byline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40730036"/>
      </p:ext>
    </p:extLst>
  </p:cSld>
  <p:clrMapOvr>
    <a:masterClrMapping/>
  </p:clrMapOvr>
  <p:transition>
    <p:fade/>
  </p:transition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30458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588455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0DF2A6-26A8-4810-95DF-F65F123C6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oftware code slide</a:t>
            </a:r>
          </a:p>
        </p:txBody>
      </p:sp>
      <p:sp>
        <p:nvSpPr>
          <p:cNvPr id="5" name="Text Placeholder 4" descr="This layout should only be used for developer code. The font used is a monospace font which is ideal for showing code.">
            <a:extLst>
              <a:ext uri="{FF2B5EF4-FFF2-40B4-BE49-F238E27FC236}">
                <a16:creationId xmlns:a16="http://schemas.microsoft.com/office/drawing/2014/main" id="{BA9F61CF-FF79-485A-A6C8-A1952EFD58A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0059" y="1465290"/>
            <a:ext cx="11239464" cy="1946203"/>
          </a:xfrm>
        </p:spPr>
        <p:txBody>
          <a:bodyPr/>
          <a:lstStyle>
            <a:lvl1pPr marL="0" indent="0">
              <a:buNone/>
              <a:defRPr sz="2856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53381" indent="0">
              <a:buNone/>
              <a:defRPr sz="2448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96126" indent="0">
              <a:buNone/>
              <a:defRPr sz="2040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30614" indent="0">
              <a:buNone/>
              <a:defRPr sz="1836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71706" indent="0">
              <a:buNone/>
              <a:defRPr sz="1836">
                <a:gradFill>
                  <a:gsLst>
                    <a:gs pos="61049">
                      <a:schemeClr val="tx1"/>
                    </a:gs>
                    <a:gs pos="43000">
                      <a:schemeClr val="tx1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3604256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1272">
          <p15:clr>
            <a:srgbClr val="5ACBF0"/>
          </p15:clr>
        </p15:guide>
        <p15:guide id="2" orient="horz" pos="905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MS logo white - EMF" descr="Microsoft logo white text version">
            <a:extLst>
              <a:ext uri="{FF2B5EF4-FFF2-40B4-BE49-F238E27FC236}">
                <a16:creationId xmlns:a16="http://schemas.microsoft.com/office/drawing/2014/main" id="{1291B0CF-9615-4684-B7F1-8E5483826A4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black">
          <a:xfrm>
            <a:off x="595916" y="597451"/>
            <a:ext cx="1393641" cy="298433"/>
          </a:xfrm>
          <a:prstGeom prst="rect">
            <a:avLst/>
          </a:prstGeom>
        </p:spPr>
      </p:pic>
      <p:sp>
        <p:nvSpPr>
          <p:cNvPr id="2" name="Text Box 3" descr="This is a copyright notice that should be included on the final slide."/>
          <p:cNvSpPr txBox="1">
            <a:spLocks noChangeArrowheads="1"/>
          </p:cNvSpPr>
          <p:nvPr userDrawn="1"/>
        </p:nvSpPr>
        <p:spPr bwMode="blackWhite">
          <a:xfrm>
            <a:off x="595914" y="6281748"/>
            <a:ext cx="4572000" cy="112090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defTabSz="950660" eaLnBrk="0" hangingPunct="0"/>
            <a:r>
              <a:rPr lang="en-US" sz="714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5365405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 b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B6606D-2DF9-48CD-BBE9-B751BF55CD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white">
          <a:xfrm>
            <a:off x="595914" y="1465289"/>
            <a:ext cx="11239789" cy="2260106"/>
          </a:xfrm>
        </p:spPr>
        <p:txBody>
          <a:bodyPr>
            <a:spAutoFit/>
          </a:bodyPr>
          <a:lstStyle>
            <a:lvl1pPr>
              <a:defRPr sz="3672">
                <a:latin typeface="+mn-lt"/>
              </a:defRPr>
            </a:lvl1pPr>
            <a:lvl2pPr>
              <a:defRPr sz="2856">
                <a:latin typeface="+mn-lt"/>
              </a:defRPr>
            </a:lvl2pPr>
            <a:lvl3pPr>
              <a:defRPr sz="2448">
                <a:latin typeface="+mn-lt"/>
              </a:defRPr>
            </a:lvl3pPr>
            <a:lvl4pPr>
              <a:defRPr sz="2040">
                <a:latin typeface="+mn-lt"/>
              </a:defRPr>
            </a:lvl4pPr>
            <a:lvl5pPr>
              <a:defRPr sz="1836"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Next slide"/>
          <p:cNvSpPr>
            <a:spLocks noGrp="1"/>
          </p:cNvSpPr>
          <p:nvPr>
            <p:ph type="body" sz="quarter" idx="11" hasCustomPrompt="1"/>
          </p:nvPr>
        </p:nvSpPr>
        <p:spPr>
          <a:xfrm>
            <a:off x="3" y="6393840"/>
            <a:ext cx="12436476" cy="600688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45720" anchor="b" anchorCtr="0">
            <a:noAutofit/>
          </a:bodyPr>
          <a:lstStyle>
            <a:lvl1pPr algn="r">
              <a:buFont typeface="Arial" pitchFamily="34" charset="0"/>
              <a:buNone/>
              <a:defRPr sz="3774" spc="-52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</p:spTree>
    <p:extLst>
      <p:ext uri="{BB962C8B-B14F-4D97-AF65-F5344CB8AC3E}">
        <p14:creationId xmlns:p14="http://schemas.microsoft.com/office/powerpoint/2010/main" val="70727996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288">
          <p15:clr>
            <a:srgbClr val="5ACBF0"/>
          </p15:clr>
        </p15:guide>
      </p15:sldGuideLst>
    </p:ext>
  </p:extLst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Tex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k object 16"/>
          <p:cNvSpPr/>
          <p:nvPr userDrawn="1"/>
        </p:nvSpPr>
        <p:spPr>
          <a:xfrm>
            <a:off x="2021261" y="0"/>
            <a:ext cx="10415214" cy="699452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73"/>
          </a:p>
        </p:txBody>
      </p:sp>
    </p:spTree>
    <p:extLst>
      <p:ext uri="{BB962C8B-B14F-4D97-AF65-F5344CB8AC3E}">
        <p14:creationId xmlns:p14="http://schemas.microsoft.com/office/powerpoint/2010/main" val="708868217"/>
      </p:ext>
    </p:extLst>
  </p:cSld>
  <p:clrMapOvr>
    <a:masterClrMapping/>
  </p:clrMapOvr>
  <p:transition>
    <p:fade/>
  </p:transition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0"/>
          </p:nvPr>
        </p:nvSpPr>
        <p:spPr>
          <a:xfrm>
            <a:off x="170499" y="134631"/>
            <a:ext cx="12095483" cy="439465"/>
          </a:xfrm>
          <a:prstGeom prst="rect">
            <a:avLst/>
          </a:prstGeom>
        </p:spPr>
        <p:txBody>
          <a:bodyPr/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1626058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2" y="1"/>
            <a:ext cx="5630421" cy="439465"/>
          </a:xfrm>
          <a:prstGeom prst="rect">
            <a:avLst/>
          </a:prstGeom>
        </p:spPr>
        <p:txBody>
          <a:bodyPr/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818916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218237" y="1"/>
            <a:ext cx="6218238" cy="439465"/>
          </a:xfrm>
          <a:prstGeom prst="rect">
            <a:avLst/>
          </a:prstGeom>
        </p:spPr>
        <p:txBody>
          <a:bodyPr/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6292282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6658950" y="926104"/>
            <a:ext cx="5141027" cy="439465"/>
          </a:xfrm>
          <a:prstGeom prst="rect">
            <a:avLst/>
          </a:prstGeom>
        </p:spPr>
        <p:txBody>
          <a:bodyPr/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1111416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A1A1F6-2B0C-43B8-93BA-CBDA3559B1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36074B-E3E5-42BB-9224-A889959CBD6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55008" y="1861968"/>
            <a:ext cx="5285502" cy="44379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85D0E02-FA09-46B9-B36C-4829A86E98E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5965" y="1861968"/>
            <a:ext cx="5285502" cy="44379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3B0CE25-30AF-48C4-85ED-B1436A5112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47F7F1-0E89-4D7B-8516-36A4AC75346A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A6AAC03-AB82-45B2-BD5D-3C2210A2E9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C9DD6A9-1021-419C-A46F-BF744312B8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792400-19F6-4B13-9EA1-2A330825251F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35356637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Edu Grade 9-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8939" y="373063"/>
            <a:ext cx="3474720" cy="3124200"/>
          </a:xfrm>
        </p:spPr>
        <p:txBody>
          <a:bodyPr wrap="square" tIns="0" bIns="0" anchor="ctr"/>
          <a:lstStyle>
            <a:lvl1pPr>
              <a:defRPr sz="3999">
                <a:gradFill>
                  <a:gsLst>
                    <a:gs pos="2917">
                      <a:srgbClr val="0078D7"/>
                    </a:gs>
                    <a:gs pos="100000">
                      <a:srgbClr val="0078D7">
                        <a:alpha val="99000"/>
                      </a:srgbClr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4084639" y="0"/>
            <a:ext cx="8351837" cy="6994525"/>
          </a:xfrm>
          <a:blipFill>
            <a:blip r:embed="rId2"/>
            <a:srcRect/>
            <a:stretch>
              <a:fillRect/>
            </a:stretch>
          </a:blipFill>
        </p:spPr>
        <p:txBody>
          <a:bodyPr anchor="ctr"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388938" y="3497264"/>
            <a:ext cx="3474720" cy="2100262"/>
          </a:xfrm>
        </p:spPr>
        <p:txBody>
          <a:bodyPr tIns="0" bIns="0" anchor="ctr"/>
          <a:lstStyle>
            <a:lvl1pPr>
              <a:defRPr sz="2000">
                <a:gradFill>
                  <a:gsLst>
                    <a:gs pos="2917">
                      <a:schemeClr val="tx1">
                        <a:lumMod val="75000"/>
                      </a:schemeClr>
                    </a:gs>
                    <a:gs pos="100000">
                      <a:schemeClr val="tx1">
                        <a:lumMod val="75000"/>
                        <a:alpha val="99000"/>
                      </a:schemeClr>
                    </a:gs>
                  </a:gsLst>
                  <a:lin ang="5400000" scaled="0"/>
                </a:gradFill>
              </a:defRPr>
            </a:lvl1pPr>
            <a:lvl2pPr>
              <a:defRPr sz="1800">
                <a:gradFill>
                  <a:gsLst>
                    <a:gs pos="2917">
                      <a:schemeClr val="tx1">
                        <a:lumMod val="75000"/>
                      </a:schemeClr>
                    </a:gs>
                    <a:gs pos="100000">
                      <a:schemeClr val="tx1">
                        <a:lumMod val="75000"/>
                        <a:alpha val="99000"/>
                      </a:schemeClr>
                    </a:gs>
                  </a:gsLst>
                  <a:lin ang="5400000" scaled="0"/>
                </a:gradFill>
              </a:defRPr>
            </a:lvl2pPr>
            <a:lvl3pPr marL="3174" indent="0">
              <a:buNone/>
              <a:defRPr sz="2000">
                <a:gradFill>
                  <a:gsLst>
                    <a:gs pos="2917">
                      <a:schemeClr val="bg1"/>
                    </a:gs>
                    <a:gs pos="100000">
                      <a:schemeClr val="bg1">
                        <a:alpha val="99000"/>
                      </a:schemeClr>
                    </a:gs>
                  </a:gsLst>
                  <a:lin ang="5400000" scaled="0"/>
                </a:gradFill>
              </a:defRPr>
            </a:lvl3pPr>
            <a:lvl4pPr>
              <a:defRPr sz="2000">
                <a:gradFill>
                  <a:gsLst>
                    <a:gs pos="2917">
                      <a:schemeClr val="bg1"/>
                    </a:gs>
                    <a:gs pos="100000">
                      <a:schemeClr val="bg1">
                        <a:alpha val="99000"/>
                      </a:schemeClr>
                    </a:gs>
                  </a:gsLst>
                  <a:lin ang="5400000" scaled="0"/>
                </a:gradFill>
              </a:defRPr>
            </a:lvl4pPr>
            <a:lvl5pPr>
              <a:defRPr sz="2000">
                <a:gradFill>
                  <a:gsLst>
                    <a:gs pos="2917">
                      <a:schemeClr val="bg1"/>
                    </a:gs>
                    <a:gs pos="100000">
                      <a:schemeClr val="bg1">
                        <a:alpha val="99000"/>
                      </a:schemeClr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 dirty="0"/>
              <a:t>Click to add byline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6818" y="6112842"/>
            <a:ext cx="1727701" cy="7743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4652406"/>
      </p:ext>
    </p:extLst>
  </p:cSld>
  <p:clrMapOvr>
    <a:masterClrMapping/>
  </p:clrMapOvr>
  <p:transition>
    <p:fade/>
  </p:transition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losing logo slid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blackWhite">
          <a:xfrm>
            <a:off x="274639" y="6220609"/>
            <a:ext cx="4572000" cy="477054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28" tIns="182828" rIns="182828" bIns="182828" numCol="1" anchor="t" anchorCtr="0" compatLnSpc="1">
            <a:prstTxWarp prst="textNoShape">
              <a:avLst/>
            </a:prstTxWarp>
            <a:spAutoFit/>
          </a:bodyPr>
          <a:lstStyle/>
          <a:p>
            <a:pPr defTabSz="931932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Copyright Microsoft Corporation. All rights reserved. </a:t>
            </a:r>
          </a:p>
        </p:txBody>
      </p:sp>
      <p:pic>
        <p:nvPicPr>
          <p:cNvPr id="8" name="MS logo white - EMF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60690" y="479425"/>
            <a:ext cx="1451843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74067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54560" y="1696418"/>
            <a:ext cx="9327356" cy="1883421"/>
          </a:xfrm>
        </p:spPr>
        <p:txBody>
          <a:bodyPr anchor="b"/>
          <a:lstStyle>
            <a:lvl1pPr algn="ctr">
              <a:defRPr sz="6117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54560" y="3673745"/>
            <a:ext cx="9327356" cy="376684"/>
          </a:xfrm>
        </p:spPr>
        <p:txBody>
          <a:bodyPr/>
          <a:lstStyle>
            <a:lvl1pPr marL="0" indent="0" algn="ctr">
              <a:buNone/>
              <a:defRPr sz="2448"/>
            </a:lvl1pPr>
            <a:lvl2pPr marL="466209" indent="0" algn="ctr">
              <a:buNone/>
              <a:defRPr sz="2040"/>
            </a:lvl2pPr>
            <a:lvl3pPr marL="932418" indent="0" algn="ctr">
              <a:buNone/>
              <a:defRPr sz="1836"/>
            </a:lvl3pPr>
            <a:lvl4pPr marL="1398627" indent="0" algn="ctr">
              <a:buNone/>
              <a:defRPr sz="1632"/>
            </a:lvl4pPr>
            <a:lvl5pPr marL="1864835" indent="0" algn="ctr">
              <a:buNone/>
              <a:defRPr sz="1632"/>
            </a:lvl5pPr>
            <a:lvl6pPr marL="2331044" indent="0" algn="ctr">
              <a:buNone/>
              <a:defRPr sz="1632"/>
            </a:lvl6pPr>
            <a:lvl7pPr marL="2797253" indent="0" algn="ctr">
              <a:buNone/>
              <a:defRPr sz="1632"/>
            </a:lvl7pPr>
            <a:lvl8pPr marL="3263461" indent="0" algn="ctr">
              <a:buNone/>
              <a:defRPr sz="1632"/>
            </a:lvl8pPr>
            <a:lvl9pPr marL="3729669" indent="0" algn="ctr">
              <a:buNone/>
              <a:defRPr sz="1632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C0C8DC-4DB2-468F-B761-FC2A0270E8AB}" type="datetimeFigureOut">
              <a:rPr lang="en-US" smtClean="0"/>
              <a:t>5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3DE34F-861C-4A6A-B142-FB24401158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0696319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5450715" y="1"/>
            <a:ext cx="6953415" cy="439465"/>
          </a:xfrm>
          <a:prstGeom prst="rect">
            <a:avLst/>
          </a:prstGeom>
        </p:spPr>
        <p:txBody>
          <a:bodyPr/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7486923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855414" y="2579578"/>
            <a:ext cx="1837134" cy="439465"/>
          </a:xfrm>
          <a:prstGeom prst="rect">
            <a:avLst/>
          </a:prstGeom>
        </p:spPr>
        <p:txBody>
          <a:bodyPr/>
          <a:lstStyle/>
          <a:p>
            <a:endParaRPr lang="id-ID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855414" y="4635940"/>
            <a:ext cx="1837134" cy="439465"/>
          </a:xfrm>
          <a:prstGeom prst="rect">
            <a:avLst/>
          </a:prstGeom>
        </p:spPr>
        <p:txBody>
          <a:bodyPr/>
          <a:lstStyle/>
          <a:p>
            <a:endParaRPr lang="id-ID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6805854" y="2579578"/>
            <a:ext cx="1837134" cy="439465"/>
          </a:xfrm>
          <a:prstGeom prst="rect">
            <a:avLst/>
          </a:prstGeom>
        </p:spPr>
        <p:txBody>
          <a:bodyPr/>
          <a:lstStyle/>
          <a:p>
            <a:endParaRPr lang="id-ID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805854" y="4635940"/>
            <a:ext cx="1837134" cy="439465"/>
          </a:xfrm>
          <a:prstGeom prst="rect">
            <a:avLst/>
          </a:prstGeom>
        </p:spPr>
        <p:txBody>
          <a:bodyPr/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7165946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12" grpId="0"/>
      <p:bldP spid="13" grpId="0"/>
      <p:bldP spid="14" grpId="0"/>
    </p:bldLst>
  </p:timing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10756156" y="6495385"/>
            <a:ext cx="1175088" cy="251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332035"/>
      </p:ext>
    </p:extLst>
  </p:cSld>
  <p:clrMapOvr>
    <a:masterClrMapping/>
  </p:clrMapOvr>
  <p:transition>
    <p:fade/>
  </p:transition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el &amp;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62960895"/>
      </p:ext>
    </p:extLst>
  </p:cSld>
  <p:clrMapOvr>
    <a:masterClrMapping/>
  </p:clrMapOvr>
  <p:transition spd="med"/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3956045"/>
            <a:ext cx="12436475" cy="43947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66264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D9DD6903-31DD-5348-931E-827644FF87F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89834" y="-174862"/>
            <a:ext cx="12816145" cy="503421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72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5503299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586FD3E8-B896-EF42-8DE9-55BE89A8951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89834" y="-174863"/>
            <a:ext cx="12816145" cy="43538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072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0810527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dark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674441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904">
          <p15:clr>
            <a:srgbClr val="5ACBF0"/>
          </p15:clr>
        </p15:guide>
        <p15:guide id="2" orient="horz" pos="1272">
          <p15:clr>
            <a:srgbClr val="5ACBF0"/>
          </p15:clr>
        </p15:guide>
        <p15:guide id="3" orient="horz" pos="288">
          <p15:clr>
            <a:srgbClr val="5ACBF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 lIns="0" rIns="0"/>
          <a:lstStyle/>
          <a:p>
            <a:fld id="{663784D1-9C9B-4DBA-8D0C-1E6EAD2F84DB}" type="datetime1">
              <a:rPr lang="en-US" smtClean="0"/>
              <a:t>5/7/2021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 lIns="0" rIns="0"/>
          <a:lstStyle/>
          <a:p>
            <a:r>
              <a:rPr lang="en-US"/>
              <a:t>microsoft.com/education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 lIns="0" rIns="0"/>
          <a:lstStyle/>
          <a:p>
            <a:fld id="{9373C030-8119-439B-A7A2-330B51F4C00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>
          <a:xfrm>
            <a:off x="388938" y="1592263"/>
            <a:ext cx="11658600" cy="5029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57217557"/>
      </p:ext>
    </p:extLst>
  </p:cSld>
  <p:clrMapOvr>
    <a:masterClrMapping/>
  </p:clrMapOvr>
  <p:transition>
    <p:fade/>
  </p:transition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 8">
    <p:bg>
      <p:bgPr>
        <a:solidFill>
          <a:srgbClr val="26262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 userDrawn="1"/>
        </p:nvGrpSpPr>
        <p:grpSpPr>
          <a:xfrm>
            <a:off x="3" y="1692079"/>
            <a:ext cx="12436474" cy="3610368"/>
            <a:chOff x="1" y="1659051"/>
            <a:chExt cx="12191999" cy="3539898"/>
          </a:xfrm>
        </p:grpSpPr>
        <p:pic>
          <p:nvPicPr>
            <p:cNvPr id="7" name="Picture 6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" y="1659386"/>
              <a:ext cx="12190677" cy="3539228"/>
            </a:xfrm>
            <a:prstGeom prst="rect">
              <a:avLst/>
            </a:prstGeom>
          </p:spPr>
        </p:pic>
        <p:grpSp>
          <p:nvGrpSpPr>
            <p:cNvPr id="2" name="Group 1"/>
            <p:cNvGrpSpPr/>
            <p:nvPr userDrawn="1"/>
          </p:nvGrpSpPr>
          <p:grpSpPr>
            <a:xfrm>
              <a:off x="1" y="1659051"/>
              <a:ext cx="12191999" cy="3539898"/>
              <a:chOff x="1" y="1507715"/>
              <a:chExt cx="12191999" cy="3539898"/>
            </a:xfrm>
          </p:grpSpPr>
          <p:sp>
            <p:nvSpPr>
              <p:cNvPr id="29" name="Rectangle 28"/>
              <p:cNvSpPr/>
              <p:nvPr userDrawn="1"/>
            </p:nvSpPr>
            <p:spPr>
              <a:xfrm rot="16200000">
                <a:off x="5941982" y="-1202404"/>
                <a:ext cx="309359" cy="12190676"/>
              </a:xfrm>
              <a:prstGeom prst="rect">
                <a:avLst/>
              </a:prstGeom>
              <a:solidFill>
                <a:srgbClr val="3B3838">
                  <a:alpha val="8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32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0" name="Rectangle 29"/>
              <p:cNvSpPr/>
              <p:nvPr userDrawn="1"/>
            </p:nvSpPr>
            <p:spPr>
              <a:xfrm>
                <a:off x="661" y="1817075"/>
                <a:ext cx="12191339" cy="2921177"/>
              </a:xfrm>
              <a:prstGeom prst="rect">
                <a:avLst/>
              </a:prstGeom>
              <a:solidFill>
                <a:srgbClr val="000000">
                  <a:alpha val="16863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32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2" name="Rectangle 31"/>
              <p:cNvSpPr/>
              <p:nvPr userDrawn="1"/>
            </p:nvSpPr>
            <p:spPr>
              <a:xfrm rot="16200000">
                <a:off x="5940659" y="-4432943"/>
                <a:ext cx="309359" cy="12190676"/>
              </a:xfrm>
              <a:prstGeom prst="rect">
                <a:avLst/>
              </a:prstGeom>
              <a:solidFill>
                <a:srgbClr val="3B3838">
                  <a:alpha val="8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3241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36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64615405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77425960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3"/>
            <a:ext cx="12434704" cy="6994520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74638" y="2119164"/>
            <a:ext cx="6400800" cy="3664099"/>
          </a:xfrm>
          <a:prstGeom prst="rect">
            <a:avLst/>
          </a:prstGeom>
          <a:solidFill>
            <a:srgbClr val="002050">
              <a:alpha val="9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2" y="2119178"/>
            <a:ext cx="6402388" cy="1828800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6402388" cy="1828800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99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 bwMode="gray">
          <a:xfrm>
            <a:off x="457519" y="495482"/>
            <a:ext cx="1681413" cy="360979"/>
            <a:chOff x="457200" y="1643393"/>
            <a:chExt cx="4492753" cy="964540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 bwMode="gray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1" name="Freeform 12"/>
            <p:cNvSpPr>
              <a:spLocks noEditPoints="1"/>
            </p:cNvSpPr>
            <p:nvPr/>
          </p:nvSpPr>
          <p:spPr bwMode="gray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76767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773400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2" y="3955786"/>
            <a:ext cx="7315137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 bwMode="gray">
          <a:xfrm>
            <a:off x="457519" y="6154122"/>
            <a:ext cx="1681413" cy="360979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 bwMode="gray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gray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147266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39976735"/>
      </p:ext>
    </p:extLst>
  </p:cSld>
  <p:clrMapOvr>
    <a:masterClrMapping/>
  </p:clrMapOvr>
  <p:transition>
    <p:fade/>
  </p:transition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>
            <a:spAutoFit/>
          </a:bodyPr>
          <a:lstStyle>
            <a:lvl1pPr>
              <a:defRPr sz="3599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10075881"/>
      </p:ext>
    </p:extLst>
  </p:cSld>
  <p:clrMapOvr>
    <a:masterClrMapping/>
  </p:clrMapOvr>
  <p:transition>
    <p:fade/>
  </p:transition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91175622"/>
      </p:ext>
    </p:extLst>
  </p:cSld>
  <p:clrMapOvr>
    <a:masterClrMapping/>
  </p:clrMapOvr>
  <p:transition>
    <p:fade/>
  </p:transition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2403354"/>
      </p:ext>
    </p:extLst>
  </p:cSld>
  <p:clrMapOvr>
    <a:masterClrMapping/>
  </p:clrMapOvr>
  <p:transition>
    <p:fade/>
  </p:transition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44768465"/>
      </p:ext>
    </p:extLst>
  </p:cSld>
  <p:clrMapOvr>
    <a:masterClrMapping/>
  </p:clrMapOvr>
  <p:transition>
    <p:fade/>
  </p:transition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4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9" y="3954463"/>
            <a:ext cx="10058401" cy="7940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59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756886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 lIns="0" rIns="0"/>
          <a:lstStyle/>
          <a:p>
            <a:fld id="{663784D1-9C9B-4DBA-8D0C-1E6EAD2F84DB}" type="datetime1">
              <a:rPr lang="en-US" smtClean="0"/>
              <a:t>5/7/2021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 lIns="0" rIns="0"/>
          <a:lstStyle/>
          <a:p>
            <a:r>
              <a:rPr lang="en-US"/>
              <a:t>microsoft.com/education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 lIns="0" rIns="0"/>
          <a:lstStyle/>
          <a:p>
            <a:fld id="{9373C030-8119-439B-A7A2-330B51F4C00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>
          <a:xfrm>
            <a:off x="388938" y="1592263"/>
            <a:ext cx="11658600" cy="50292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88939" y="855664"/>
            <a:ext cx="3067763" cy="461665"/>
          </a:xfrm>
        </p:spPr>
        <p:txBody>
          <a:bodyPr wrap="none">
            <a:spAutoFit/>
          </a:bodyPr>
          <a:lstStyle>
            <a:lvl1pPr>
              <a:defRPr sz="2400">
                <a:gradFill>
                  <a:gsLst>
                    <a:gs pos="2917">
                      <a:schemeClr val="tx1">
                        <a:lumMod val="75000"/>
                      </a:schemeClr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4621645"/>
      </p:ext>
    </p:extLst>
  </p:cSld>
  <p:clrMapOvr>
    <a:masterClrMapping/>
  </p:clrMapOvr>
  <p:transition>
    <p:fade/>
  </p:transition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4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198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699496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633988976"/>
      </p:ext>
    </p:extLst>
  </p:cSld>
  <p:clrMapOvr>
    <a:masterClrMapping/>
  </p:clrMapOvr>
  <p:transition>
    <p:fade/>
  </p:transition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722214749"/>
      </p:ext>
    </p:extLst>
  </p:cSld>
  <p:clrMapOvr>
    <a:masterClrMapping/>
  </p:clrMapOvr>
  <p:transition>
    <p:fade/>
  </p:transition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282621496"/>
      </p:ext>
    </p:extLst>
  </p:cSld>
  <p:clrMapOvr>
    <a:masterClrMapping/>
  </p:clrMapOvr>
  <p:transition>
    <p:fade/>
  </p:transition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145537362"/>
      </p:ext>
    </p:extLst>
  </p:cSld>
  <p:clrMapOvr>
    <a:masterClrMapping/>
  </p:clrMapOvr>
  <p:transition>
    <p:fade/>
  </p:transition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40" y="1241426"/>
            <a:ext cx="5486399" cy="2012859"/>
          </a:xfrm>
        </p:spPr>
        <p:txBody>
          <a:bodyPr>
            <a:spAutoFit/>
          </a:bodyPr>
          <a:lstStyle>
            <a:lvl1pPr>
              <a:defRPr sz="659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9825" y="0"/>
            <a:ext cx="6216650" cy="6992587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99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855227991"/>
      </p:ext>
    </p:extLst>
  </p:cSld>
  <p:clrMapOvr>
    <a:masterClrMapping/>
  </p:clrMapOvr>
  <p:transition>
    <p:fade/>
  </p:transition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4868031"/>
      </p:ext>
    </p:extLst>
  </p:cSld>
  <p:clrMapOvr>
    <a:masterClrMapping/>
  </p:clrMapOvr>
  <p:transition>
    <p:fade/>
  </p:transition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40216469"/>
      </p:ext>
    </p:extLst>
  </p:cSld>
  <p:clrMapOvr>
    <a:masterClrMapping/>
  </p:clrMapOvr>
  <p:transition>
    <p:fade/>
  </p:transition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04518742"/>
      </p:ext>
    </p:extLst>
  </p:cSld>
  <p:clrMapOvr>
    <a:masterClrMapping/>
  </p:clrMapOvr>
  <p:transition>
    <p:fade/>
  </p:transition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93978782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50/50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 lIns="0" rIns="0"/>
          <a:lstStyle/>
          <a:p>
            <a:fld id="{663784D1-9C9B-4DBA-8D0C-1E6EAD2F84DB}" type="datetime1">
              <a:rPr lang="en-US" smtClean="0"/>
              <a:t>5/7/2021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 lIns="0" rIns="0"/>
          <a:lstStyle/>
          <a:p>
            <a:r>
              <a:rPr lang="en-US"/>
              <a:t>microsoft.com/education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 lIns="0" rIns="0"/>
          <a:lstStyle/>
          <a:p>
            <a:fld id="{9373C030-8119-439B-A7A2-330B51F4C00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>
          <a:xfrm>
            <a:off x="388939" y="1592263"/>
            <a:ext cx="5688477" cy="50292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88939" y="855664"/>
            <a:ext cx="3067763" cy="461665"/>
          </a:xfrm>
        </p:spPr>
        <p:txBody>
          <a:bodyPr wrap="none">
            <a:spAutoFit/>
          </a:bodyPr>
          <a:lstStyle>
            <a:lvl1pPr>
              <a:defRPr sz="2400">
                <a:gradFill>
                  <a:gsLst>
                    <a:gs pos="2917">
                      <a:schemeClr val="tx1">
                        <a:lumMod val="75000"/>
                      </a:schemeClr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Content Placeholder 11"/>
          <p:cNvSpPr>
            <a:spLocks noGrp="1"/>
          </p:cNvSpPr>
          <p:nvPr>
            <p:ph sz="quarter" idx="15"/>
          </p:nvPr>
        </p:nvSpPr>
        <p:spPr>
          <a:xfrm>
            <a:off x="6356049" y="1592263"/>
            <a:ext cx="5688477" cy="50292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68460414"/>
      </p:ext>
    </p:extLst>
  </p:cSld>
  <p:clrMapOvr>
    <a:masterClrMapping/>
  </p:clrMapOvr>
  <p:transition>
    <p:fade/>
  </p:transition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2" tIns="46632" rIns="46632" bIns="46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en-US" sz="18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8"/>
            <a:ext cx="11887199" cy="1995931"/>
          </a:xfrm>
        </p:spPr>
        <p:txBody>
          <a:bodyPr/>
          <a:lstStyle>
            <a:lvl1pPr marL="0" indent="0">
              <a:buNone/>
              <a:defRPr sz="3299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8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40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795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81267588"/>
      </p:ext>
    </p:extLst>
  </p:cSld>
  <p:clrMapOvr>
    <a:masterClrMapping/>
  </p:clrMapOvr>
  <p:transition>
    <p:fade/>
  </p:transition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7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46283" rIns="182854" bIns="146283" numCol="1" anchor="t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</a:t>
            </a:r>
            <a:r>
              <a:rPr lang="en-US" sz="7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 </a:t>
            </a:r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Microsoft Corporation. All rights reserved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0" y="3145041"/>
            <a:ext cx="3288506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0640339"/>
      </p:ext>
    </p:extLst>
  </p:cSld>
  <p:clrMapOvr>
    <a:masterClrMapping/>
  </p:clrMapOvr>
  <p:transition>
    <p:fade/>
  </p:transition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02918923"/>
      </p:ext>
    </p:extLst>
  </p:cSld>
  <p:clrMapOvr>
    <a:masterClrMapping/>
  </p:clrMapOvr>
  <p:transition>
    <p:fade/>
  </p:transition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74639" y="295276"/>
            <a:ext cx="11889564" cy="9175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18324191"/>
      </p:ext>
    </p:extLst>
  </p:cSld>
  <p:clrMapOvr>
    <a:masterClrMapping/>
  </p:clrMapOvr>
  <p:transition>
    <p:fade/>
  </p:transition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639" y="300239"/>
            <a:ext cx="11889564" cy="917575"/>
          </a:xfrm>
        </p:spPr>
        <p:txBody>
          <a:bodyPr/>
          <a:lstStyle>
            <a:lvl1pPr marL="0" algn="l" defTabSz="913877" rtl="0" eaLnBrk="1" latinLnBrk="0" hangingPunct="1">
              <a:spcBef>
                <a:spcPct val="0"/>
              </a:spcBef>
              <a:buNone/>
              <a:defRPr lang="en-US" sz="4398" b="0" i="0" u="none" kern="1200" spc="-150" baseline="0" dirty="0">
                <a:solidFill>
                  <a:schemeClr val="bg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08070408"/>
      </p:ext>
    </p:extLst>
  </p:cSld>
  <p:clrMapOvr>
    <a:masterClrMapping/>
  </p:clrMapOvr>
  <p:transition>
    <p:fade/>
  </p:transition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A0198FC-394D-41E8-9690-FAD7C2C221C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638" y="1333732"/>
            <a:ext cx="5486400" cy="517064"/>
          </a:xfrm>
        </p:spPr>
        <p:txBody>
          <a:bodyPr anchor="ctr"/>
          <a:lstStyle>
            <a:lvl1pPr marL="0" indent="0">
              <a:buNone/>
              <a:defRPr sz="240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4A73FE5-263F-4152-92D4-9F94B78A5486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74639" y="1973261"/>
            <a:ext cx="5486400" cy="1062302"/>
          </a:xfrm>
        </p:spPr>
        <p:txBody>
          <a:bodyPr/>
          <a:lstStyle>
            <a:lvl1pPr>
              <a:defRPr sz="2400"/>
            </a:lvl1pPr>
            <a:lvl2pPr>
              <a:defRPr sz="1800"/>
            </a:lvl2pPr>
            <a:lvl3pPr>
              <a:defRPr sz="1399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884FDE31-0EB7-459F-8E06-A55288BB7DC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77802" y="1333732"/>
            <a:ext cx="5486400" cy="517064"/>
          </a:xfrm>
        </p:spPr>
        <p:txBody>
          <a:bodyPr anchor="ctr"/>
          <a:lstStyle>
            <a:lvl1pPr marL="0" indent="0">
              <a:buNone/>
              <a:defRPr sz="240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287D48BD-52D2-4F3E-9F1E-2E6875DC53D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677803" y="1973261"/>
            <a:ext cx="5486400" cy="1062302"/>
          </a:xfrm>
        </p:spPr>
        <p:txBody>
          <a:bodyPr/>
          <a:lstStyle>
            <a:lvl1pPr>
              <a:defRPr sz="2400"/>
            </a:lvl1pPr>
            <a:lvl2pPr>
              <a:defRPr sz="1800"/>
            </a:lvl2pPr>
            <a:lvl3pPr>
              <a:defRPr sz="1399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202990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1658197" y="310869"/>
            <a:ext cx="10571004" cy="209288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Rectangle 103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Rectangle 103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#MicrosoftEDU</a:t>
            </a:r>
          </a:p>
        </p:txBody>
      </p:sp>
      <p:sp>
        <p:nvSpPr>
          <p:cNvPr id="5" name="Rectangle 103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D48E5E4-5BB8-4C98-8EF1-BF3C432A2F5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4292832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1824" y="1632058"/>
            <a:ext cx="5492776" cy="1961371"/>
          </a:xfrm>
        </p:spPr>
        <p:txBody>
          <a:bodyPr/>
          <a:lstStyle>
            <a:lvl1pPr>
              <a:defRPr sz="2856"/>
            </a:lvl1pPr>
            <a:lvl2pPr>
              <a:defRPr sz="2448"/>
            </a:lvl2pPr>
            <a:lvl3pPr>
              <a:defRPr sz="2040"/>
            </a:lvl3pPr>
            <a:lvl4pPr>
              <a:defRPr sz="1836"/>
            </a:lvl4pPr>
            <a:lvl5pPr>
              <a:defRPr sz="1836"/>
            </a:lvl5pPr>
            <a:lvl6pPr>
              <a:defRPr sz="1836"/>
            </a:lvl6pPr>
            <a:lvl7pPr>
              <a:defRPr sz="1836"/>
            </a:lvl7pPr>
            <a:lvl8pPr>
              <a:defRPr sz="1836"/>
            </a:lvl8pPr>
            <a:lvl9pPr>
              <a:defRPr sz="183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1875" y="1632058"/>
            <a:ext cx="5492776" cy="1961371"/>
          </a:xfrm>
        </p:spPr>
        <p:txBody>
          <a:bodyPr/>
          <a:lstStyle>
            <a:lvl1pPr>
              <a:defRPr sz="2856"/>
            </a:lvl1pPr>
            <a:lvl2pPr>
              <a:defRPr sz="2448"/>
            </a:lvl2pPr>
            <a:lvl3pPr>
              <a:defRPr sz="2040"/>
            </a:lvl3pPr>
            <a:lvl4pPr>
              <a:defRPr sz="1836"/>
            </a:lvl4pPr>
            <a:lvl5pPr>
              <a:defRPr sz="1836"/>
            </a:lvl5pPr>
            <a:lvl6pPr>
              <a:defRPr sz="1836"/>
            </a:lvl6pPr>
            <a:lvl7pPr>
              <a:defRPr sz="1836"/>
            </a:lvl7pPr>
            <a:lvl8pPr>
              <a:defRPr sz="1836"/>
            </a:lvl8pPr>
            <a:lvl9pPr>
              <a:defRPr sz="183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#MicrosoftEDU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2462F0-19B4-4B2F-A163-7E6F435EAA5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6625983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6627" y="372395"/>
            <a:ext cx="10726460" cy="135195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6629" y="2031213"/>
            <a:ext cx="5261211" cy="523733"/>
          </a:xfrm>
        </p:spPr>
        <p:txBody>
          <a:bodyPr anchor="b"/>
          <a:lstStyle>
            <a:lvl1pPr marL="0" indent="0">
              <a:buNone/>
              <a:defRPr sz="2448" b="1"/>
            </a:lvl1pPr>
            <a:lvl2pPr marL="466209" indent="0">
              <a:buNone/>
              <a:defRPr sz="2040" b="1"/>
            </a:lvl2pPr>
            <a:lvl3pPr marL="932418" indent="0">
              <a:buNone/>
              <a:defRPr sz="1836" b="1"/>
            </a:lvl3pPr>
            <a:lvl4pPr marL="1398627" indent="0">
              <a:buNone/>
              <a:defRPr sz="1632" b="1"/>
            </a:lvl4pPr>
            <a:lvl5pPr marL="1864835" indent="0">
              <a:buNone/>
              <a:defRPr sz="1632" b="1"/>
            </a:lvl5pPr>
            <a:lvl6pPr marL="2331044" indent="0">
              <a:buNone/>
              <a:defRPr sz="1632" b="1"/>
            </a:lvl6pPr>
            <a:lvl7pPr marL="2797253" indent="0">
              <a:buNone/>
              <a:defRPr sz="1632" b="1"/>
            </a:lvl7pPr>
            <a:lvl8pPr marL="3263461" indent="0">
              <a:buNone/>
              <a:defRPr sz="1632" b="1"/>
            </a:lvl8pPr>
            <a:lvl9pPr marL="3729669" indent="0">
              <a:buNone/>
              <a:defRPr sz="1632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56629" y="2554944"/>
            <a:ext cx="5261211" cy="209288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95965" y="2031213"/>
            <a:ext cx="5287122" cy="523733"/>
          </a:xfrm>
        </p:spPr>
        <p:txBody>
          <a:bodyPr anchor="b"/>
          <a:lstStyle>
            <a:lvl1pPr marL="0" indent="0">
              <a:buNone/>
              <a:defRPr sz="2448" b="1"/>
            </a:lvl1pPr>
            <a:lvl2pPr marL="466209" indent="0">
              <a:buNone/>
              <a:defRPr sz="2040" b="1"/>
            </a:lvl2pPr>
            <a:lvl3pPr marL="932418" indent="0">
              <a:buNone/>
              <a:defRPr sz="1836" b="1"/>
            </a:lvl3pPr>
            <a:lvl4pPr marL="1398627" indent="0">
              <a:buNone/>
              <a:defRPr sz="1632" b="1"/>
            </a:lvl4pPr>
            <a:lvl5pPr marL="1864835" indent="0">
              <a:buNone/>
              <a:defRPr sz="1632" b="1"/>
            </a:lvl5pPr>
            <a:lvl6pPr marL="2331044" indent="0">
              <a:buNone/>
              <a:defRPr sz="1632" b="1"/>
            </a:lvl6pPr>
            <a:lvl7pPr marL="2797253" indent="0">
              <a:buNone/>
              <a:defRPr sz="1632" b="1"/>
            </a:lvl7pPr>
            <a:lvl8pPr marL="3263461" indent="0">
              <a:buNone/>
              <a:defRPr sz="1632" b="1"/>
            </a:lvl8pPr>
            <a:lvl9pPr marL="3729669" indent="0">
              <a:buNone/>
              <a:defRPr sz="1632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95965" y="2554944"/>
            <a:ext cx="5287122" cy="209288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#MicrosoftED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867C20-0979-4380-80DF-20E6792E3B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5533065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2-Content w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31282" y="1476622"/>
            <a:ext cx="5504573" cy="4391007"/>
          </a:xfrm>
        </p:spPr>
        <p:txBody>
          <a:bodyPr>
            <a:noAutofit/>
          </a:bodyPr>
          <a:lstStyle>
            <a:lvl1pPr marL="297856" indent="-297856">
              <a:spcBef>
                <a:spcPts val="1224"/>
              </a:spcBef>
              <a:buClr>
                <a:schemeClr val="bg2"/>
              </a:buClr>
              <a:buSzPct val="100000"/>
              <a:buFont typeface="Wingdings" pitchFamily="2" charset="2"/>
              <a:buChar char=""/>
              <a:defRPr lang="en-US" sz="3672" kern="1200" spc="-71" baseline="0" dirty="0" smtClean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30960" indent="-233104">
              <a:defRPr sz="2040"/>
            </a:lvl2pPr>
            <a:lvl3pPr marL="699313" indent="-168353">
              <a:tabLst/>
              <a:defRPr sz="2040"/>
            </a:lvl3pPr>
            <a:lvl4pPr marL="880617" indent="-181304">
              <a:defRPr/>
            </a:lvl4pPr>
            <a:lvl5pPr marL="1048969" indent="-168353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6405483" y="1476622"/>
            <a:ext cx="5504573" cy="4391007"/>
          </a:xfrm>
        </p:spPr>
        <p:txBody>
          <a:bodyPr>
            <a:noAutofit/>
          </a:bodyPr>
          <a:lstStyle>
            <a:lvl1pPr marL="346419" indent="-346419">
              <a:spcBef>
                <a:spcPts val="1224"/>
              </a:spcBef>
              <a:buClr>
                <a:schemeClr val="bg2"/>
              </a:buClr>
              <a:buFont typeface="Arial" pitchFamily="34" charset="0"/>
              <a:buChar char="•"/>
              <a:defRPr lang="en-US" sz="3672" kern="1200" spc="-71" baseline="0" dirty="0" smtClean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647513" indent="-349656">
              <a:defRPr lang="en-US" sz="2040" kern="1200" spc="0" baseline="0" dirty="0" smtClean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47513" indent="-349656">
              <a:defRPr lang="en-US" sz="2040" kern="1200" spc="0" baseline="0" dirty="0" smtClean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48969" indent="-349656">
              <a:defRPr lang="en-US" sz="2040" kern="1200" spc="0" baseline="0" dirty="0" smtClean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30273" indent="-349656">
              <a:defRPr lang="en-US" sz="2040" kern="1200" spc="0" baseline="0" dirty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1048969" indent="-349656">
              <a:defRPr/>
            </a:lvl6pPr>
          </a:lstStyle>
          <a:p>
            <a:pPr marL="297856" marR="0" lvl="0" indent="-297856" algn="l" defTabSz="932380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97856" marR="0" lvl="1" indent="-297856" algn="l" defTabSz="932380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97856" marR="0" lvl="2" indent="-297856" algn="l" defTabSz="932380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97856" marR="0" lvl="3" indent="-297856" algn="l" defTabSz="932380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97856" marR="0" lvl="4" indent="-297856" algn="l" defTabSz="932380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92048659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llars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 lIns="0" rIns="0"/>
          <a:lstStyle/>
          <a:p>
            <a:fld id="{663784D1-9C9B-4DBA-8D0C-1E6EAD2F84DB}" type="datetime1">
              <a:rPr lang="en-US" smtClean="0"/>
              <a:t>5/7/2021</a:t>
            </a:fld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 lIns="0" rIns="0"/>
          <a:lstStyle/>
          <a:p>
            <a:r>
              <a:rPr lang="en-US"/>
              <a:t>microsoft.com/education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 lIns="0" rIns="0"/>
          <a:lstStyle/>
          <a:p>
            <a:fld id="{9373C030-8119-439B-A7A2-330B51F4C00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388938" y="2908301"/>
            <a:ext cx="2743200" cy="3713164"/>
          </a:xfrm>
        </p:spPr>
        <p:txBody>
          <a:bodyPr/>
          <a:lstStyle>
            <a:lvl1pPr>
              <a:defRPr sz="1599"/>
            </a:lvl1pPr>
            <a:lvl2pPr>
              <a:defRPr sz="1399"/>
            </a:lvl2pPr>
            <a:lvl3pPr>
              <a:defRPr sz="1399"/>
            </a:lvl3pPr>
            <a:lvl4pPr>
              <a:defRPr sz="1399"/>
            </a:lvl4pPr>
            <a:lvl5pPr>
              <a:defRPr sz="1399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3360738" y="2908301"/>
            <a:ext cx="2743200" cy="3713164"/>
          </a:xfrm>
        </p:spPr>
        <p:txBody>
          <a:bodyPr/>
          <a:lstStyle>
            <a:lvl1pPr>
              <a:defRPr sz="1599"/>
            </a:lvl1pPr>
            <a:lvl2pPr>
              <a:defRPr sz="1399"/>
            </a:lvl2pPr>
            <a:lvl3pPr>
              <a:defRPr sz="1399"/>
            </a:lvl3pPr>
            <a:lvl4pPr>
              <a:defRPr sz="1399"/>
            </a:lvl4pPr>
            <a:lvl5pPr>
              <a:defRPr sz="1399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6332538" y="2908301"/>
            <a:ext cx="2743200" cy="3713164"/>
          </a:xfrm>
        </p:spPr>
        <p:txBody>
          <a:bodyPr/>
          <a:lstStyle>
            <a:lvl1pPr>
              <a:defRPr sz="1599"/>
            </a:lvl1pPr>
            <a:lvl2pPr>
              <a:defRPr sz="1399"/>
            </a:lvl2pPr>
            <a:lvl3pPr>
              <a:defRPr sz="1399"/>
            </a:lvl3pPr>
            <a:lvl4pPr>
              <a:defRPr sz="1399"/>
            </a:lvl4pPr>
            <a:lvl5pPr>
              <a:defRPr sz="1399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21"/>
          </p:nvPr>
        </p:nvSpPr>
        <p:spPr>
          <a:xfrm>
            <a:off x="9304338" y="2908301"/>
            <a:ext cx="2743200" cy="3713164"/>
          </a:xfrm>
        </p:spPr>
        <p:txBody>
          <a:bodyPr/>
          <a:lstStyle>
            <a:lvl1pPr>
              <a:defRPr sz="1599"/>
            </a:lvl1pPr>
            <a:lvl2pPr>
              <a:defRPr sz="1399"/>
            </a:lvl2pPr>
            <a:lvl3pPr>
              <a:defRPr sz="1399"/>
            </a:lvl3pPr>
            <a:lvl4pPr>
              <a:defRPr sz="1399"/>
            </a:lvl4pPr>
            <a:lvl5pPr>
              <a:defRPr sz="1399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Picture Placeholder 8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388938" y="1236829"/>
            <a:ext cx="2743200" cy="1541080"/>
          </a:xfrm>
          <a:noFill/>
        </p:spPr>
        <p:txBody>
          <a:bodyPr lIns="274320" tIns="0" rIns="274320" bIns="182880" anchor="b"/>
          <a:lstStyle>
            <a:lvl1pPr algn="ctr">
              <a:spcAft>
                <a:spcPts val="1800"/>
              </a:spcAft>
              <a:defRPr sz="1000" baseline="0"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Paste Image Here. To remove crop: Picture Tools &gt; Crop drop menu &gt; Fit</a:t>
            </a:r>
          </a:p>
        </p:txBody>
      </p:sp>
      <p:sp>
        <p:nvSpPr>
          <p:cNvPr id="26" name="Picture Placeholder 8"/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3360738" y="1236829"/>
            <a:ext cx="2743200" cy="1541080"/>
          </a:xfrm>
          <a:noFill/>
        </p:spPr>
        <p:txBody>
          <a:bodyPr lIns="274320" tIns="0" rIns="274320" bIns="182880" anchor="b"/>
          <a:lstStyle>
            <a:lvl1pPr algn="ctr">
              <a:spcAft>
                <a:spcPts val="1800"/>
              </a:spcAft>
              <a:defRPr sz="1000" baseline="0"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Paste Image Here. To remove crop: Picture Tools &gt; Crop drop menu &gt; Fit</a:t>
            </a:r>
          </a:p>
        </p:txBody>
      </p:sp>
      <p:sp>
        <p:nvSpPr>
          <p:cNvPr id="27" name="Picture Placeholder 8"/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6332538" y="1236829"/>
            <a:ext cx="2743200" cy="1541080"/>
          </a:xfrm>
          <a:noFill/>
        </p:spPr>
        <p:txBody>
          <a:bodyPr lIns="274320" tIns="0" rIns="274320" bIns="182880" anchor="b"/>
          <a:lstStyle>
            <a:lvl1pPr algn="ctr">
              <a:spcAft>
                <a:spcPts val="1800"/>
              </a:spcAft>
              <a:defRPr sz="1000" baseline="0"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Paste Image Here. To remove crop: Picture Tools &gt; Crop drop menu &gt; Fit</a:t>
            </a:r>
          </a:p>
        </p:txBody>
      </p:sp>
      <p:sp>
        <p:nvSpPr>
          <p:cNvPr id="28" name="Picture Placeholder 8"/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9304338" y="1236829"/>
            <a:ext cx="2743200" cy="1541080"/>
          </a:xfrm>
          <a:noFill/>
        </p:spPr>
        <p:txBody>
          <a:bodyPr lIns="274320" tIns="0" rIns="274320" bIns="182880" anchor="b"/>
          <a:lstStyle>
            <a:lvl1pPr algn="ctr">
              <a:spcAft>
                <a:spcPts val="1800"/>
              </a:spcAft>
              <a:defRPr sz="1000" baseline="0"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Paste Image Here. To remove crop: Picture Tools &gt; Crop drop menu &gt; Fit</a:t>
            </a:r>
          </a:p>
        </p:txBody>
      </p:sp>
    </p:spTree>
    <p:extLst>
      <p:ext uri="{BB962C8B-B14F-4D97-AF65-F5344CB8AC3E}">
        <p14:creationId xmlns:p14="http://schemas.microsoft.com/office/powerpoint/2010/main" val="4212439469"/>
      </p:ext>
    </p:extLst>
  </p:cSld>
  <p:clrMapOvr>
    <a:masterClrMapping/>
  </p:clrMapOvr>
  <p:transition>
    <p:fade/>
  </p:transition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1658197" y="310869"/>
            <a:ext cx="10571004" cy="209288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Rectangle 103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Rectangle 103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103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D48E5E4-5BB8-4C98-8EF1-BF3C432A2F5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81320409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1824" y="1632058"/>
            <a:ext cx="5492776" cy="1961371"/>
          </a:xfrm>
        </p:spPr>
        <p:txBody>
          <a:bodyPr/>
          <a:lstStyle>
            <a:lvl1pPr>
              <a:defRPr sz="2856"/>
            </a:lvl1pPr>
            <a:lvl2pPr>
              <a:defRPr sz="2448"/>
            </a:lvl2pPr>
            <a:lvl3pPr>
              <a:defRPr sz="2040"/>
            </a:lvl3pPr>
            <a:lvl4pPr>
              <a:defRPr sz="1836"/>
            </a:lvl4pPr>
            <a:lvl5pPr>
              <a:defRPr sz="1836"/>
            </a:lvl5pPr>
            <a:lvl6pPr>
              <a:defRPr sz="1836"/>
            </a:lvl6pPr>
            <a:lvl7pPr>
              <a:defRPr sz="1836"/>
            </a:lvl7pPr>
            <a:lvl8pPr>
              <a:defRPr sz="1836"/>
            </a:lvl8pPr>
            <a:lvl9pPr>
              <a:defRPr sz="183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1875" y="1632058"/>
            <a:ext cx="5492776" cy="1961371"/>
          </a:xfrm>
        </p:spPr>
        <p:txBody>
          <a:bodyPr/>
          <a:lstStyle>
            <a:lvl1pPr>
              <a:defRPr sz="2856"/>
            </a:lvl1pPr>
            <a:lvl2pPr>
              <a:defRPr sz="2448"/>
            </a:lvl2pPr>
            <a:lvl3pPr>
              <a:defRPr sz="2040"/>
            </a:lvl3pPr>
            <a:lvl4pPr>
              <a:defRPr sz="1836"/>
            </a:lvl4pPr>
            <a:lvl5pPr>
              <a:defRPr sz="1836"/>
            </a:lvl5pPr>
            <a:lvl6pPr>
              <a:defRPr sz="1836"/>
            </a:lvl6pPr>
            <a:lvl7pPr>
              <a:defRPr sz="1836"/>
            </a:lvl7pPr>
            <a:lvl8pPr>
              <a:defRPr sz="1836"/>
            </a:lvl8pPr>
            <a:lvl9pPr>
              <a:defRPr sz="183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0B4F2B-5E05-4E86-869D-11DFDC08817E}" type="datetimeFigureOut">
              <a:rPr lang="en-GB" smtClean="0"/>
              <a:t>07/05/2021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2462F0-19B4-4B2F-A163-7E6F435EAA5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1885579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6627" y="372395"/>
            <a:ext cx="10726460" cy="135195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6629" y="2031213"/>
            <a:ext cx="5261211" cy="523733"/>
          </a:xfrm>
        </p:spPr>
        <p:txBody>
          <a:bodyPr anchor="b"/>
          <a:lstStyle>
            <a:lvl1pPr marL="0" indent="0">
              <a:buNone/>
              <a:defRPr sz="2448" b="1"/>
            </a:lvl1pPr>
            <a:lvl2pPr marL="466209" indent="0">
              <a:buNone/>
              <a:defRPr sz="2040" b="1"/>
            </a:lvl2pPr>
            <a:lvl3pPr marL="932418" indent="0">
              <a:buNone/>
              <a:defRPr sz="1836" b="1"/>
            </a:lvl3pPr>
            <a:lvl4pPr marL="1398627" indent="0">
              <a:buNone/>
              <a:defRPr sz="1632" b="1"/>
            </a:lvl4pPr>
            <a:lvl5pPr marL="1864835" indent="0">
              <a:buNone/>
              <a:defRPr sz="1632" b="1"/>
            </a:lvl5pPr>
            <a:lvl6pPr marL="2331044" indent="0">
              <a:buNone/>
              <a:defRPr sz="1632" b="1"/>
            </a:lvl6pPr>
            <a:lvl7pPr marL="2797253" indent="0">
              <a:buNone/>
              <a:defRPr sz="1632" b="1"/>
            </a:lvl7pPr>
            <a:lvl8pPr marL="3263461" indent="0">
              <a:buNone/>
              <a:defRPr sz="1632" b="1"/>
            </a:lvl8pPr>
            <a:lvl9pPr marL="3729669" indent="0">
              <a:buNone/>
              <a:defRPr sz="1632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56629" y="2554944"/>
            <a:ext cx="5261211" cy="209288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95965" y="2031213"/>
            <a:ext cx="5287122" cy="523733"/>
          </a:xfrm>
        </p:spPr>
        <p:txBody>
          <a:bodyPr anchor="b"/>
          <a:lstStyle>
            <a:lvl1pPr marL="0" indent="0">
              <a:buNone/>
              <a:defRPr sz="2448" b="1"/>
            </a:lvl1pPr>
            <a:lvl2pPr marL="466209" indent="0">
              <a:buNone/>
              <a:defRPr sz="2040" b="1"/>
            </a:lvl2pPr>
            <a:lvl3pPr marL="932418" indent="0">
              <a:buNone/>
              <a:defRPr sz="1836" b="1"/>
            </a:lvl3pPr>
            <a:lvl4pPr marL="1398627" indent="0">
              <a:buNone/>
              <a:defRPr sz="1632" b="1"/>
            </a:lvl4pPr>
            <a:lvl5pPr marL="1864835" indent="0">
              <a:buNone/>
              <a:defRPr sz="1632" b="1"/>
            </a:lvl5pPr>
            <a:lvl6pPr marL="2331044" indent="0">
              <a:buNone/>
              <a:defRPr sz="1632" b="1"/>
            </a:lvl6pPr>
            <a:lvl7pPr marL="2797253" indent="0">
              <a:buNone/>
              <a:defRPr sz="1632" b="1"/>
            </a:lvl7pPr>
            <a:lvl8pPr marL="3263461" indent="0">
              <a:buNone/>
              <a:defRPr sz="1632" b="1"/>
            </a:lvl8pPr>
            <a:lvl9pPr marL="3729669" indent="0">
              <a:buNone/>
              <a:defRPr sz="1632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95965" y="2554944"/>
            <a:ext cx="5287122" cy="209288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AD2E59-1DA4-4EEC-A1A5-EE94391B98B9}" type="datetimeFigureOut">
              <a:rPr lang="en-US" smtClean="0"/>
              <a:t>5/7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867C20-0979-4380-80DF-20E6792E3B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6899572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Section Title Accent Colo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80571" y="1346590"/>
            <a:ext cx="12128721" cy="1859280"/>
          </a:xfrm>
          <a:noFill/>
        </p:spPr>
        <p:txBody>
          <a:bodyPr lIns="137160" tIns="137160" rIns="137160" bIns="137160" anchor="t" anchorCtr="0"/>
          <a:lstStyle>
            <a:lvl1pPr>
              <a:defRPr sz="8769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5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434775" y="2894799"/>
            <a:ext cx="6064361" cy="2642376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4181" indent="-194181">
              <a:lnSpc>
                <a:spcPct val="80000"/>
              </a:lnSpc>
              <a:buNone/>
              <a:defRPr lang="en-US" sz="204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10954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004464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FF9309-49F5-4DEC-A886-34A67C5770F2}" type="datetimeFigureOut">
              <a:rPr lang="en-US" smtClean="0"/>
              <a:t>5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B0F0FF-FD42-41BA-981D-56279315EC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2555136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Content,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29662" y="1476621"/>
            <a:ext cx="11375536" cy="213454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2448"/>
              </a:spcBef>
              <a:buNone/>
              <a:defRPr sz="4080">
                <a:solidFill>
                  <a:schemeClr val="tx2"/>
                </a:solidFill>
                <a:latin typeface="+mj-lt"/>
              </a:defRPr>
            </a:lvl1pPr>
            <a:lvl2pPr marL="0" indent="0">
              <a:buNone/>
              <a:defRPr sz="2040">
                <a:solidFill>
                  <a:schemeClr val="tx2"/>
                </a:solidFill>
              </a:defRPr>
            </a:lvl2pPr>
            <a:lvl3pPr marL="236341" indent="0">
              <a:buNone/>
              <a:defRPr sz="2040">
                <a:solidFill>
                  <a:schemeClr val="tx2"/>
                </a:solidFill>
              </a:defRPr>
            </a:lvl3pPr>
            <a:lvl4pPr marL="466209" indent="0">
              <a:buNone/>
              <a:defRPr sz="2040">
                <a:solidFill>
                  <a:schemeClr val="tx2"/>
                </a:solidFill>
              </a:defRPr>
            </a:lvl4pPr>
            <a:lvl5pPr marL="707407" indent="0">
              <a:buNone/>
              <a:defRPr sz="204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04128840"/>
      </p:ext>
    </p:extLst>
  </p:cSld>
  <p:clrMapOvr>
    <a:masterClrMapping/>
  </p:clrMapOvr>
  <p:transition>
    <p:fade/>
  </p:transition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029781-BDCD-457A-8E19-D9F2D08E45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54560" y="1144706"/>
            <a:ext cx="9327356" cy="2435131"/>
          </a:xfrm>
        </p:spPr>
        <p:txBody>
          <a:bodyPr anchor="b"/>
          <a:lstStyle>
            <a:lvl1pPr algn="ctr">
              <a:defRPr sz="6119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89F3946-D14B-456C-B461-FD2E6AB016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54560" y="3673745"/>
            <a:ext cx="9327356" cy="1688724"/>
          </a:xfrm>
        </p:spPr>
        <p:txBody>
          <a:bodyPr/>
          <a:lstStyle>
            <a:lvl1pPr marL="0" indent="0" algn="ctr">
              <a:buNone/>
              <a:defRPr sz="2448"/>
            </a:lvl1pPr>
            <a:lvl2pPr marL="466298" indent="0" algn="ctr">
              <a:buNone/>
              <a:defRPr sz="2040"/>
            </a:lvl2pPr>
            <a:lvl3pPr marL="932597" indent="0" algn="ctr">
              <a:buNone/>
              <a:defRPr sz="1836"/>
            </a:lvl3pPr>
            <a:lvl4pPr marL="1398895" indent="0" algn="ctr">
              <a:buNone/>
              <a:defRPr sz="1632"/>
            </a:lvl4pPr>
            <a:lvl5pPr marL="1865193" indent="0" algn="ctr">
              <a:buNone/>
              <a:defRPr sz="1632"/>
            </a:lvl5pPr>
            <a:lvl6pPr marL="2331491" indent="0" algn="ctr">
              <a:buNone/>
              <a:defRPr sz="1632"/>
            </a:lvl6pPr>
            <a:lvl7pPr marL="2797790" indent="0" algn="ctr">
              <a:buNone/>
              <a:defRPr sz="1632"/>
            </a:lvl7pPr>
            <a:lvl8pPr marL="3264088" indent="0" algn="ctr">
              <a:buNone/>
              <a:defRPr sz="1632"/>
            </a:lvl8pPr>
            <a:lvl9pPr marL="3730386" indent="0" algn="ctr">
              <a:buNone/>
              <a:defRPr sz="1632"/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BBAE2B-CF64-4517-93B5-41C87CBA02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64C94B-9F0D-4B4A-9E9A-843BD9221386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C40B15-B6B8-4232-AE93-F978B9A31A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AD70BE-ACCA-4F2F-B836-CDE28A3A3A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EAD611-E633-44C1-A41A-3A2FC4F4365F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20166388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63228C-1C5D-4401-B1B1-381ED4A51C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2AE0C2-2AA9-499F-B807-03AF0252211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B6367A-2359-4FEB-AF7A-12EBA3CC87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64C94B-9F0D-4B4A-9E9A-843BD9221386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A18A44-BDD8-4ADA-A6F1-5E9CA2A96C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3817E9-14CF-4D8F-B7CD-F10421243C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EAD611-E633-44C1-A41A-3A2FC4F4365F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321958590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3B42FD-BA3B-46CA-8002-19A76130DA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8530" y="1743775"/>
            <a:ext cx="10726460" cy="2909528"/>
          </a:xfrm>
        </p:spPr>
        <p:txBody>
          <a:bodyPr anchor="b"/>
          <a:lstStyle>
            <a:lvl1pPr>
              <a:defRPr sz="6119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467535-4011-43A7-88F9-4E34ABC1BF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8530" y="4680828"/>
            <a:ext cx="10726460" cy="1530052"/>
          </a:xfrm>
        </p:spPr>
        <p:txBody>
          <a:bodyPr/>
          <a:lstStyle>
            <a:lvl1pPr marL="0" indent="0">
              <a:buNone/>
              <a:defRPr sz="2448">
                <a:solidFill>
                  <a:schemeClr val="tx1">
                    <a:tint val="75000"/>
                  </a:schemeClr>
                </a:solidFill>
              </a:defRPr>
            </a:lvl1pPr>
            <a:lvl2pPr marL="466298" indent="0">
              <a:buNone/>
              <a:defRPr sz="2040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3A0305D-BE2E-4237-BD0C-9D3C305E4E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64C94B-9F0D-4B4A-9E9A-843BD9221386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115181-58CA-4B7D-9A19-278FD32062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8399A0-C582-45EC-AB2D-E8D985AB3B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EAD611-E633-44C1-A41A-3A2FC4F4365F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337235452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36AC93-5610-44DF-A1C8-D33DCA89FD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26D164-6121-43D3-B459-ECBA5DA1A0D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55008" y="1861968"/>
            <a:ext cx="5285502" cy="44379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7530CC8-7D56-463F-A90F-C11EEADDD2D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5965" y="1861968"/>
            <a:ext cx="5285502" cy="44379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CD740F-6A70-4021-A0B1-C3FB4DD808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64C94B-9F0D-4B4A-9E9A-843BD9221386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C40E78A-4C92-4FF5-8D53-FAB425DB33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2D1D9B-1352-442F-8109-46919CBA45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EAD611-E633-44C1-A41A-3A2FC4F4365F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8412784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ktop Screen Capture 16: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8938" y="1592263"/>
            <a:ext cx="7796057" cy="50292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DE2E20-C700-4A3A-A890-B84EE414F382}" type="datetime1">
              <a:rPr lang="en-US" smtClean="0"/>
              <a:t>5/7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microsoft.com/educatio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3C030-8119-439B-A7A2-330B51F4C00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11"/>
          <p:cNvSpPr>
            <a:spLocks noGrp="1"/>
          </p:cNvSpPr>
          <p:nvPr>
            <p:ph sz="quarter" idx="13"/>
          </p:nvPr>
        </p:nvSpPr>
        <p:spPr>
          <a:xfrm>
            <a:off x="8351839" y="1592263"/>
            <a:ext cx="3695699" cy="5029200"/>
          </a:xfrm>
        </p:spPr>
        <p:txBody>
          <a:bodyPr/>
          <a:lstStyle>
            <a:lvl1pPr>
              <a:spcBef>
                <a:spcPts val="1199"/>
              </a:spcBef>
              <a:defRPr sz="1599"/>
            </a:lvl1pPr>
            <a:lvl2pPr>
              <a:defRPr sz="1399"/>
            </a:lvl2pPr>
            <a:lvl3pPr>
              <a:defRPr sz="1399"/>
            </a:lvl3pPr>
            <a:lvl4pPr>
              <a:defRPr sz="1399"/>
            </a:lvl4pPr>
            <a:lvl5pPr>
              <a:defRPr sz="1399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Picture Placeholder 8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559543" y="1770229"/>
            <a:ext cx="6263304" cy="3518611"/>
          </a:xfrm>
          <a:solidFill>
            <a:srgbClr val="00172A"/>
          </a:solidFill>
        </p:spPr>
        <p:txBody>
          <a:bodyPr tIns="0" rIns="0" bIns="1097280" anchor="b"/>
          <a:lstStyle>
            <a:lvl1pPr algn="ctr">
              <a:defRPr sz="1800" baseline="0"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Paste full screen grab here (16:9 aspect ratio)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88939" y="855664"/>
            <a:ext cx="3067763" cy="461665"/>
          </a:xfrm>
        </p:spPr>
        <p:txBody>
          <a:bodyPr wrap="none">
            <a:spAutoFit/>
          </a:bodyPr>
          <a:lstStyle>
            <a:lvl1pPr>
              <a:defRPr sz="2400">
                <a:gradFill>
                  <a:gsLst>
                    <a:gs pos="2917">
                      <a:schemeClr val="tx1">
                        <a:lumMod val="75000"/>
                      </a:schemeClr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44598673"/>
      </p:ext>
    </p:extLst>
  </p:cSld>
  <p:clrMapOvr>
    <a:masterClrMapping/>
  </p:clrMapOvr>
  <p:transition>
    <p:fade/>
  </p:transition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026DDE-456E-4D66-9326-A0B23D2166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627" y="372394"/>
            <a:ext cx="10726460" cy="135195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18F5C4-9B7D-47B5-B589-79D1C39A12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56628" y="1714631"/>
            <a:ext cx="5261211" cy="840314"/>
          </a:xfrm>
        </p:spPr>
        <p:txBody>
          <a:bodyPr anchor="b"/>
          <a:lstStyle>
            <a:lvl1pPr marL="0" indent="0">
              <a:buNone/>
              <a:defRPr sz="2448" b="1"/>
            </a:lvl1pPr>
            <a:lvl2pPr marL="466298" indent="0">
              <a:buNone/>
              <a:defRPr sz="2040" b="1"/>
            </a:lvl2pPr>
            <a:lvl3pPr marL="932597" indent="0">
              <a:buNone/>
              <a:defRPr sz="1836" b="1"/>
            </a:lvl3pPr>
            <a:lvl4pPr marL="1398895" indent="0">
              <a:buNone/>
              <a:defRPr sz="1632" b="1"/>
            </a:lvl4pPr>
            <a:lvl5pPr marL="1865193" indent="0">
              <a:buNone/>
              <a:defRPr sz="1632" b="1"/>
            </a:lvl5pPr>
            <a:lvl6pPr marL="2331491" indent="0">
              <a:buNone/>
              <a:defRPr sz="1632" b="1"/>
            </a:lvl6pPr>
            <a:lvl7pPr marL="2797790" indent="0">
              <a:buNone/>
              <a:defRPr sz="1632" b="1"/>
            </a:lvl7pPr>
            <a:lvl8pPr marL="3264088" indent="0">
              <a:buNone/>
              <a:defRPr sz="1632" b="1"/>
            </a:lvl8pPr>
            <a:lvl9pPr marL="3730386" indent="0">
              <a:buNone/>
              <a:defRPr sz="1632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E7DCA9D-5ECA-4ECA-BDDC-285313DA2AE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56628" y="2554944"/>
            <a:ext cx="5261211" cy="37579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4B51BCE-55F5-43F8-B12A-047EB1A8BB8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95965" y="1714631"/>
            <a:ext cx="5287122" cy="840314"/>
          </a:xfrm>
        </p:spPr>
        <p:txBody>
          <a:bodyPr anchor="b"/>
          <a:lstStyle>
            <a:lvl1pPr marL="0" indent="0">
              <a:buNone/>
              <a:defRPr sz="2448" b="1"/>
            </a:lvl1pPr>
            <a:lvl2pPr marL="466298" indent="0">
              <a:buNone/>
              <a:defRPr sz="2040" b="1"/>
            </a:lvl2pPr>
            <a:lvl3pPr marL="932597" indent="0">
              <a:buNone/>
              <a:defRPr sz="1836" b="1"/>
            </a:lvl3pPr>
            <a:lvl4pPr marL="1398895" indent="0">
              <a:buNone/>
              <a:defRPr sz="1632" b="1"/>
            </a:lvl4pPr>
            <a:lvl5pPr marL="1865193" indent="0">
              <a:buNone/>
              <a:defRPr sz="1632" b="1"/>
            </a:lvl5pPr>
            <a:lvl6pPr marL="2331491" indent="0">
              <a:buNone/>
              <a:defRPr sz="1632" b="1"/>
            </a:lvl6pPr>
            <a:lvl7pPr marL="2797790" indent="0">
              <a:buNone/>
              <a:defRPr sz="1632" b="1"/>
            </a:lvl7pPr>
            <a:lvl8pPr marL="3264088" indent="0">
              <a:buNone/>
              <a:defRPr sz="1632" b="1"/>
            </a:lvl8pPr>
            <a:lvl9pPr marL="3730386" indent="0">
              <a:buNone/>
              <a:defRPr sz="1632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EBA463E-1B69-4875-BA3D-EE7F5D30C6D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95965" y="2554944"/>
            <a:ext cx="5287122" cy="37579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20E1FD5-AF97-4F51-8E2A-54C5D8E36E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64C94B-9F0D-4B4A-9E9A-843BD9221386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03CBF7-6C9D-4258-8D83-8980508AA9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836652D-B1CB-4049-99C2-2B38872B9D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EAD611-E633-44C1-A41A-3A2FC4F4365F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555346577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D25EB2-1B1E-483A-976E-935E679CE6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C379C8B-6BFA-4DB8-8972-A40A8A1DBB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64C94B-9F0D-4B4A-9E9A-843BD9221386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91B896-2DBA-4FDF-AED7-246477A93D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C85B4BE-AC7B-4F1F-AE19-07A931093B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EAD611-E633-44C1-A41A-3A2FC4F4365F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145027234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763D2FA-E063-4F1F-9424-D52F5DB896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64C94B-9F0D-4B4A-9E9A-843BD9221386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0C538C5-B9B1-4FE1-8395-BD618C6A25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5A2645-4123-4AA9-968F-457D6E25F1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EAD611-E633-44C1-A41A-3A2FC4F4365F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41245298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64D2EE-9062-4F39-8032-3295DA6491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628" y="466302"/>
            <a:ext cx="4011087" cy="1632056"/>
          </a:xfrm>
        </p:spPr>
        <p:txBody>
          <a:bodyPr anchor="b"/>
          <a:lstStyle>
            <a:lvl1pPr>
              <a:defRPr sz="3264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422A0E8-5B64-47BF-B1EF-DBA8EDD842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87122" y="1007083"/>
            <a:ext cx="6295965" cy="4970646"/>
          </a:xfrm>
        </p:spPr>
        <p:txBody>
          <a:bodyPr/>
          <a:lstStyle>
            <a:lvl1pPr>
              <a:defRPr sz="3264"/>
            </a:lvl1pPr>
            <a:lvl2pPr>
              <a:defRPr sz="2856"/>
            </a:lvl2pPr>
            <a:lvl3pPr>
              <a:defRPr sz="2448"/>
            </a:lvl3pPr>
            <a:lvl4pPr>
              <a:defRPr sz="2040"/>
            </a:lvl4pPr>
            <a:lvl5pPr>
              <a:defRPr sz="2040"/>
            </a:lvl5pPr>
            <a:lvl6pPr>
              <a:defRPr sz="2040"/>
            </a:lvl6pPr>
            <a:lvl7pPr>
              <a:defRPr sz="2040"/>
            </a:lvl7pPr>
            <a:lvl8pPr>
              <a:defRPr sz="2040"/>
            </a:lvl8pPr>
            <a:lvl9pPr>
              <a:defRPr sz="204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596285-9FEB-417F-87C5-C6DF8B8DEEE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56628" y="2098357"/>
            <a:ext cx="4011087" cy="3887467"/>
          </a:xfrm>
        </p:spPr>
        <p:txBody>
          <a:bodyPr/>
          <a:lstStyle>
            <a:lvl1pPr marL="0" indent="0">
              <a:buNone/>
              <a:defRPr sz="1632"/>
            </a:lvl1pPr>
            <a:lvl2pPr marL="466298" indent="0">
              <a:buNone/>
              <a:defRPr sz="1428"/>
            </a:lvl2pPr>
            <a:lvl3pPr marL="932597" indent="0">
              <a:buNone/>
              <a:defRPr sz="1224"/>
            </a:lvl3pPr>
            <a:lvl4pPr marL="1398895" indent="0">
              <a:buNone/>
              <a:defRPr sz="1020"/>
            </a:lvl4pPr>
            <a:lvl5pPr marL="1865193" indent="0">
              <a:buNone/>
              <a:defRPr sz="1020"/>
            </a:lvl5pPr>
            <a:lvl6pPr marL="2331491" indent="0">
              <a:buNone/>
              <a:defRPr sz="1020"/>
            </a:lvl6pPr>
            <a:lvl7pPr marL="2797790" indent="0">
              <a:buNone/>
              <a:defRPr sz="1020"/>
            </a:lvl7pPr>
            <a:lvl8pPr marL="3264088" indent="0">
              <a:buNone/>
              <a:defRPr sz="1020"/>
            </a:lvl8pPr>
            <a:lvl9pPr marL="3730386" indent="0">
              <a:buNone/>
              <a:defRPr sz="102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4BA582F-2410-4E18-BF7D-8202E98B62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64C94B-9F0D-4B4A-9E9A-843BD9221386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0A119CD-A96C-4353-ADD9-A6850CBD63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FBB2904-3FD4-40A1-BE63-8CBCE6FE71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EAD611-E633-44C1-A41A-3A2FC4F4365F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895976061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FE3D04-0852-4DCC-B7E0-54B86A5E57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628" y="466302"/>
            <a:ext cx="4011087" cy="1632056"/>
          </a:xfrm>
        </p:spPr>
        <p:txBody>
          <a:bodyPr anchor="b"/>
          <a:lstStyle>
            <a:lvl1pPr>
              <a:defRPr sz="3264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635C864-DB3D-4CD9-ABD0-AB8B3006533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287122" y="1007083"/>
            <a:ext cx="6295965" cy="4970646"/>
          </a:xfrm>
        </p:spPr>
        <p:txBody>
          <a:bodyPr/>
          <a:lstStyle>
            <a:lvl1pPr marL="0" indent="0">
              <a:buNone/>
              <a:defRPr sz="3264"/>
            </a:lvl1pPr>
            <a:lvl2pPr marL="466298" indent="0">
              <a:buNone/>
              <a:defRPr sz="2856"/>
            </a:lvl2pPr>
            <a:lvl3pPr marL="932597" indent="0">
              <a:buNone/>
              <a:defRPr sz="2448"/>
            </a:lvl3pPr>
            <a:lvl4pPr marL="1398895" indent="0">
              <a:buNone/>
              <a:defRPr sz="2040"/>
            </a:lvl4pPr>
            <a:lvl5pPr marL="1865193" indent="0">
              <a:buNone/>
              <a:defRPr sz="2040"/>
            </a:lvl5pPr>
            <a:lvl6pPr marL="2331491" indent="0">
              <a:buNone/>
              <a:defRPr sz="2040"/>
            </a:lvl6pPr>
            <a:lvl7pPr marL="2797790" indent="0">
              <a:buNone/>
              <a:defRPr sz="2040"/>
            </a:lvl7pPr>
            <a:lvl8pPr marL="3264088" indent="0">
              <a:buNone/>
              <a:defRPr sz="2040"/>
            </a:lvl8pPr>
            <a:lvl9pPr marL="3730386" indent="0">
              <a:buNone/>
              <a:defRPr sz="2040"/>
            </a:lvl9pPr>
          </a:lstStyle>
          <a:p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5473F9B-216C-4B13-9E23-7E72BA29FFB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56628" y="2098357"/>
            <a:ext cx="4011087" cy="3887467"/>
          </a:xfrm>
        </p:spPr>
        <p:txBody>
          <a:bodyPr/>
          <a:lstStyle>
            <a:lvl1pPr marL="0" indent="0">
              <a:buNone/>
              <a:defRPr sz="1632"/>
            </a:lvl1pPr>
            <a:lvl2pPr marL="466298" indent="0">
              <a:buNone/>
              <a:defRPr sz="1428"/>
            </a:lvl2pPr>
            <a:lvl3pPr marL="932597" indent="0">
              <a:buNone/>
              <a:defRPr sz="1224"/>
            </a:lvl3pPr>
            <a:lvl4pPr marL="1398895" indent="0">
              <a:buNone/>
              <a:defRPr sz="1020"/>
            </a:lvl4pPr>
            <a:lvl5pPr marL="1865193" indent="0">
              <a:buNone/>
              <a:defRPr sz="1020"/>
            </a:lvl5pPr>
            <a:lvl6pPr marL="2331491" indent="0">
              <a:buNone/>
              <a:defRPr sz="1020"/>
            </a:lvl6pPr>
            <a:lvl7pPr marL="2797790" indent="0">
              <a:buNone/>
              <a:defRPr sz="1020"/>
            </a:lvl7pPr>
            <a:lvl8pPr marL="3264088" indent="0">
              <a:buNone/>
              <a:defRPr sz="1020"/>
            </a:lvl8pPr>
            <a:lvl9pPr marL="3730386" indent="0">
              <a:buNone/>
              <a:defRPr sz="102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147F239-DC8D-4AF2-8429-7A687C7F22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64C94B-9F0D-4B4A-9E9A-843BD9221386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C103FAF-2906-4CE6-951A-2A52320373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B1EDB4-3806-4E5C-BC2C-F92B63950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EAD611-E633-44C1-A41A-3A2FC4F4365F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90273728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19BBF2-E294-4E2B-AF69-81821FDE73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A4208E5-8AFE-4F37-92A0-5E39DCE447F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DB7E18-BE4D-4A9C-8F9B-2444C52E05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64C94B-9F0D-4B4A-9E9A-843BD9221386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0F5C74-D93C-4802-A66A-7E8A8F529D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BB0151-5E6C-47E7-B5E1-0B0C3CE400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EAD611-E633-44C1-A41A-3A2FC4F4365F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74079483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9C2A728-55AF-44B7-AAFD-65B7F1A0A86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899852" y="372394"/>
            <a:ext cx="2681615" cy="5927537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4E70F07-7ABA-4D95-A31F-0CA487976C3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55008" y="372394"/>
            <a:ext cx="7889389" cy="592753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601F16-9C05-45D6-A759-ABE2286636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64C94B-9F0D-4B4A-9E9A-843BD9221386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4EEC905-DFFE-406F-A4F6-3E167A6710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2B4152-9286-4ABB-B6E0-46FE03DE3C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EAD611-E633-44C1-A41A-3A2FC4F4365F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180916777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Photo_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3"/>
            <a:ext cx="12434704" cy="6994520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 bwMode="auto">
          <a:xfrm>
            <a:off x="274638" y="2119164"/>
            <a:ext cx="6400800" cy="3664099"/>
          </a:xfrm>
          <a:prstGeom prst="rect">
            <a:avLst/>
          </a:prstGeom>
          <a:solidFill>
            <a:srgbClr val="002050">
              <a:alpha val="90000"/>
            </a:srgb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74702" y="2119178"/>
            <a:ext cx="6402388" cy="1828800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73050" y="3954463"/>
            <a:ext cx="6402388" cy="1828800"/>
          </a:xfrm>
        </p:spPr>
        <p:txBody>
          <a:bodyPr tIns="109728" bIns="109728">
            <a:noAutofit/>
          </a:bodyPr>
          <a:lstStyle>
            <a:lvl1pPr marL="0" indent="0">
              <a:spcBef>
                <a:spcPts val="0"/>
              </a:spcBef>
              <a:buNone/>
              <a:defRPr sz="3199">
                <a:gradFill>
                  <a:gsLst>
                    <a:gs pos="57576">
                      <a:srgbClr val="FFFFFF"/>
                    </a:gs>
                    <a:gs pos="35000">
                      <a:srgbClr val="FFFFFF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 bwMode="gray">
          <a:xfrm>
            <a:off x="457519" y="495482"/>
            <a:ext cx="1681413" cy="360979"/>
            <a:chOff x="457200" y="1643393"/>
            <a:chExt cx="4492753" cy="964540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 bwMode="gray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1" name="Freeform 12"/>
            <p:cNvSpPr>
              <a:spLocks noEditPoints="1"/>
            </p:cNvSpPr>
            <p:nvPr/>
          </p:nvSpPr>
          <p:spPr bwMode="gray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76767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1838127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2" y="3955786"/>
            <a:ext cx="7315137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 bwMode="gray">
          <a:xfrm>
            <a:off x="457519" y="6154122"/>
            <a:ext cx="1681413" cy="360979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 bwMode="gray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gray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2274047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68677564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in1 Screen Capture 16: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1592264"/>
            <a:ext cx="7229932" cy="512069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DE2E20-C700-4A3A-A890-B84EE414F382}" type="datetime1">
              <a:rPr lang="en-US" smtClean="0"/>
              <a:t>5/7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microsoft.com/educatio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3C030-8119-439B-A7A2-330B51F4C00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11"/>
          <p:cNvSpPr>
            <a:spLocks noGrp="1"/>
          </p:cNvSpPr>
          <p:nvPr>
            <p:ph sz="quarter" idx="13"/>
          </p:nvPr>
        </p:nvSpPr>
        <p:spPr>
          <a:xfrm>
            <a:off x="8351839" y="1592263"/>
            <a:ext cx="3695699" cy="5029200"/>
          </a:xfrm>
        </p:spPr>
        <p:txBody>
          <a:bodyPr/>
          <a:lstStyle>
            <a:lvl1pPr>
              <a:defRPr sz="1800"/>
            </a:lvl1pPr>
            <a:lvl2pPr>
              <a:defRPr sz="1599"/>
            </a:lvl2pPr>
            <a:lvl3pPr>
              <a:defRPr sz="1599"/>
            </a:lvl3pPr>
            <a:lvl4pPr>
              <a:defRPr sz="1599"/>
            </a:lvl4pPr>
            <a:lvl5pPr>
              <a:defRPr sz="1599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Picture Placeholder 8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554218" y="1835034"/>
            <a:ext cx="5987870" cy="3363878"/>
          </a:xfrm>
          <a:solidFill>
            <a:srgbClr val="00172A"/>
          </a:solidFill>
        </p:spPr>
        <p:txBody>
          <a:bodyPr tIns="0" rIns="0" bIns="1097280" anchor="b"/>
          <a:lstStyle>
            <a:lvl1pPr algn="ctr">
              <a:defRPr sz="1800" baseline="0"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Paste full screen grab here (16:9 aspect ratio)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88939" y="855664"/>
            <a:ext cx="3067763" cy="461665"/>
          </a:xfrm>
        </p:spPr>
        <p:txBody>
          <a:bodyPr wrap="none">
            <a:spAutoFit/>
          </a:bodyPr>
          <a:lstStyle>
            <a:lvl1pPr>
              <a:defRPr sz="2400">
                <a:gradFill>
                  <a:gsLst>
                    <a:gs pos="2917">
                      <a:schemeClr val="tx1">
                        <a:lumMod val="75000"/>
                      </a:schemeClr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7056120" y="4815841"/>
            <a:ext cx="236220" cy="1524000"/>
          </a:xfrm>
          <a:prstGeom prst="rect">
            <a:avLst/>
          </a:prstGeom>
          <a:gradFill flip="none" rotWithShape="1">
            <a:gsLst>
              <a:gs pos="2917">
                <a:schemeClr val="bg1">
                  <a:alpha val="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1821075601"/>
      </p:ext>
    </p:extLst>
  </p:cSld>
  <p:clrMapOvr>
    <a:masterClrMapping/>
  </p:clrMapOvr>
  <p:transition>
    <p:fade/>
  </p:transition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>
            <a:spAutoFit/>
          </a:bodyPr>
          <a:lstStyle>
            <a:lvl1pPr>
              <a:defRPr sz="3599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9875371"/>
      </p:ext>
    </p:extLst>
  </p:cSld>
  <p:clrMapOvr>
    <a:masterClrMapping/>
  </p:clrMapOvr>
  <p:transition>
    <p:fade/>
  </p:transition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199"/>
            </a:lvl1pPr>
            <a:lvl2pPr marL="0" indent="0">
              <a:buNone/>
              <a:defRPr sz="2000"/>
            </a:lvl2pPr>
            <a:lvl3pPr marL="231730" indent="0">
              <a:buNone/>
              <a:tabLst/>
              <a:defRPr sz="2000"/>
            </a:lvl3pPr>
            <a:lvl4pPr marL="460287" indent="0">
              <a:buNone/>
              <a:defRPr/>
            </a:lvl4pPr>
            <a:lvl5pPr marL="685669" indent="0"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45731496"/>
      </p:ext>
    </p:extLst>
  </p:cSld>
  <p:clrMapOvr>
    <a:masterClrMapping/>
  </p:clrMapOvr>
  <p:transition>
    <p:fade/>
  </p:transition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40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282" indent="-287282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199"/>
            </a:lvl1pPr>
            <a:lvl2pPr marL="531064" indent="-233150">
              <a:defRPr sz="2400"/>
            </a:lvl2pPr>
            <a:lvl3pPr marL="699450" indent="-168387">
              <a:tabLst/>
              <a:defRPr sz="2000"/>
            </a:lvl3pPr>
            <a:lvl4pPr marL="880789" indent="-181339">
              <a:defRPr/>
            </a:lvl4pPr>
            <a:lvl5pPr marL="1049175" indent="-168387"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5874502"/>
      </p:ext>
    </p:extLst>
  </p:cSld>
  <p:clrMapOvr>
    <a:masterClrMapping/>
  </p:clrMapOvr>
  <p:transition>
    <p:fade/>
  </p:transition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29797040"/>
      </p:ext>
    </p:extLst>
  </p:cSld>
  <p:clrMapOvr>
    <a:masterClrMapping/>
  </p:clrMapOvr>
  <p:transition>
    <p:fade/>
  </p:transition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4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9" y="3954463"/>
            <a:ext cx="10058401" cy="794064"/>
          </a:xfrm>
          <a:noFill/>
        </p:spPr>
        <p:txBody>
          <a:bodyPr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599" spc="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65138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09974"/>
            <a:ext cx="10056812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lang="en-US" sz="7198" b="0" kern="1200" cap="none" spc="-100" baseline="0" dirty="0">
                <a:ln w="3175">
                  <a:noFill/>
                </a:ln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r>
              <a:rPr lang="en-US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445566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968391106"/>
      </p:ext>
    </p:extLst>
  </p:cSld>
  <p:clrMapOvr>
    <a:masterClrMapping/>
  </p:clrMapOvr>
  <p:transition>
    <p:fade/>
  </p:transition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718673829"/>
      </p:ext>
    </p:extLst>
  </p:cSld>
  <p:clrMapOvr>
    <a:masterClrMapping/>
  </p:clrMapOvr>
  <p:transition>
    <p:fade/>
  </p:transition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922478016"/>
      </p:ext>
    </p:extLst>
  </p:cSld>
  <p:clrMapOvr>
    <a:masterClrMapping/>
  </p:clrMapOvr>
  <p:transition>
    <p:fade/>
  </p:transition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4122995636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4 Screen Capture 3:2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 userDrawn="1"/>
        </p:nvGrpSpPr>
        <p:grpSpPr>
          <a:xfrm>
            <a:off x="611" y="1432559"/>
            <a:ext cx="7847377" cy="5188903"/>
            <a:chOff x="611" y="1432559"/>
            <a:chExt cx="7847377" cy="5188903"/>
          </a:xfrm>
        </p:grpSpPr>
        <p:pic>
          <p:nvPicPr>
            <p:cNvPr id="14" name="Picture 13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611" y="1432559"/>
              <a:ext cx="7847377" cy="5188903"/>
            </a:xfrm>
            <a:prstGeom prst="rect">
              <a:avLst/>
            </a:prstGeom>
          </p:spPr>
        </p:pic>
        <p:pic>
          <p:nvPicPr>
            <p:cNvPr id="15" name="Picture 14"/>
            <p:cNvPicPr>
              <a:picLocks noChangeAspect="1"/>
            </p:cNvPicPr>
            <p:nvPr userDrawn="1"/>
          </p:nvPicPr>
          <p:blipFill rotWithShape="1">
            <a:blip r:embed="rId2"/>
            <a:srcRect l="90977" t="51856" r="3940" b="39270"/>
            <a:stretch/>
          </p:blipFill>
          <p:spPr>
            <a:xfrm>
              <a:off x="7139939" y="3848374"/>
              <a:ext cx="398927" cy="460489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DE2E20-C700-4A3A-A890-B84EE414F382}" type="datetime1">
              <a:rPr lang="en-US" smtClean="0"/>
              <a:t>5/7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microsoft.com/educatio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3C030-8119-439B-A7A2-330B51F4C00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11"/>
          <p:cNvSpPr>
            <a:spLocks noGrp="1"/>
          </p:cNvSpPr>
          <p:nvPr>
            <p:ph sz="quarter" idx="13"/>
          </p:nvPr>
        </p:nvSpPr>
        <p:spPr>
          <a:xfrm>
            <a:off x="8351839" y="1592263"/>
            <a:ext cx="3695699" cy="5029200"/>
          </a:xfrm>
        </p:spPr>
        <p:txBody>
          <a:bodyPr/>
          <a:lstStyle>
            <a:lvl1pPr>
              <a:defRPr sz="1800"/>
            </a:lvl1pPr>
            <a:lvl2pPr>
              <a:defRPr sz="1599"/>
            </a:lvl2pPr>
            <a:lvl3pPr>
              <a:defRPr sz="1599"/>
            </a:lvl3pPr>
            <a:lvl4pPr>
              <a:defRPr sz="1599"/>
            </a:lvl4pPr>
            <a:lvl5pPr>
              <a:defRPr sz="1599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Picture Placeholder 8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854890" y="1935135"/>
            <a:ext cx="6285049" cy="4190033"/>
          </a:xfrm>
          <a:solidFill>
            <a:srgbClr val="00172A"/>
          </a:solidFill>
        </p:spPr>
        <p:txBody>
          <a:bodyPr tIns="0" rIns="0" bIns="1097280" anchor="b"/>
          <a:lstStyle>
            <a:lvl1pPr algn="ctr">
              <a:defRPr sz="1800" baseline="0"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Paste full screen grab here (3:2 aspect ratio)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88939" y="855664"/>
            <a:ext cx="3067763" cy="461665"/>
          </a:xfrm>
        </p:spPr>
        <p:txBody>
          <a:bodyPr wrap="none">
            <a:spAutoFit/>
          </a:bodyPr>
          <a:lstStyle>
            <a:lvl1pPr>
              <a:defRPr sz="2400">
                <a:gradFill>
                  <a:gsLst>
                    <a:gs pos="2917">
                      <a:schemeClr val="tx1">
                        <a:lumMod val="75000"/>
                      </a:schemeClr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46810197"/>
      </p:ext>
    </p:extLst>
  </p:cSld>
  <p:clrMapOvr>
    <a:masterClrMapping/>
  </p:clrMapOvr>
  <p:transition>
    <p:fade/>
  </p:transition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40" y="1241426"/>
            <a:ext cx="5486399" cy="2012859"/>
          </a:xfrm>
        </p:spPr>
        <p:txBody>
          <a:bodyPr>
            <a:spAutoFit/>
          </a:bodyPr>
          <a:lstStyle>
            <a:lvl1pPr>
              <a:defRPr sz="6599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9825" y="0"/>
            <a:ext cx="6216650" cy="6992587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599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121267178"/>
      </p:ext>
    </p:extLst>
  </p:cSld>
  <p:clrMapOvr>
    <a:masterClrMapping/>
  </p:clrMapOvr>
  <p:transition>
    <p:fade/>
  </p:transition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95520568"/>
      </p:ext>
    </p:extLst>
  </p:cSld>
  <p:clrMapOvr>
    <a:masterClrMapping/>
  </p:clrMapOvr>
  <p:transition>
    <p:fade/>
  </p:transition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05480248"/>
      </p:ext>
    </p:extLst>
  </p:cSld>
  <p:clrMapOvr>
    <a:masterClrMapping/>
  </p:clrMapOvr>
  <p:transition>
    <p:fade/>
  </p:transition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36672088"/>
      </p:ext>
    </p:extLst>
  </p:cSld>
  <p:clrMapOvr>
    <a:masterClrMapping/>
  </p:clrMapOvr>
  <p:transition>
    <p:fade/>
  </p:transition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3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3699040"/>
      </p:ext>
    </p:extLst>
  </p:cSld>
  <p:clrMapOvr>
    <a:masterClrMapping/>
  </p:clrMapOvr>
  <p:transition>
    <p:fade/>
  </p:transition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2" tIns="46632" rIns="46632" bIns="4663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spcBef>
                <a:spcPct val="0"/>
              </a:spcBef>
              <a:spcAft>
                <a:spcPct val="0"/>
              </a:spcAft>
            </a:pPr>
            <a:endParaRPr lang="en-US" sz="18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8"/>
            <a:ext cx="11887199" cy="1995931"/>
          </a:xfrm>
        </p:spPr>
        <p:txBody>
          <a:bodyPr/>
          <a:lstStyle>
            <a:lvl1pPr marL="0" indent="0">
              <a:buNone/>
              <a:defRPr sz="3299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48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494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406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795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05763778"/>
      </p:ext>
    </p:extLst>
  </p:cSld>
  <p:clrMapOvr>
    <a:masterClrMapping/>
  </p:clrMapOvr>
  <p:transition>
    <p:fade/>
  </p:transition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7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54" tIns="146283" rIns="182854" bIns="146283" numCol="1" anchor="t" anchorCtr="0" compatLnSpc="1">
            <a:prstTxWarp prst="textNoShape">
              <a:avLst/>
            </a:prstTxWarp>
            <a:spAutoFit/>
          </a:bodyPr>
          <a:lstStyle/>
          <a:p>
            <a:pPr defTabSz="932111" eaLnBrk="0" hangingPunct="0"/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</a:t>
            </a:r>
            <a:r>
              <a:rPr lang="en-US" sz="700" baseline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 </a:t>
            </a:r>
            <a:r>
              <a:rPr lang="en-US" sz="70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Microsoft Corporation. All rights reserved. 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459230" y="3145041"/>
            <a:ext cx="3288506" cy="704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2524933"/>
      </p:ext>
    </p:extLst>
  </p:cSld>
  <p:clrMapOvr>
    <a:masterClrMapping/>
  </p:clrMapOvr>
  <p:transition>
    <p:fade/>
  </p:transition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9" y="1212851"/>
            <a:ext cx="11887200" cy="2443746"/>
          </a:xfrm>
          <a:prstGeom prst="rect">
            <a:avLst/>
          </a:prstGeom>
        </p:spPr>
        <p:txBody>
          <a:bodyPr/>
          <a:lstStyle>
            <a:lvl1pPr marL="29045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35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390" indent="-280935">
              <a:buClr>
                <a:schemeClr val="tx1"/>
              </a:buClr>
              <a:buSzPct val="90000"/>
              <a:buFont typeface="Arial" pitchFamily="34" charset="0"/>
              <a:buChar char="•"/>
              <a:defRPr sz="3199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1847" indent="-290457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404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8960" indent="-228557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/>
              <a:t>Use this Layout for Speaker Notes slid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2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9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39649707"/>
      </p:ext>
    </p:extLst>
  </p:cSld>
  <p:clrMapOvr>
    <a:masterClrMapping/>
  </p:clrMapOvr>
  <p:transition>
    <p:fade/>
  </p:transition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74639" y="295276"/>
            <a:ext cx="11889564" cy="9175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89287748"/>
      </p:ext>
    </p:extLst>
  </p:cSld>
  <p:clrMapOvr>
    <a:masterClrMapping/>
  </p:clrMapOvr>
  <p:transition>
    <p:fade/>
  </p:transition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_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639" y="300239"/>
            <a:ext cx="11889564" cy="917575"/>
          </a:xfrm>
        </p:spPr>
        <p:txBody>
          <a:bodyPr/>
          <a:lstStyle>
            <a:lvl1pPr marL="0" algn="l" defTabSz="913877" rtl="0" eaLnBrk="1" latinLnBrk="0" hangingPunct="1">
              <a:spcBef>
                <a:spcPct val="0"/>
              </a:spcBef>
              <a:buNone/>
              <a:defRPr lang="en-US" sz="4398" b="0" i="0" u="none" kern="1200" spc="-150" baseline="0" dirty="0">
                <a:solidFill>
                  <a:schemeClr val="bg1"/>
                </a:solidFill>
                <a:latin typeface="Segoe UI Semibold" charset="0"/>
                <a:ea typeface="Segoe UI Semibold" charset="0"/>
                <a:cs typeface="Segoe UI Semibold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66765043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4 Screen Capture 3:2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388331" y="1330068"/>
            <a:ext cx="8044243" cy="565715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DE2E20-C700-4A3A-A890-B84EE414F382}" type="datetime1">
              <a:rPr lang="en-US" smtClean="0"/>
              <a:t>5/7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88939" y="6621464"/>
            <a:ext cx="4159913" cy="365760"/>
          </a:xfrm>
        </p:spPr>
        <p:txBody>
          <a:bodyPr/>
          <a:lstStyle/>
          <a:p>
            <a:r>
              <a:rPr lang="en-US"/>
              <a:t>microsoft.com/educatio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3C030-8119-439B-A7A2-330B51F4C00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11"/>
          <p:cNvSpPr>
            <a:spLocks noGrp="1"/>
          </p:cNvSpPr>
          <p:nvPr>
            <p:ph sz="quarter" idx="13"/>
          </p:nvPr>
        </p:nvSpPr>
        <p:spPr>
          <a:xfrm>
            <a:off x="388939" y="1592263"/>
            <a:ext cx="3695699" cy="5029200"/>
          </a:xfrm>
        </p:spPr>
        <p:txBody>
          <a:bodyPr/>
          <a:lstStyle>
            <a:lvl1pPr>
              <a:defRPr sz="1800"/>
            </a:lvl1pPr>
            <a:lvl2pPr>
              <a:defRPr sz="1599"/>
            </a:lvl2pPr>
            <a:lvl3pPr>
              <a:defRPr sz="1599"/>
            </a:lvl3pPr>
            <a:lvl4pPr>
              <a:defRPr sz="1599"/>
            </a:lvl4pPr>
            <a:lvl5pPr>
              <a:defRPr sz="1599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Picture Placeholder 8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5253972" y="2206188"/>
            <a:ext cx="7182504" cy="4788338"/>
          </a:xfrm>
          <a:solidFill>
            <a:srgbClr val="00172A"/>
          </a:solidFill>
        </p:spPr>
        <p:txBody>
          <a:bodyPr lIns="1097280" tIns="0" rIns="1097280" bIns="1097280" anchor="b"/>
          <a:lstStyle>
            <a:lvl1pPr algn="ctr">
              <a:defRPr sz="1800" baseline="0"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Paste full screen grab here (3:2 aspect ratio). Position and scale using the image crop tool.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88939" y="855664"/>
            <a:ext cx="3067763" cy="461665"/>
          </a:xfrm>
        </p:spPr>
        <p:txBody>
          <a:bodyPr wrap="none">
            <a:spAutoFit/>
          </a:bodyPr>
          <a:lstStyle>
            <a:lvl1pPr>
              <a:defRPr sz="2400">
                <a:gradFill>
                  <a:gsLst>
                    <a:gs pos="2917">
                      <a:schemeClr val="tx1">
                        <a:lumMod val="75000"/>
                      </a:schemeClr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70599002"/>
      </p:ext>
    </p:extLst>
  </p:cSld>
  <p:clrMapOvr>
    <a:masterClrMapping/>
  </p:clrMapOvr>
  <p:transition>
    <p:fade/>
  </p:transition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999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A121271-FA95-4DD0-9359-064F0EC092C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92967" y="1363663"/>
            <a:ext cx="11871236" cy="1058751"/>
          </a:xfrm>
        </p:spPr>
        <p:txBody>
          <a:bodyPr/>
          <a:lstStyle>
            <a:lvl1pPr>
              <a:defRPr sz="2400">
                <a:solidFill>
                  <a:schemeClr val="tx1">
                    <a:lumMod val="75000"/>
                  </a:schemeClr>
                </a:solidFill>
              </a:defRPr>
            </a:lvl1pPr>
            <a:lvl2pPr>
              <a:defRPr sz="1800">
                <a:solidFill>
                  <a:schemeClr val="tx1">
                    <a:lumMod val="75000"/>
                  </a:schemeClr>
                </a:solidFill>
              </a:defRPr>
            </a:lvl2pPr>
            <a:lvl3pPr>
              <a:defRPr sz="1399">
                <a:solidFill>
                  <a:schemeClr val="tx1">
                    <a:lumMod val="75000"/>
                  </a:schemeClr>
                </a:solidFill>
              </a:defRPr>
            </a:lvl3pPr>
            <a:lvl4pPr>
              <a:defRPr sz="1399">
                <a:solidFill>
                  <a:schemeClr val="tx1">
                    <a:lumMod val="75000"/>
                  </a:schemeClr>
                </a:solidFill>
              </a:defRPr>
            </a:lvl4pPr>
            <a:lvl5pPr>
              <a:defRPr sz="1399"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199652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A0198FC-394D-41E8-9690-FAD7C2C221C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638" y="1333732"/>
            <a:ext cx="5486400" cy="517064"/>
          </a:xfrm>
        </p:spPr>
        <p:txBody>
          <a:bodyPr anchor="ctr"/>
          <a:lstStyle>
            <a:lvl1pPr marL="0" indent="0">
              <a:buNone/>
              <a:defRPr sz="240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4A73FE5-263F-4152-92D4-9F94B78A5486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74639" y="1973261"/>
            <a:ext cx="5486400" cy="1062302"/>
          </a:xfrm>
        </p:spPr>
        <p:txBody>
          <a:bodyPr/>
          <a:lstStyle>
            <a:lvl1pPr>
              <a:defRPr sz="2400"/>
            </a:lvl1pPr>
            <a:lvl2pPr>
              <a:defRPr sz="1800"/>
            </a:lvl2pPr>
            <a:lvl3pPr>
              <a:defRPr sz="1399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884FDE31-0EB7-459F-8E06-A55288BB7DC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677802" y="1333732"/>
            <a:ext cx="5486400" cy="517064"/>
          </a:xfrm>
        </p:spPr>
        <p:txBody>
          <a:bodyPr anchor="ctr"/>
          <a:lstStyle>
            <a:lvl1pPr marL="0" indent="0">
              <a:buNone/>
              <a:defRPr sz="2400"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287D48BD-52D2-4F3E-9F1E-2E6875DC53D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677803" y="1973261"/>
            <a:ext cx="5486400" cy="1062302"/>
          </a:xfrm>
        </p:spPr>
        <p:txBody>
          <a:bodyPr/>
          <a:lstStyle>
            <a:lvl1pPr>
              <a:defRPr sz="2400"/>
            </a:lvl1pPr>
            <a:lvl2pPr>
              <a:defRPr sz="1800"/>
            </a:lvl2pPr>
            <a:lvl3pPr>
              <a:defRPr sz="1399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1166402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Content,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29662" y="1476621"/>
            <a:ext cx="11375536" cy="213454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2448"/>
              </a:spcBef>
              <a:buNone/>
              <a:defRPr sz="4080">
                <a:solidFill>
                  <a:schemeClr val="tx2"/>
                </a:solidFill>
                <a:latin typeface="+mj-lt"/>
              </a:defRPr>
            </a:lvl1pPr>
            <a:lvl2pPr marL="0" indent="0">
              <a:buNone/>
              <a:defRPr sz="2040">
                <a:solidFill>
                  <a:schemeClr val="tx2"/>
                </a:solidFill>
              </a:defRPr>
            </a:lvl2pPr>
            <a:lvl3pPr marL="236341" indent="0">
              <a:buNone/>
              <a:defRPr sz="2040">
                <a:solidFill>
                  <a:schemeClr val="tx2"/>
                </a:solidFill>
              </a:defRPr>
            </a:lvl3pPr>
            <a:lvl4pPr marL="466209" indent="0">
              <a:buNone/>
              <a:defRPr sz="2040">
                <a:solidFill>
                  <a:schemeClr val="tx2"/>
                </a:solidFill>
              </a:defRPr>
            </a:lvl4pPr>
            <a:lvl5pPr marL="707407" indent="0">
              <a:buNone/>
              <a:defRPr sz="204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90419809"/>
      </p:ext>
    </p:extLst>
  </p:cSld>
  <p:clrMapOvr>
    <a:masterClrMapping/>
  </p:clrMapOvr>
  <p:transition>
    <p:fade/>
  </p:transition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1658197" y="310869"/>
            <a:ext cx="10571004" cy="209288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Rectangle 103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Rectangle 103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#MicrosoftEDU</a:t>
            </a:r>
          </a:p>
        </p:txBody>
      </p:sp>
      <p:sp>
        <p:nvSpPr>
          <p:cNvPr id="5" name="Rectangle 103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D48E5E4-5BB8-4C98-8EF1-BF3C432A2F5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78441263"/>
      </p:ext>
    </p:extLst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1824" y="1632058"/>
            <a:ext cx="5492776" cy="1961371"/>
          </a:xfrm>
        </p:spPr>
        <p:txBody>
          <a:bodyPr/>
          <a:lstStyle>
            <a:lvl1pPr>
              <a:defRPr sz="2856"/>
            </a:lvl1pPr>
            <a:lvl2pPr>
              <a:defRPr sz="2448"/>
            </a:lvl2pPr>
            <a:lvl3pPr>
              <a:defRPr sz="2040"/>
            </a:lvl3pPr>
            <a:lvl4pPr>
              <a:defRPr sz="1836"/>
            </a:lvl4pPr>
            <a:lvl5pPr>
              <a:defRPr sz="1836"/>
            </a:lvl5pPr>
            <a:lvl6pPr>
              <a:defRPr sz="1836"/>
            </a:lvl6pPr>
            <a:lvl7pPr>
              <a:defRPr sz="1836"/>
            </a:lvl7pPr>
            <a:lvl8pPr>
              <a:defRPr sz="1836"/>
            </a:lvl8pPr>
            <a:lvl9pPr>
              <a:defRPr sz="183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1875" y="1632058"/>
            <a:ext cx="5492776" cy="1961371"/>
          </a:xfrm>
        </p:spPr>
        <p:txBody>
          <a:bodyPr/>
          <a:lstStyle>
            <a:lvl1pPr>
              <a:defRPr sz="2856"/>
            </a:lvl1pPr>
            <a:lvl2pPr>
              <a:defRPr sz="2448"/>
            </a:lvl2pPr>
            <a:lvl3pPr>
              <a:defRPr sz="2040"/>
            </a:lvl3pPr>
            <a:lvl4pPr>
              <a:defRPr sz="1836"/>
            </a:lvl4pPr>
            <a:lvl5pPr>
              <a:defRPr sz="1836"/>
            </a:lvl5pPr>
            <a:lvl6pPr>
              <a:defRPr sz="1836"/>
            </a:lvl6pPr>
            <a:lvl7pPr>
              <a:defRPr sz="1836"/>
            </a:lvl7pPr>
            <a:lvl8pPr>
              <a:defRPr sz="1836"/>
            </a:lvl8pPr>
            <a:lvl9pPr>
              <a:defRPr sz="183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#MicrosoftEDU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2462F0-19B4-4B2F-A163-7E6F435EAA5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9007312"/>
      </p:ext>
    </p:extLst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6627" y="372395"/>
            <a:ext cx="10726460" cy="135195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6629" y="2031213"/>
            <a:ext cx="5261211" cy="523733"/>
          </a:xfrm>
        </p:spPr>
        <p:txBody>
          <a:bodyPr anchor="b"/>
          <a:lstStyle>
            <a:lvl1pPr marL="0" indent="0">
              <a:buNone/>
              <a:defRPr sz="2448" b="1"/>
            </a:lvl1pPr>
            <a:lvl2pPr marL="466209" indent="0">
              <a:buNone/>
              <a:defRPr sz="2040" b="1"/>
            </a:lvl2pPr>
            <a:lvl3pPr marL="932418" indent="0">
              <a:buNone/>
              <a:defRPr sz="1836" b="1"/>
            </a:lvl3pPr>
            <a:lvl4pPr marL="1398627" indent="0">
              <a:buNone/>
              <a:defRPr sz="1632" b="1"/>
            </a:lvl4pPr>
            <a:lvl5pPr marL="1864835" indent="0">
              <a:buNone/>
              <a:defRPr sz="1632" b="1"/>
            </a:lvl5pPr>
            <a:lvl6pPr marL="2331044" indent="0">
              <a:buNone/>
              <a:defRPr sz="1632" b="1"/>
            </a:lvl6pPr>
            <a:lvl7pPr marL="2797253" indent="0">
              <a:buNone/>
              <a:defRPr sz="1632" b="1"/>
            </a:lvl7pPr>
            <a:lvl8pPr marL="3263461" indent="0">
              <a:buNone/>
              <a:defRPr sz="1632" b="1"/>
            </a:lvl8pPr>
            <a:lvl9pPr marL="3729669" indent="0">
              <a:buNone/>
              <a:defRPr sz="1632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56629" y="2554944"/>
            <a:ext cx="5261211" cy="209288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95965" y="2031213"/>
            <a:ext cx="5287122" cy="523733"/>
          </a:xfrm>
        </p:spPr>
        <p:txBody>
          <a:bodyPr anchor="b"/>
          <a:lstStyle>
            <a:lvl1pPr marL="0" indent="0">
              <a:buNone/>
              <a:defRPr sz="2448" b="1"/>
            </a:lvl1pPr>
            <a:lvl2pPr marL="466209" indent="0">
              <a:buNone/>
              <a:defRPr sz="2040" b="1"/>
            </a:lvl2pPr>
            <a:lvl3pPr marL="932418" indent="0">
              <a:buNone/>
              <a:defRPr sz="1836" b="1"/>
            </a:lvl3pPr>
            <a:lvl4pPr marL="1398627" indent="0">
              <a:buNone/>
              <a:defRPr sz="1632" b="1"/>
            </a:lvl4pPr>
            <a:lvl5pPr marL="1864835" indent="0">
              <a:buNone/>
              <a:defRPr sz="1632" b="1"/>
            </a:lvl5pPr>
            <a:lvl6pPr marL="2331044" indent="0">
              <a:buNone/>
              <a:defRPr sz="1632" b="1"/>
            </a:lvl6pPr>
            <a:lvl7pPr marL="2797253" indent="0">
              <a:buNone/>
              <a:defRPr sz="1632" b="1"/>
            </a:lvl7pPr>
            <a:lvl8pPr marL="3263461" indent="0">
              <a:buNone/>
              <a:defRPr sz="1632" b="1"/>
            </a:lvl8pPr>
            <a:lvl9pPr marL="3729669" indent="0">
              <a:buNone/>
              <a:defRPr sz="1632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95965" y="2554944"/>
            <a:ext cx="5287122" cy="209288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#MicrosoftEDU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867C20-0979-4380-80DF-20E6792E3B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5988227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2-Content w/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tx2"/>
                    </a:gs>
                    <a:gs pos="100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31282" y="1476622"/>
            <a:ext cx="5504573" cy="4391007"/>
          </a:xfrm>
        </p:spPr>
        <p:txBody>
          <a:bodyPr>
            <a:noAutofit/>
          </a:bodyPr>
          <a:lstStyle>
            <a:lvl1pPr marL="297856" indent="-297856">
              <a:spcBef>
                <a:spcPts val="1224"/>
              </a:spcBef>
              <a:buClr>
                <a:schemeClr val="bg2"/>
              </a:buClr>
              <a:buSzPct val="100000"/>
              <a:buFont typeface="Wingdings" pitchFamily="2" charset="2"/>
              <a:buChar char=""/>
              <a:defRPr lang="en-US" sz="3672" kern="1200" spc="-71" baseline="0" dirty="0" smtClean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530960" indent="-233104">
              <a:defRPr sz="2040"/>
            </a:lvl2pPr>
            <a:lvl3pPr marL="699313" indent="-168353">
              <a:tabLst/>
              <a:defRPr sz="2040"/>
            </a:lvl3pPr>
            <a:lvl4pPr marL="880617" indent="-181304">
              <a:defRPr/>
            </a:lvl4pPr>
            <a:lvl5pPr marL="1048969" indent="-168353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6405483" y="1476622"/>
            <a:ext cx="5504573" cy="4391007"/>
          </a:xfrm>
        </p:spPr>
        <p:txBody>
          <a:bodyPr>
            <a:noAutofit/>
          </a:bodyPr>
          <a:lstStyle>
            <a:lvl1pPr marL="346419" indent="-346419">
              <a:spcBef>
                <a:spcPts val="1224"/>
              </a:spcBef>
              <a:buClr>
                <a:schemeClr val="bg2"/>
              </a:buClr>
              <a:buFont typeface="Arial" pitchFamily="34" charset="0"/>
              <a:buChar char="•"/>
              <a:defRPr lang="en-US" sz="3672" kern="1200" spc="-71" baseline="0" dirty="0" smtClean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647513" indent="-349656">
              <a:defRPr lang="en-US" sz="2040" kern="1200" spc="0" baseline="0" dirty="0" smtClean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647513" indent="-349656">
              <a:defRPr lang="en-US" sz="2040" kern="1200" spc="0" baseline="0" dirty="0" smtClean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48969" indent="-349656">
              <a:defRPr lang="en-US" sz="2040" kern="1200" spc="0" baseline="0" dirty="0" smtClean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30273" indent="-349656">
              <a:defRPr lang="en-US" sz="2040" kern="1200" spc="0" baseline="0" dirty="0">
                <a:gradFill>
                  <a:gsLst>
                    <a:gs pos="1250">
                      <a:schemeClr val="bg2"/>
                    </a:gs>
                    <a:gs pos="100000">
                      <a:schemeClr val="bg2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1048969" indent="-349656">
              <a:defRPr/>
            </a:lvl6pPr>
          </a:lstStyle>
          <a:p>
            <a:pPr marL="297856" marR="0" lvl="0" indent="-297856" algn="l" defTabSz="932380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" pitchFamily="2" charset="2"/>
              <a:buChar char=""/>
              <a:tabLst/>
            </a:pPr>
            <a:r>
              <a:rPr lang="en-US"/>
              <a:t>Edit Master text styles</a:t>
            </a:r>
          </a:p>
          <a:p>
            <a:pPr marL="297856" marR="0" lvl="1" indent="-297856" algn="l" defTabSz="932380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" pitchFamily="2" charset="2"/>
              <a:buChar char=""/>
              <a:tabLst/>
            </a:pPr>
            <a:r>
              <a:rPr lang="en-US"/>
              <a:t>Second level</a:t>
            </a:r>
          </a:p>
          <a:p>
            <a:pPr marL="297856" marR="0" lvl="2" indent="-297856" algn="l" defTabSz="932380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" pitchFamily="2" charset="2"/>
              <a:buChar char=""/>
              <a:tabLst/>
            </a:pPr>
            <a:r>
              <a:rPr lang="en-US"/>
              <a:t>Third level</a:t>
            </a:r>
          </a:p>
          <a:p>
            <a:pPr marL="297856" marR="0" lvl="3" indent="-297856" algn="l" defTabSz="932380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" pitchFamily="2" charset="2"/>
              <a:buChar char=""/>
              <a:tabLst/>
            </a:pPr>
            <a:r>
              <a:rPr lang="en-US"/>
              <a:t>Fourth level</a:t>
            </a:r>
          </a:p>
          <a:p>
            <a:pPr marL="297856" marR="0" lvl="4" indent="-297856" algn="l" defTabSz="932380" rtl="0" eaLnBrk="1" fontAlgn="auto" latinLnBrk="0" hangingPunct="1">
              <a:lnSpc>
                <a:spcPct val="90000"/>
              </a:lnSpc>
              <a:spcBef>
                <a:spcPts val="1224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Wingdings" pitchFamily="2" charset="2"/>
              <a:buChar char=""/>
              <a:tabLst/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78781789"/>
      </p:ext>
    </p:extLst>
  </p:cSld>
  <p:clrMapOvr>
    <a:masterClrMapping/>
  </p:clrMapOvr>
  <p:transition>
    <p:fade/>
  </p:transition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1658197" y="310869"/>
            <a:ext cx="10571004" cy="209288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Rectangle 103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Rectangle 103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103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D48E5E4-5BB8-4C98-8EF1-BF3C432A2F5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9861548"/>
      </p:ext>
    </p:extLst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1824" y="1632058"/>
            <a:ext cx="5492776" cy="1961371"/>
          </a:xfrm>
        </p:spPr>
        <p:txBody>
          <a:bodyPr/>
          <a:lstStyle>
            <a:lvl1pPr>
              <a:defRPr sz="2856"/>
            </a:lvl1pPr>
            <a:lvl2pPr>
              <a:defRPr sz="2448"/>
            </a:lvl2pPr>
            <a:lvl3pPr>
              <a:defRPr sz="2040"/>
            </a:lvl3pPr>
            <a:lvl4pPr>
              <a:defRPr sz="1836"/>
            </a:lvl4pPr>
            <a:lvl5pPr>
              <a:defRPr sz="1836"/>
            </a:lvl5pPr>
            <a:lvl6pPr>
              <a:defRPr sz="1836"/>
            </a:lvl6pPr>
            <a:lvl7pPr>
              <a:defRPr sz="1836"/>
            </a:lvl7pPr>
            <a:lvl8pPr>
              <a:defRPr sz="1836"/>
            </a:lvl8pPr>
            <a:lvl9pPr>
              <a:defRPr sz="183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21875" y="1632058"/>
            <a:ext cx="5492776" cy="1961371"/>
          </a:xfrm>
        </p:spPr>
        <p:txBody>
          <a:bodyPr/>
          <a:lstStyle>
            <a:lvl1pPr>
              <a:defRPr sz="2856"/>
            </a:lvl1pPr>
            <a:lvl2pPr>
              <a:defRPr sz="2448"/>
            </a:lvl2pPr>
            <a:lvl3pPr>
              <a:defRPr sz="2040"/>
            </a:lvl3pPr>
            <a:lvl4pPr>
              <a:defRPr sz="1836"/>
            </a:lvl4pPr>
            <a:lvl5pPr>
              <a:defRPr sz="1836"/>
            </a:lvl5pPr>
            <a:lvl6pPr>
              <a:defRPr sz="1836"/>
            </a:lvl6pPr>
            <a:lvl7pPr>
              <a:defRPr sz="1836"/>
            </a:lvl7pPr>
            <a:lvl8pPr>
              <a:defRPr sz="1836"/>
            </a:lvl8pPr>
            <a:lvl9pPr>
              <a:defRPr sz="183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0B4F2B-5E05-4E86-869D-11DFDC08817E}" type="datetimeFigureOut">
              <a:rPr lang="en-GB" smtClean="0"/>
              <a:t>07/05/2021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2462F0-19B4-4B2F-A163-7E6F435EAA5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8463605"/>
      </p:ext>
    </p:extLst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6627" y="372395"/>
            <a:ext cx="10726460" cy="135195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6629" y="2031213"/>
            <a:ext cx="5261211" cy="523733"/>
          </a:xfrm>
        </p:spPr>
        <p:txBody>
          <a:bodyPr anchor="b"/>
          <a:lstStyle>
            <a:lvl1pPr marL="0" indent="0">
              <a:buNone/>
              <a:defRPr sz="2448" b="1"/>
            </a:lvl1pPr>
            <a:lvl2pPr marL="466209" indent="0">
              <a:buNone/>
              <a:defRPr sz="2040" b="1"/>
            </a:lvl2pPr>
            <a:lvl3pPr marL="932418" indent="0">
              <a:buNone/>
              <a:defRPr sz="1836" b="1"/>
            </a:lvl3pPr>
            <a:lvl4pPr marL="1398627" indent="0">
              <a:buNone/>
              <a:defRPr sz="1632" b="1"/>
            </a:lvl4pPr>
            <a:lvl5pPr marL="1864835" indent="0">
              <a:buNone/>
              <a:defRPr sz="1632" b="1"/>
            </a:lvl5pPr>
            <a:lvl6pPr marL="2331044" indent="0">
              <a:buNone/>
              <a:defRPr sz="1632" b="1"/>
            </a:lvl6pPr>
            <a:lvl7pPr marL="2797253" indent="0">
              <a:buNone/>
              <a:defRPr sz="1632" b="1"/>
            </a:lvl7pPr>
            <a:lvl8pPr marL="3263461" indent="0">
              <a:buNone/>
              <a:defRPr sz="1632" b="1"/>
            </a:lvl8pPr>
            <a:lvl9pPr marL="3729669" indent="0">
              <a:buNone/>
              <a:defRPr sz="1632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56629" y="2554944"/>
            <a:ext cx="5261211" cy="209288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95965" y="2031213"/>
            <a:ext cx="5287122" cy="523733"/>
          </a:xfrm>
        </p:spPr>
        <p:txBody>
          <a:bodyPr anchor="b"/>
          <a:lstStyle>
            <a:lvl1pPr marL="0" indent="0">
              <a:buNone/>
              <a:defRPr sz="2448" b="1"/>
            </a:lvl1pPr>
            <a:lvl2pPr marL="466209" indent="0">
              <a:buNone/>
              <a:defRPr sz="2040" b="1"/>
            </a:lvl2pPr>
            <a:lvl3pPr marL="932418" indent="0">
              <a:buNone/>
              <a:defRPr sz="1836" b="1"/>
            </a:lvl3pPr>
            <a:lvl4pPr marL="1398627" indent="0">
              <a:buNone/>
              <a:defRPr sz="1632" b="1"/>
            </a:lvl4pPr>
            <a:lvl5pPr marL="1864835" indent="0">
              <a:buNone/>
              <a:defRPr sz="1632" b="1"/>
            </a:lvl5pPr>
            <a:lvl6pPr marL="2331044" indent="0">
              <a:buNone/>
              <a:defRPr sz="1632" b="1"/>
            </a:lvl6pPr>
            <a:lvl7pPr marL="2797253" indent="0">
              <a:buNone/>
              <a:defRPr sz="1632" b="1"/>
            </a:lvl7pPr>
            <a:lvl8pPr marL="3263461" indent="0">
              <a:buNone/>
              <a:defRPr sz="1632" b="1"/>
            </a:lvl8pPr>
            <a:lvl9pPr marL="3729669" indent="0">
              <a:buNone/>
              <a:defRPr sz="1632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95965" y="2554944"/>
            <a:ext cx="5287122" cy="209288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AD2E59-1DA4-4EEC-A1A5-EE94391B98B9}" type="datetimeFigureOut">
              <a:rPr lang="en-US" smtClean="0"/>
              <a:t>5/7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867C20-0979-4380-80DF-20E6792E3B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944388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4 Screen Capture 3:2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 userDrawn="1"/>
        </p:nvGrpSpPr>
        <p:grpSpPr>
          <a:xfrm>
            <a:off x="1" y="1312518"/>
            <a:ext cx="8171819" cy="5675245"/>
            <a:chOff x="0" y="1312517"/>
            <a:chExt cx="8171819" cy="5675245"/>
          </a:xfrm>
        </p:grpSpPr>
        <p:pic>
          <p:nvPicPr>
            <p:cNvPr id="13" name="Picture 12"/>
            <p:cNvPicPr>
              <a:picLocks noChangeAspect="1"/>
            </p:cNvPicPr>
            <p:nvPr userDrawn="1"/>
          </p:nvPicPr>
          <p:blipFill rotWithShape="1">
            <a:blip r:embed="rId2"/>
            <a:srcRect r="2467" b="525"/>
            <a:stretch/>
          </p:blipFill>
          <p:spPr>
            <a:xfrm>
              <a:off x="0" y="1312517"/>
              <a:ext cx="8171819" cy="5675245"/>
            </a:xfrm>
            <a:prstGeom prst="rect">
              <a:avLst/>
            </a:prstGeom>
          </p:spPr>
        </p:pic>
        <p:pic>
          <p:nvPicPr>
            <p:cNvPr id="14" name="Picture 13"/>
            <p:cNvPicPr>
              <a:picLocks noChangeAspect="1"/>
            </p:cNvPicPr>
            <p:nvPr userDrawn="1"/>
          </p:nvPicPr>
          <p:blipFill rotWithShape="1">
            <a:blip r:embed="rId2"/>
            <a:srcRect l="86949" t="82630" r="5075" b="6993"/>
            <a:stretch/>
          </p:blipFill>
          <p:spPr>
            <a:xfrm>
              <a:off x="7285039" y="5571919"/>
              <a:ext cx="668268" cy="592058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8939" y="239714"/>
            <a:ext cx="11655586" cy="61555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DE2E20-C700-4A3A-A890-B84EE414F382}" type="datetime1">
              <a:rPr lang="en-US" smtClean="0"/>
              <a:t>5/7/2021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3C030-8119-439B-A7A2-330B51F4C00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11"/>
          <p:cNvSpPr>
            <a:spLocks noGrp="1"/>
          </p:cNvSpPr>
          <p:nvPr>
            <p:ph sz="quarter" idx="13"/>
          </p:nvPr>
        </p:nvSpPr>
        <p:spPr>
          <a:xfrm>
            <a:off x="8348827" y="1592263"/>
            <a:ext cx="3695699" cy="5029200"/>
          </a:xfrm>
        </p:spPr>
        <p:txBody>
          <a:bodyPr/>
          <a:lstStyle>
            <a:lvl1pPr>
              <a:defRPr sz="1800"/>
            </a:lvl1pPr>
            <a:lvl2pPr>
              <a:defRPr sz="1599"/>
            </a:lvl2pPr>
            <a:lvl3pPr>
              <a:defRPr sz="1599"/>
            </a:lvl3pPr>
            <a:lvl4pPr>
              <a:defRPr sz="1599"/>
            </a:lvl4pPr>
            <a:lvl5pPr>
              <a:defRPr sz="1599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Picture Placeholder 8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2205955"/>
            <a:ext cx="7291063" cy="4788571"/>
          </a:xfrm>
          <a:solidFill>
            <a:srgbClr val="00172A"/>
          </a:solidFill>
        </p:spPr>
        <p:txBody>
          <a:bodyPr lIns="1097280" tIns="0" rIns="1097280" bIns="1097280" anchor="b"/>
          <a:lstStyle>
            <a:lvl1pPr algn="ctr">
              <a:defRPr sz="1800" baseline="0"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Paste full screen grab here (3:2 aspect ratio). Position and scale using the image crop tool.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88939" y="855664"/>
            <a:ext cx="3067763" cy="461665"/>
          </a:xfrm>
        </p:spPr>
        <p:txBody>
          <a:bodyPr wrap="none">
            <a:spAutoFit/>
          </a:bodyPr>
          <a:lstStyle>
            <a:lvl1pPr>
              <a:defRPr sz="2400">
                <a:gradFill>
                  <a:gsLst>
                    <a:gs pos="2917">
                      <a:schemeClr val="tx1">
                        <a:lumMod val="75000"/>
                      </a:schemeClr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7773885"/>
      </p:ext>
    </p:extLst>
  </p:cSld>
  <p:clrMapOvr>
    <a:masterClrMapping/>
  </p:clrMapOvr>
  <p:transition>
    <p:fade/>
  </p:transition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Section Title Accent Color 1">
    <p:bg>
      <p:bgPr>
        <a:solidFill>
          <a:srgbClr val="4423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80571" y="1346590"/>
            <a:ext cx="12128721" cy="1859280"/>
          </a:xfrm>
          <a:noFill/>
        </p:spPr>
        <p:txBody>
          <a:bodyPr lIns="137160" tIns="137160" rIns="137160" bIns="137160" anchor="t" anchorCtr="0"/>
          <a:lstStyle>
            <a:lvl1pPr>
              <a:defRPr sz="8769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5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434775" y="2894799"/>
            <a:ext cx="6064361" cy="2642376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4181" indent="-194181">
              <a:lnSpc>
                <a:spcPct val="80000"/>
              </a:lnSpc>
              <a:buNone/>
              <a:defRPr lang="en-US" sz="204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10954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211407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#MicrosoftEDU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B0F0FF-FD42-41BA-981D-56279315EC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2383354"/>
      </p:ext>
    </p:extLst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FF9309-49F5-4DEC-A886-34A67C5770F2}" type="datetimeFigureOut">
              <a:rPr lang="en-US" smtClean="0"/>
              <a:t>5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B0F0FF-FD42-41BA-981D-56279315EC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2881936"/>
      </p:ext>
    </p:extLst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ULL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0" y="1"/>
            <a:ext cx="12436475" cy="738407"/>
          </a:xfrm>
          <a:prstGeom prst="rect">
            <a:avLst/>
          </a:prstGeom>
        </p:spPr>
        <p:txBody>
          <a:bodyPr/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109392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sldNum="0" hdr="0" ftr="0" dt="0"/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7BB65B-F7FF-4763-8DCE-7C2F92A63ED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420031" y="2984331"/>
            <a:ext cx="5596414" cy="1025864"/>
          </a:xfrm>
          <a:solidFill>
            <a:schemeClr val="bg1">
              <a:alpha val="80000"/>
            </a:schemeClr>
          </a:solidFill>
        </p:spPr>
        <p:txBody>
          <a:bodyPr anchor="ctr">
            <a:normAutofit/>
          </a:bodyPr>
          <a:lstStyle>
            <a:lvl1pPr algn="ctr">
              <a:defRPr sz="3672"/>
            </a:lvl1pPr>
          </a:lstStyle>
          <a:p>
            <a:r>
              <a:rPr lang="en-US"/>
              <a:t>Click to edit copy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588CE5-ABB2-4AC4-A0AF-15093785E1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32239">
              <a:defRPr/>
            </a:pPr>
            <a:fld id="{0ACC17A1-1979-4DBB-B5E8-A823259B1985}" type="datetime1">
              <a:rPr lang="en-AU" smtClean="0">
                <a:solidFill>
                  <a:prstClr val="black">
                    <a:tint val="75000"/>
                  </a:prstClr>
                </a:solidFill>
              </a:rPr>
              <a:pPr defTabSz="932239">
                <a:defRPr/>
              </a:pPr>
              <a:t>7/0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F5CE41-71C2-44ED-8EBA-E08B42B706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32239"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E461F0-AEF5-4CAF-B4D6-4B600DB818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32239">
              <a:defRPr/>
            </a:pPr>
            <a:fld id="{89959EFB-9E9F-44F9-94E0-ADADD634312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32239"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8955595"/>
      </p:ext>
    </p:extLst>
  </p:cSld>
  <p:clrMapOvr>
    <a:masterClrMapping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14"/>
            <a:ext cx="12436472" cy="6993497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>
          <a:xfrm>
            <a:off x="2175" y="4"/>
            <a:ext cx="12434300" cy="69945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2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394903" y="3737091"/>
            <a:ext cx="5597871" cy="556620"/>
          </a:xfrm>
        </p:spPr>
        <p:txBody>
          <a:bodyPr anchor="t">
            <a:noAutofit/>
          </a:bodyPr>
          <a:lstStyle>
            <a:lvl1pPr marL="0" indent="0" algn="l" defTabSz="932239" rtl="0" eaLnBrk="1" latinLnBrk="0" hangingPunct="1">
              <a:spcBef>
                <a:spcPts val="0"/>
              </a:spcBef>
              <a:spcAft>
                <a:spcPts val="612"/>
              </a:spcAft>
              <a:buSzPct val="90000"/>
              <a:buFont typeface="Wingdings" pitchFamily="2" charset="2"/>
              <a:buNone/>
              <a:defRPr lang="en-US" sz="1428" kern="1200" dirty="0">
                <a:solidFill>
                  <a:srgbClr val="737373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66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322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983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644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305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96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628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289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394903" y="4305809"/>
            <a:ext cx="5597871" cy="588872"/>
          </a:xfrm>
        </p:spPr>
        <p:txBody>
          <a:bodyPr>
            <a:noAutofit/>
          </a:bodyPr>
          <a:lstStyle>
            <a:lvl1pPr marL="0" indent="0">
              <a:buNone/>
              <a:defRPr lang="en-US" sz="1428" kern="1200" dirty="0" smtClean="0">
                <a:solidFill>
                  <a:srgbClr val="737373">
                    <a:alpha val="99000"/>
                  </a:srgb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</a:lstStyle>
          <a:p>
            <a:pPr marL="0" lvl="0" indent="0" algn="l" defTabSz="932239" rtl="0" eaLnBrk="1" latinLnBrk="0" hangingPunct="1">
              <a:spcBef>
                <a:spcPts val="0"/>
              </a:spcBef>
              <a:spcAft>
                <a:spcPts val="612"/>
              </a:spcAft>
              <a:buSzPct val="90000"/>
              <a:buFont typeface="Wingdings" pitchFamily="2" charset="2"/>
              <a:buNone/>
            </a:pPr>
            <a:r>
              <a:rPr lang="en-US"/>
              <a:t>Edit Master text style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0629" y="6217275"/>
            <a:ext cx="2508028" cy="73675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369517" y="2311843"/>
            <a:ext cx="5597871" cy="1499289"/>
          </a:xfrm>
        </p:spPr>
        <p:txBody>
          <a:bodyPr anchor="b"/>
          <a:lstStyle>
            <a:lvl1pPr algn="l">
              <a:defRPr sz="4080" spc="0">
                <a:solidFill>
                  <a:srgbClr val="737373"/>
                </a:solidFill>
              </a:defRPr>
            </a:lvl1pPr>
          </a:lstStyle>
          <a:p>
            <a:r>
              <a:rPr lang="en-US"/>
              <a:t/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0333600"/>
      </p:ext>
    </p:extLst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3640" y="-24423"/>
            <a:ext cx="12437388" cy="6994012"/>
          </a:xfrm>
          <a:prstGeom prst="rect">
            <a:avLst/>
          </a:prstGeom>
        </p:spPr>
      </p:pic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394903" y="3737091"/>
            <a:ext cx="5597871" cy="556620"/>
          </a:xfrm>
        </p:spPr>
        <p:txBody>
          <a:bodyPr anchor="t">
            <a:noAutofit/>
          </a:bodyPr>
          <a:lstStyle>
            <a:lvl1pPr marL="0" indent="0" algn="l" defTabSz="932239" rtl="0" eaLnBrk="1" latinLnBrk="0" hangingPunct="1">
              <a:spcBef>
                <a:spcPts val="0"/>
              </a:spcBef>
              <a:spcAft>
                <a:spcPts val="612"/>
              </a:spcAft>
              <a:buSzPct val="90000"/>
              <a:buFont typeface="Wingdings" pitchFamily="2" charset="2"/>
              <a:buNone/>
              <a:defRPr lang="en-US" sz="1428" kern="1200" dirty="0">
                <a:solidFill>
                  <a:srgbClr val="737373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466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322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983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644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305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967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628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289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394903" y="4305809"/>
            <a:ext cx="5597871" cy="588872"/>
          </a:xfrm>
        </p:spPr>
        <p:txBody>
          <a:bodyPr>
            <a:noAutofit/>
          </a:bodyPr>
          <a:lstStyle>
            <a:lvl1pPr marL="0" indent="0">
              <a:buNone/>
              <a:defRPr lang="en-US" sz="1428" kern="1200" dirty="0" smtClean="0">
                <a:solidFill>
                  <a:srgbClr val="737373">
                    <a:alpha val="99000"/>
                  </a:srgb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</a:lstStyle>
          <a:p>
            <a:pPr marL="0" lvl="0" indent="0" algn="l" defTabSz="932239" rtl="0" eaLnBrk="1" latinLnBrk="0" hangingPunct="1">
              <a:spcBef>
                <a:spcPts val="0"/>
              </a:spcBef>
              <a:spcAft>
                <a:spcPts val="612"/>
              </a:spcAft>
              <a:buSzPct val="90000"/>
              <a:buFont typeface="Wingdings" pitchFamily="2" charset="2"/>
              <a:buNone/>
            </a:pPr>
            <a:r>
              <a:rPr lang="en-US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0629" y="6217275"/>
            <a:ext cx="2508028" cy="736757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369517" y="2311843"/>
            <a:ext cx="5597871" cy="1499289"/>
          </a:xfrm>
        </p:spPr>
        <p:txBody>
          <a:bodyPr anchor="b"/>
          <a:lstStyle>
            <a:lvl1pPr algn="l">
              <a:defRPr sz="4080" spc="0">
                <a:solidFill>
                  <a:srgbClr val="737373"/>
                </a:solidFill>
              </a:defRPr>
            </a:lvl1pPr>
          </a:lstStyle>
          <a:p>
            <a:r>
              <a:rPr lang="en-US"/>
              <a:t/>
            </a:r>
            <a:br>
              <a:rPr lang="en-US"/>
            </a:br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26509397"/>
      </p:ext>
    </p:extLst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2" y="0"/>
            <a:ext cx="6218239" cy="6994525"/>
          </a:xfrm>
          <a:prstGeom prst="rect">
            <a:avLst/>
          </a:prstGeom>
          <a:solidFill>
            <a:srgbClr val="E6E6E6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16" tIns="46616" rIns="46616" bIns="46616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19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31798" y="3041122"/>
            <a:ext cx="5454853" cy="727357"/>
          </a:xfrm>
        </p:spPr>
        <p:txBody>
          <a:bodyPr anchor="t"/>
          <a:lstStyle>
            <a:lvl1pPr algn="l">
              <a:defRPr sz="4896" b="0" cap="none" spc="0" baseline="0">
                <a:solidFill>
                  <a:srgbClr val="737373">
                    <a:alpha val="99000"/>
                  </a:srgbClr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31798" y="3871127"/>
            <a:ext cx="5467687" cy="384262"/>
          </a:xfrm>
        </p:spPr>
        <p:txBody>
          <a:bodyPr anchor="t"/>
          <a:lstStyle>
            <a:lvl1pPr marL="0" indent="0" algn="l">
              <a:buNone/>
              <a:defRPr sz="2040">
                <a:solidFill>
                  <a:srgbClr val="737373">
                    <a:alpha val="99000"/>
                  </a:srgbClr>
                </a:solidFill>
              </a:defRPr>
            </a:lvl1pPr>
            <a:lvl2pPr marL="466120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239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35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4477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059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671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283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2895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0"/>
          </p:nvPr>
        </p:nvSpPr>
        <p:spPr>
          <a:xfrm>
            <a:off x="531798" y="4356699"/>
            <a:ext cx="5467687" cy="384262"/>
          </a:xfrm>
        </p:spPr>
        <p:txBody>
          <a:bodyPr anchor="t"/>
          <a:lstStyle>
            <a:lvl1pPr marL="0" indent="0" algn="l">
              <a:buNone/>
              <a:defRPr sz="2040">
                <a:solidFill>
                  <a:srgbClr val="737373">
                    <a:alpha val="99000"/>
                  </a:srgbClr>
                </a:solidFill>
              </a:defRPr>
            </a:lvl1pPr>
            <a:lvl2pPr marL="466120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2pPr>
            <a:lvl3pPr marL="932239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398358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4pPr>
            <a:lvl5pPr marL="1864477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5pPr>
            <a:lvl6pPr marL="233059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6pPr>
            <a:lvl7pPr marL="2796716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7pPr>
            <a:lvl8pPr marL="3262835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8pPr>
            <a:lvl9pPr marL="3728953" indent="0">
              <a:buNone/>
              <a:defRPr sz="142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6762475" y="1165754"/>
            <a:ext cx="3032180" cy="388585"/>
          </a:xfrm>
        </p:spPr>
        <p:txBody>
          <a:bodyPr/>
          <a:lstStyle>
            <a:lvl1pPr marL="0" indent="0">
              <a:buFontTx/>
              <a:buNone/>
              <a:defRPr sz="2550" baseline="0">
                <a:latin typeface="+mj-lt"/>
              </a:defRPr>
            </a:lvl1pPr>
          </a:lstStyle>
          <a:p>
            <a:pPr lvl="0"/>
            <a:r>
              <a:rPr lang="en-US" sz="2550">
                <a:latin typeface="+mj-lt"/>
              </a:rPr>
              <a:t>Agenda Item 01</a:t>
            </a:r>
            <a:endParaRPr lang="en-US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6762475" y="1656344"/>
            <a:ext cx="3032180" cy="364299"/>
          </a:xfrm>
        </p:spPr>
        <p:txBody>
          <a:bodyPr/>
          <a:lstStyle>
            <a:lvl1pPr marL="0" indent="0">
              <a:buFontTx/>
              <a:buNone/>
              <a:defRPr sz="1836"/>
            </a:lvl1pPr>
          </a:lstStyle>
          <a:p>
            <a:pPr lvl="0"/>
            <a:r>
              <a:rPr lang="en-US" sz="1836"/>
              <a:t>Presenter</a:t>
            </a:r>
            <a:endParaRPr lang="en-US"/>
          </a:p>
        </p:txBody>
      </p:sp>
      <p:sp>
        <p:nvSpPr>
          <p:cNvPr id="66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6762475" y="2179310"/>
            <a:ext cx="3032180" cy="388585"/>
          </a:xfrm>
        </p:spPr>
        <p:txBody>
          <a:bodyPr/>
          <a:lstStyle>
            <a:lvl1pPr marL="0" indent="0">
              <a:buFontTx/>
              <a:buNone/>
              <a:defRPr sz="2550" baseline="0">
                <a:latin typeface="+mj-lt"/>
              </a:defRPr>
            </a:lvl1pPr>
          </a:lstStyle>
          <a:p>
            <a:pPr lvl="0"/>
            <a:r>
              <a:rPr lang="en-US" sz="2550">
                <a:latin typeface="+mj-lt"/>
              </a:rPr>
              <a:t>Agenda Item 02</a:t>
            </a:r>
            <a:endParaRPr lang="en-US"/>
          </a:p>
        </p:txBody>
      </p:sp>
      <p:sp>
        <p:nvSpPr>
          <p:cNvPr id="67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6762475" y="2669898"/>
            <a:ext cx="3032180" cy="364299"/>
          </a:xfrm>
        </p:spPr>
        <p:txBody>
          <a:bodyPr/>
          <a:lstStyle>
            <a:lvl1pPr marL="0" indent="0">
              <a:buFontTx/>
              <a:buNone/>
              <a:defRPr sz="1836"/>
            </a:lvl1pPr>
          </a:lstStyle>
          <a:p>
            <a:pPr lvl="0"/>
            <a:r>
              <a:rPr lang="en-US" sz="1836"/>
              <a:t>Presenter</a:t>
            </a:r>
            <a:endParaRPr lang="en-US"/>
          </a:p>
        </p:txBody>
      </p:sp>
      <p:sp>
        <p:nvSpPr>
          <p:cNvPr id="68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6762475" y="3186397"/>
            <a:ext cx="3032180" cy="388585"/>
          </a:xfrm>
        </p:spPr>
        <p:txBody>
          <a:bodyPr/>
          <a:lstStyle>
            <a:lvl1pPr marL="0" indent="0">
              <a:buFontTx/>
              <a:buNone/>
              <a:defRPr sz="2550" baseline="0">
                <a:latin typeface="+mj-lt"/>
              </a:defRPr>
            </a:lvl1pPr>
          </a:lstStyle>
          <a:p>
            <a:pPr lvl="0"/>
            <a:r>
              <a:rPr lang="en-US" sz="2550">
                <a:latin typeface="+mj-lt"/>
              </a:rPr>
              <a:t>Agenda Item 03</a:t>
            </a:r>
            <a:endParaRPr lang="en-US"/>
          </a:p>
        </p:txBody>
      </p:sp>
      <p:sp>
        <p:nvSpPr>
          <p:cNvPr id="69" name="Text Placehold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6762475" y="3676982"/>
            <a:ext cx="3032180" cy="364299"/>
          </a:xfrm>
        </p:spPr>
        <p:txBody>
          <a:bodyPr/>
          <a:lstStyle>
            <a:lvl1pPr marL="0" indent="0">
              <a:buFontTx/>
              <a:buNone/>
              <a:defRPr sz="1836"/>
            </a:lvl1pPr>
          </a:lstStyle>
          <a:p>
            <a:pPr lvl="0"/>
            <a:r>
              <a:rPr lang="en-US" sz="1836"/>
              <a:t>Presenter</a:t>
            </a:r>
            <a:endParaRPr lang="en-US"/>
          </a:p>
        </p:txBody>
      </p:sp>
      <p:sp>
        <p:nvSpPr>
          <p:cNvPr id="70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6762475" y="4143286"/>
            <a:ext cx="3032180" cy="388585"/>
          </a:xfrm>
        </p:spPr>
        <p:txBody>
          <a:bodyPr/>
          <a:lstStyle>
            <a:lvl1pPr marL="0" indent="0">
              <a:buFontTx/>
              <a:buNone/>
              <a:defRPr sz="2550" baseline="0">
                <a:latin typeface="+mj-lt"/>
              </a:defRPr>
            </a:lvl1pPr>
          </a:lstStyle>
          <a:p>
            <a:pPr lvl="0"/>
            <a:r>
              <a:rPr lang="en-US" sz="2550">
                <a:latin typeface="+mj-lt"/>
              </a:rPr>
              <a:t>Agenda Item 04</a:t>
            </a:r>
            <a:endParaRPr lang="en-US"/>
          </a:p>
        </p:txBody>
      </p:sp>
      <p:sp>
        <p:nvSpPr>
          <p:cNvPr id="71" name="Text Placeholder 14"/>
          <p:cNvSpPr>
            <a:spLocks noGrp="1"/>
          </p:cNvSpPr>
          <p:nvPr>
            <p:ph type="body" sz="quarter" idx="18" hasCustomPrompt="1"/>
          </p:nvPr>
        </p:nvSpPr>
        <p:spPr>
          <a:xfrm>
            <a:off x="6762475" y="4633874"/>
            <a:ext cx="3032180" cy="364299"/>
          </a:xfrm>
        </p:spPr>
        <p:txBody>
          <a:bodyPr/>
          <a:lstStyle>
            <a:lvl1pPr marL="0" indent="0">
              <a:buFontTx/>
              <a:buNone/>
              <a:defRPr sz="1836"/>
            </a:lvl1pPr>
          </a:lstStyle>
          <a:p>
            <a:pPr lvl="0"/>
            <a:r>
              <a:rPr lang="en-US" sz="1836"/>
              <a:t>Presenter</a:t>
            </a:r>
            <a:endParaRPr lang="en-US"/>
          </a:p>
        </p:txBody>
      </p:sp>
      <p:sp>
        <p:nvSpPr>
          <p:cNvPr id="72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6762475" y="5100173"/>
            <a:ext cx="3032180" cy="388585"/>
          </a:xfrm>
        </p:spPr>
        <p:txBody>
          <a:bodyPr/>
          <a:lstStyle>
            <a:lvl1pPr marL="0" indent="0">
              <a:buFontTx/>
              <a:buNone/>
              <a:defRPr sz="2550" baseline="0">
                <a:latin typeface="+mj-lt"/>
              </a:defRPr>
            </a:lvl1pPr>
          </a:lstStyle>
          <a:p>
            <a:pPr lvl="0"/>
            <a:r>
              <a:rPr lang="en-US" sz="2550">
                <a:latin typeface="+mj-lt"/>
              </a:rPr>
              <a:t>Agenda Item 05</a:t>
            </a:r>
            <a:endParaRPr lang="en-US"/>
          </a:p>
        </p:txBody>
      </p:sp>
      <p:sp>
        <p:nvSpPr>
          <p:cNvPr id="73" name="Text Placeholder 14"/>
          <p:cNvSpPr>
            <a:spLocks noGrp="1"/>
          </p:cNvSpPr>
          <p:nvPr>
            <p:ph type="body" sz="quarter" idx="20" hasCustomPrompt="1"/>
          </p:nvPr>
        </p:nvSpPr>
        <p:spPr>
          <a:xfrm>
            <a:off x="6762475" y="5590761"/>
            <a:ext cx="3032180" cy="364299"/>
          </a:xfrm>
        </p:spPr>
        <p:txBody>
          <a:bodyPr/>
          <a:lstStyle>
            <a:lvl1pPr marL="0" indent="0">
              <a:buFontTx/>
              <a:buNone/>
              <a:defRPr sz="1836"/>
            </a:lvl1pPr>
          </a:lstStyle>
          <a:p>
            <a:pPr lvl="0"/>
            <a:r>
              <a:rPr lang="en-US" sz="1836"/>
              <a:t>Presente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0429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  <p15:guide id="3" pos="4175">
          <p15:clr>
            <a:srgbClr val="FBAE40"/>
          </p15:clr>
        </p15:guide>
        <p15:guide id="4" orient="horz" pos="720">
          <p15:clr>
            <a:srgbClr val="FBAE40"/>
          </p15:clr>
        </p15:guide>
        <p15:guide id="5" orient="horz" pos="1008">
          <p15:clr>
            <a:srgbClr val="FBAE40"/>
          </p15:clr>
        </p15:guide>
        <p15:guide id="6" orient="horz" pos="1392">
          <p15:clr>
            <a:srgbClr val="FBAE40"/>
          </p15:clr>
        </p15:guide>
        <p15:guide id="7" orient="horz" pos="1584">
          <p15:clr>
            <a:srgbClr val="FBAE40"/>
          </p15:clr>
        </p15:guide>
      </p15:sldGuideLst>
    </p:ext>
  </p:extLst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Lifestyl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8111" y="1068075"/>
            <a:ext cx="3223236" cy="1789250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3672" spc="0">
                <a:latin typeface="+mj-lt"/>
              </a:defRPr>
            </a:lvl1pPr>
          </a:lstStyle>
          <a:p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ed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t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erspiciati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</a:t>
            </a:r>
            <a:endParaRPr lang="en-GB">
              <a:solidFill>
                <a:srgbClr val="737373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8111" y="2804883"/>
            <a:ext cx="3223236" cy="3855782"/>
          </a:xfrm>
        </p:spPr>
        <p:txBody>
          <a:bodyPr wrap="square" numCol="1">
            <a:spAutoFit/>
          </a:bodyPr>
          <a:lstStyle>
            <a:lvl1pPr marL="181233" indent="-181233" algn="l">
              <a:lnSpc>
                <a:spcPct val="120000"/>
              </a:lnSpc>
              <a:buFont typeface="Arial" charset="0"/>
              <a:buChar char="•"/>
              <a:defRPr sz="1530"/>
            </a:lvl1pPr>
          </a:lstStyle>
          <a:p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lor</a:t>
            </a:r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sit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met</a:t>
            </a:r>
            <a:endParaRPr lang="en-GB" b="1">
              <a:solidFill>
                <a:srgbClr val="737373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r>
              <a:rPr lang="en-GB" err="1">
                <a:solidFill>
                  <a:srgbClr val="737373"/>
                </a:solidFill>
                <a:latin typeface="+mj-lt"/>
              </a:rPr>
              <a:t>Consetetu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adipscing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litr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nonumy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irmo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tempo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invidun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u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labore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</a:t>
            </a:r>
            <a:r>
              <a:rPr lang="en-GB">
                <a:solidFill>
                  <a:srgbClr val="737373"/>
                </a:solidFill>
                <a:latin typeface="+mj-lt"/>
              </a:rPr>
              <a:t> magna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liquy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rat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oluptua</a:t>
            </a:r>
            <a:r>
              <a:rPr lang="en-GB">
                <a:solidFill>
                  <a:srgbClr val="737373"/>
                </a:solidFill>
                <a:latin typeface="+mj-lt"/>
              </a:rPr>
              <a:t>. A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ero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o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ccusam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justo</a:t>
            </a:r>
            <a:r>
              <a:rPr lang="en-GB">
                <a:solidFill>
                  <a:srgbClr val="737373"/>
                </a:solidFill>
                <a:latin typeface="+mj-lt"/>
              </a:rPr>
              <a:t> duo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a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rebum</a:t>
            </a:r>
            <a:r>
              <a:rPr lang="en-GB">
                <a:solidFill>
                  <a:srgbClr val="737373"/>
                </a:solidFill>
                <a:latin typeface="+mj-lt"/>
              </a:rPr>
              <a:t>. </a:t>
            </a:r>
          </a:p>
          <a:p>
            <a:pPr marL="177697" indent="-177697">
              <a:buFont typeface="Arial" charset="0"/>
              <a:buChar char="•"/>
            </a:pPr>
            <a:endParaRPr lang="en-GB">
              <a:solidFill>
                <a:srgbClr val="737373"/>
              </a:solidFill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26263" y="0"/>
            <a:ext cx="8210212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523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_Lifestyl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erson standing in a kitchen preparing food&#10;&#10;Description generated with high confidence">
            <a:extLst>
              <a:ext uri="{FF2B5EF4-FFF2-40B4-BE49-F238E27FC236}">
                <a16:creationId xmlns:a16="http://schemas.microsoft.com/office/drawing/2014/main" id="{F4E86CAB-B8F0-4798-AA3E-681792D8FE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83" r="9000"/>
          <a:stretch/>
        </p:blipFill>
        <p:spPr>
          <a:xfrm>
            <a:off x="4226263" y="0"/>
            <a:ext cx="8210212" cy="6994525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8111" y="1068900"/>
            <a:ext cx="3223236" cy="1787605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3672" spc="0">
                <a:latin typeface="+mj-lt"/>
              </a:defRPr>
            </a:lvl1pPr>
          </a:lstStyle>
          <a:p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ed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t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erspiciati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</a:t>
            </a:r>
            <a:endParaRPr lang="en-GB">
              <a:solidFill>
                <a:srgbClr val="737373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8111" y="2804886"/>
            <a:ext cx="3223236" cy="3890966"/>
          </a:xfrm>
        </p:spPr>
        <p:txBody>
          <a:bodyPr wrap="square" numCol="1">
            <a:spAutoFit/>
          </a:bodyPr>
          <a:lstStyle>
            <a:lvl1pPr marL="181233" indent="-181233" algn="l">
              <a:lnSpc>
                <a:spcPct val="120000"/>
              </a:lnSpc>
              <a:buFont typeface="Arial" charset="0"/>
              <a:buChar char="•"/>
              <a:defRPr sz="1530"/>
            </a:lvl1pPr>
          </a:lstStyle>
          <a:p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lor</a:t>
            </a:r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sit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met</a:t>
            </a:r>
            <a:endParaRPr lang="en-GB" b="1">
              <a:solidFill>
                <a:srgbClr val="737373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r>
              <a:rPr lang="en-GB" err="1">
                <a:solidFill>
                  <a:srgbClr val="737373"/>
                </a:solidFill>
                <a:latin typeface="+mj-lt"/>
              </a:rPr>
              <a:t>Consetetu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adipscing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litr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nonumy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irmo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tempo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invidun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u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labore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</a:t>
            </a:r>
            <a:r>
              <a:rPr lang="en-GB">
                <a:solidFill>
                  <a:srgbClr val="737373"/>
                </a:solidFill>
                <a:latin typeface="+mj-lt"/>
              </a:rPr>
              <a:t> magna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liquy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rat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oluptua</a:t>
            </a:r>
            <a:r>
              <a:rPr lang="en-GB">
                <a:solidFill>
                  <a:srgbClr val="737373"/>
                </a:solidFill>
                <a:latin typeface="+mj-lt"/>
              </a:rPr>
              <a:t>. A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ero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o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ccusam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justo</a:t>
            </a:r>
            <a:r>
              <a:rPr lang="en-GB">
                <a:solidFill>
                  <a:srgbClr val="737373"/>
                </a:solidFill>
                <a:latin typeface="+mj-lt"/>
              </a:rPr>
              <a:t> duo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a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rebum</a:t>
            </a:r>
            <a:r>
              <a:rPr lang="en-GB">
                <a:solidFill>
                  <a:srgbClr val="737373"/>
                </a:solidFill>
                <a:latin typeface="+mj-lt"/>
              </a:rPr>
              <a:t>. </a:t>
            </a:r>
          </a:p>
          <a:p>
            <a:pPr marL="177697" indent="-177697">
              <a:buFont typeface="Arial" charset="0"/>
              <a:buChar char="•"/>
            </a:pPr>
            <a:endParaRPr lang="en-GB">
              <a:solidFill>
                <a:srgbClr val="737373"/>
              </a:solidFill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541235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DBE80F-0F99-4562-974C-163FCAEA97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627" y="372394"/>
            <a:ext cx="10726460" cy="135195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800C541-4E07-4CA5-8001-59E0909846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56628" y="1714631"/>
            <a:ext cx="5261211" cy="840314"/>
          </a:xfrm>
        </p:spPr>
        <p:txBody>
          <a:bodyPr anchor="b"/>
          <a:lstStyle>
            <a:lvl1pPr marL="0" indent="0">
              <a:buNone/>
              <a:defRPr sz="2448" b="1"/>
            </a:lvl1pPr>
            <a:lvl2pPr marL="466298" indent="0">
              <a:buNone/>
              <a:defRPr sz="2040" b="1"/>
            </a:lvl2pPr>
            <a:lvl3pPr marL="932597" indent="0">
              <a:buNone/>
              <a:defRPr sz="1836" b="1"/>
            </a:lvl3pPr>
            <a:lvl4pPr marL="1398895" indent="0">
              <a:buNone/>
              <a:defRPr sz="1632" b="1"/>
            </a:lvl4pPr>
            <a:lvl5pPr marL="1865193" indent="0">
              <a:buNone/>
              <a:defRPr sz="1632" b="1"/>
            </a:lvl5pPr>
            <a:lvl6pPr marL="2331491" indent="0">
              <a:buNone/>
              <a:defRPr sz="1632" b="1"/>
            </a:lvl6pPr>
            <a:lvl7pPr marL="2797790" indent="0">
              <a:buNone/>
              <a:defRPr sz="1632" b="1"/>
            </a:lvl7pPr>
            <a:lvl8pPr marL="3264088" indent="0">
              <a:buNone/>
              <a:defRPr sz="1632" b="1"/>
            </a:lvl8pPr>
            <a:lvl9pPr marL="3730386" indent="0">
              <a:buNone/>
              <a:defRPr sz="1632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5D8E629-13A1-4CDA-8DEC-BF5A36C5F56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56628" y="2554944"/>
            <a:ext cx="5261211" cy="37579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A453BCD-BC13-4BEC-88A8-0B6DDFA38F5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95965" y="1714631"/>
            <a:ext cx="5287122" cy="840314"/>
          </a:xfrm>
        </p:spPr>
        <p:txBody>
          <a:bodyPr anchor="b"/>
          <a:lstStyle>
            <a:lvl1pPr marL="0" indent="0">
              <a:buNone/>
              <a:defRPr sz="2448" b="1"/>
            </a:lvl1pPr>
            <a:lvl2pPr marL="466298" indent="0">
              <a:buNone/>
              <a:defRPr sz="2040" b="1"/>
            </a:lvl2pPr>
            <a:lvl3pPr marL="932597" indent="0">
              <a:buNone/>
              <a:defRPr sz="1836" b="1"/>
            </a:lvl3pPr>
            <a:lvl4pPr marL="1398895" indent="0">
              <a:buNone/>
              <a:defRPr sz="1632" b="1"/>
            </a:lvl4pPr>
            <a:lvl5pPr marL="1865193" indent="0">
              <a:buNone/>
              <a:defRPr sz="1632" b="1"/>
            </a:lvl5pPr>
            <a:lvl6pPr marL="2331491" indent="0">
              <a:buNone/>
              <a:defRPr sz="1632" b="1"/>
            </a:lvl6pPr>
            <a:lvl7pPr marL="2797790" indent="0">
              <a:buNone/>
              <a:defRPr sz="1632" b="1"/>
            </a:lvl7pPr>
            <a:lvl8pPr marL="3264088" indent="0">
              <a:buNone/>
              <a:defRPr sz="1632" b="1"/>
            </a:lvl8pPr>
            <a:lvl9pPr marL="3730386" indent="0">
              <a:buNone/>
              <a:defRPr sz="1632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3A4DEBE-B4E6-4FFB-A41E-65B22E652B2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95965" y="2554944"/>
            <a:ext cx="5287122" cy="37579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EF1D64E-F38B-4175-BBE9-C749125CA5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47F7F1-0E89-4D7B-8516-36A4AC75346A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E7E23C9-3562-4BC1-AC4F-6AE3FBECEB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DFCFB7A-EB70-4FE5-9751-F2C600673C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792400-19F6-4B13-9EA1-2A330825251F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39684024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rface Hub Screen Capture 16:9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/>
          <a:srcRect l="19581" r="20912"/>
          <a:stretch/>
        </p:blipFill>
        <p:spPr>
          <a:xfrm>
            <a:off x="1" y="855267"/>
            <a:ext cx="6493397" cy="613925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11"/>
          <p:cNvSpPr>
            <a:spLocks noGrp="1"/>
          </p:cNvSpPr>
          <p:nvPr>
            <p:ph sz="quarter" idx="13"/>
          </p:nvPr>
        </p:nvSpPr>
        <p:spPr>
          <a:xfrm>
            <a:off x="6759617" y="1592263"/>
            <a:ext cx="5287922" cy="5029200"/>
          </a:xfrm>
        </p:spPr>
        <p:txBody>
          <a:bodyPr/>
          <a:lstStyle>
            <a:lvl1pPr>
              <a:spcBef>
                <a:spcPts val="1199"/>
              </a:spcBef>
              <a:defRPr sz="1599"/>
            </a:lvl1pPr>
            <a:lvl2pPr>
              <a:defRPr sz="1399"/>
            </a:lvl2pPr>
            <a:lvl3pPr>
              <a:defRPr sz="1399"/>
            </a:lvl3pPr>
            <a:lvl4pPr>
              <a:defRPr sz="1399"/>
            </a:lvl4pPr>
            <a:lvl5pPr>
              <a:defRPr sz="1399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Picture Placeholder 8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830335" y="1592264"/>
            <a:ext cx="4948674" cy="2780076"/>
          </a:xfrm>
          <a:solidFill>
            <a:srgbClr val="00172A"/>
          </a:solidFill>
        </p:spPr>
        <p:txBody>
          <a:bodyPr tIns="0" rIns="0" bIns="1097280" anchor="b"/>
          <a:lstStyle>
            <a:lvl1pPr algn="ctr">
              <a:defRPr sz="1800" baseline="0"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Paste full screen grab here (16:9 aspect ratio)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88939" y="855664"/>
            <a:ext cx="3129278" cy="470856"/>
          </a:xfrm>
        </p:spPr>
        <p:txBody>
          <a:bodyPr wrap="none">
            <a:spAutoFit/>
          </a:bodyPr>
          <a:lstStyle>
            <a:lvl1pPr>
              <a:defRPr lang="en-US" sz="2400" kern="1200" baseline="0" dirty="0">
                <a:gradFill>
                  <a:gsLst>
                    <a:gs pos="2917">
                      <a:schemeClr val="tx1">
                        <a:lumMod val="75000"/>
                      </a:schemeClr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pPr marL="0" lvl="0" indent="0" algn="l" defTabSz="932418" rtl="0" eaLnBrk="1" latinLnBrk="0" hangingPunct="1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9DE2E20-C700-4A3A-A890-B84EE414F382}" type="datetime1">
              <a:rPr lang="en-US" smtClean="0"/>
              <a:t>5/7/2021</a:t>
            </a:fld>
            <a:endParaRPr lang="en-US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Pre-release simulated screenshot shown, final experience may differ.</a:t>
            </a:r>
            <a:endParaRPr lang="en-US" dirty="0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373C030-8119-439B-A7A2-330B51F4C00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6706110"/>
      </p:ext>
    </p:extLst>
  </p:cSld>
  <p:clrMapOvr>
    <a:masterClrMapping/>
  </p:clrMapOvr>
  <p:transition>
    <p:fade/>
  </p:transition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_Lifestyl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ACCE4457-5847-43F6-AE71-D70353FE1A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4348" y="-10078"/>
            <a:ext cx="12465173" cy="7010552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8114" y="1350587"/>
            <a:ext cx="5394849" cy="659198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3672" spc="0">
                <a:latin typeface="+mj-lt"/>
              </a:defRPr>
            </a:lvl1pPr>
          </a:lstStyle>
          <a:p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ed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t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erspiciati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</a:t>
            </a:r>
            <a:endParaRPr lang="en-GB">
              <a:solidFill>
                <a:srgbClr val="737373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8112" y="2804883"/>
            <a:ext cx="4906956" cy="3290756"/>
          </a:xfrm>
        </p:spPr>
        <p:txBody>
          <a:bodyPr wrap="square" numCol="1">
            <a:spAutoFit/>
          </a:bodyPr>
          <a:lstStyle>
            <a:lvl1pPr marL="181233" indent="-181233" algn="l">
              <a:lnSpc>
                <a:spcPct val="120000"/>
              </a:lnSpc>
              <a:buFont typeface="Arial" charset="0"/>
              <a:buChar char="•"/>
              <a:defRPr sz="1530"/>
            </a:lvl1pPr>
          </a:lstStyle>
          <a:p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lor</a:t>
            </a:r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sit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met</a:t>
            </a:r>
            <a:endParaRPr lang="en-GB" b="1">
              <a:solidFill>
                <a:srgbClr val="737373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r>
              <a:rPr lang="en-GB" err="1">
                <a:solidFill>
                  <a:srgbClr val="737373"/>
                </a:solidFill>
                <a:latin typeface="+mj-lt"/>
              </a:rPr>
              <a:t>Consetetu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adipscing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litr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nonumy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irmo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tempo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invidun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u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labore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</a:t>
            </a:r>
            <a:r>
              <a:rPr lang="en-GB">
                <a:solidFill>
                  <a:srgbClr val="737373"/>
                </a:solidFill>
                <a:latin typeface="+mj-lt"/>
              </a:rPr>
              <a:t> magna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liquy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rat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oluptua</a:t>
            </a:r>
            <a:r>
              <a:rPr lang="en-GB">
                <a:solidFill>
                  <a:srgbClr val="737373"/>
                </a:solidFill>
                <a:latin typeface="+mj-lt"/>
              </a:rPr>
              <a:t>. A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ero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o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ccusam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justo</a:t>
            </a:r>
            <a:r>
              <a:rPr lang="en-GB">
                <a:solidFill>
                  <a:srgbClr val="737373"/>
                </a:solidFill>
                <a:latin typeface="+mj-lt"/>
              </a:rPr>
              <a:t> duo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a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rebum</a:t>
            </a:r>
            <a:r>
              <a:rPr lang="en-GB">
                <a:solidFill>
                  <a:srgbClr val="737373"/>
                </a:solidFill>
                <a:latin typeface="+mj-lt"/>
              </a:rPr>
              <a:t>. </a:t>
            </a:r>
          </a:p>
          <a:p>
            <a:pPr marL="177697" indent="-177697">
              <a:buFont typeface="Arial" charset="0"/>
              <a:buChar char="•"/>
            </a:pPr>
            <a:endParaRPr lang="en-GB">
              <a:solidFill>
                <a:srgbClr val="737373"/>
              </a:solidFill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40624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_Lifestyl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98273FE-ED59-4105-BC3C-7EB7E84A07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14"/>
            <a:ext cx="12436472" cy="6993497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8114" y="1350587"/>
            <a:ext cx="5394849" cy="659198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3672" spc="0">
                <a:latin typeface="+mj-lt"/>
              </a:defRPr>
            </a:lvl1pPr>
          </a:lstStyle>
          <a:p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ed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t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erspiciati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</a:t>
            </a:r>
            <a:endParaRPr lang="en-GB">
              <a:solidFill>
                <a:srgbClr val="737373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8112" y="2804883"/>
            <a:ext cx="4906956" cy="3290756"/>
          </a:xfrm>
        </p:spPr>
        <p:txBody>
          <a:bodyPr wrap="square" numCol="1">
            <a:spAutoFit/>
          </a:bodyPr>
          <a:lstStyle>
            <a:lvl1pPr marL="181233" indent="-181233" algn="l">
              <a:lnSpc>
                <a:spcPct val="120000"/>
              </a:lnSpc>
              <a:buFont typeface="Arial" charset="0"/>
              <a:buChar char="•"/>
              <a:defRPr sz="1530"/>
            </a:lvl1pPr>
          </a:lstStyle>
          <a:p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lor</a:t>
            </a:r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sit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met</a:t>
            </a:r>
            <a:endParaRPr lang="en-GB" b="1">
              <a:solidFill>
                <a:srgbClr val="737373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r>
              <a:rPr lang="en-GB" err="1">
                <a:solidFill>
                  <a:srgbClr val="737373"/>
                </a:solidFill>
                <a:latin typeface="+mj-lt"/>
              </a:rPr>
              <a:t>Consetetu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adipscing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litr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nonumy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irmo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tempo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invidun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u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labore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</a:t>
            </a:r>
            <a:r>
              <a:rPr lang="en-GB">
                <a:solidFill>
                  <a:srgbClr val="737373"/>
                </a:solidFill>
                <a:latin typeface="+mj-lt"/>
              </a:rPr>
              <a:t> magna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liquy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rat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oluptua</a:t>
            </a:r>
            <a:r>
              <a:rPr lang="en-GB">
                <a:solidFill>
                  <a:srgbClr val="737373"/>
                </a:solidFill>
                <a:latin typeface="+mj-lt"/>
              </a:rPr>
              <a:t>. A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ero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o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ccusam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justo</a:t>
            </a:r>
            <a:r>
              <a:rPr lang="en-GB">
                <a:solidFill>
                  <a:srgbClr val="737373"/>
                </a:solidFill>
                <a:latin typeface="+mj-lt"/>
              </a:rPr>
              <a:t> duo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a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rebum</a:t>
            </a:r>
            <a:r>
              <a:rPr lang="en-GB">
                <a:solidFill>
                  <a:srgbClr val="737373"/>
                </a:solidFill>
                <a:latin typeface="+mj-lt"/>
              </a:rPr>
              <a:t>. </a:t>
            </a:r>
          </a:p>
          <a:p>
            <a:pPr marL="177697" indent="-177697">
              <a:buFont typeface="Arial" charset="0"/>
              <a:buChar char="•"/>
            </a:pPr>
            <a:endParaRPr lang="en-GB">
              <a:solidFill>
                <a:srgbClr val="737373"/>
              </a:solidFill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175062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Lifestyl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indoor, person, wall, floor&#10;&#10;Description generated with very high confidence">
            <a:extLst>
              <a:ext uri="{FF2B5EF4-FFF2-40B4-BE49-F238E27FC236}">
                <a16:creationId xmlns:a16="http://schemas.microsoft.com/office/drawing/2014/main" id="{5B17CEA1-E0D1-4041-9A6D-82A62918879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21787"/>
          <a:stretch/>
        </p:blipFill>
        <p:spPr>
          <a:xfrm>
            <a:off x="4226266" y="0"/>
            <a:ext cx="8210211" cy="6994525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88111" y="1068077"/>
            <a:ext cx="3223236" cy="1787605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3672" spc="0">
                <a:latin typeface="+mj-lt"/>
              </a:defRPr>
            </a:lvl1pPr>
          </a:lstStyle>
          <a:p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ed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t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erspiciati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</a:t>
            </a:r>
            <a:endParaRPr lang="en-GB">
              <a:solidFill>
                <a:srgbClr val="737373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388111" y="2804886"/>
            <a:ext cx="3223236" cy="3890966"/>
          </a:xfrm>
        </p:spPr>
        <p:txBody>
          <a:bodyPr wrap="square" numCol="1">
            <a:spAutoFit/>
          </a:bodyPr>
          <a:lstStyle>
            <a:lvl1pPr marL="181233" indent="-181233" algn="l">
              <a:lnSpc>
                <a:spcPct val="120000"/>
              </a:lnSpc>
              <a:buFont typeface="Arial" charset="0"/>
              <a:buChar char="•"/>
              <a:defRPr sz="1530"/>
            </a:lvl1pPr>
          </a:lstStyle>
          <a:p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lor</a:t>
            </a:r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sit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met</a:t>
            </a:r>
            <a:endParaRPr lang="en-GB" b="1">
              <a:solidFill>
                <a:srgbClr val="737373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r>
              <a:rPr lang="en-GB" err="1">
                <a:solidFill>
                  <a:srgbClr val="737373"/>
                </a:solidFill>
                <a:latin typeface="+mj-lt"/>
              </a:rPr>
              <a:t>Consetetu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adipscing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litr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nonumy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irmo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tempo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invidun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u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labore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</a:t>
            </a:r>
            <a:r>
              <a:rPr lang="en-GB">
                <a:solidFill>
                  <a:srgbClr val="737373"/>
                </a:solidFill>
                <a:latin typeface="+mj-lt"/>
              </a:rPr>
              <a:t> magna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liquy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rat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oluptua</a:t>
            </a:r>
            <a:r>
              <a:rPr lang="en-GB">
                <a:solidFill>
                  <a:srgbClr val="737373"/>
                </a:solidFill>
                <a:latin typeface="+mj-lt"/>
              </a:rPr>
              <a:t>. A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ero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o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ccusam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justo</a:t>
            </a:r>
            <a:r>
              <a:rPr lang="en-GB">
                <a:solidFill>
                  <a:srgbClr val="737373"/>
                </a:solidFill>
                <a:latin typeface="+mj-lt"/>
              </a:rPr>
              <a:t> duo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a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rebum</a:t>
            </a:r>
            <a:r>
              <a:rPr lang="en-GB">
                <a:solidFill>
                  <a:srgbClr val="737373"/>
                </a:solidFill>
                <a:latin typeface="+mj-lt"/>
              </a:rPr>
              <a:t>. </a:t>
            </a:r>
          </a:p>
          <a:p>
            <a:pPr marL="177697" indent="-177697">
              <a:buFont typeface="Arial" charset="0"/>
              <a:buChar char="•"/>
            </a:pPr>
            <a:endParaRPr lang="en-GB">
              <a:solidFill>
                <a:srgbClr val="737373"/>
              </a:solidFill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103923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_Lifestyl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03058" y="587011"/>
            <a:ext cx="4821982" cy="565027"/>
          </a:xfrm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defRPr sz="3672" spc="0">
                <a:latin typeface="+mj-lt"/>
              </a:defRPr>
            </a:lvl1pPr>
          </a:lstStyle>
          <a:p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ed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t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erspiciati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</a:t>
            </a:r>
            <a:endParaRPr lang="en-GB">
              <a:solidFill>
                <a:srgbClr val="737373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40658" y="5370034"/>
            <a:ext cx="4978706" cy="348685"/>
          </a:xfrm>
        </p:spPr>
        <p:txBody>
          <a:bodyPr wrap="square" numCol="1">
            <a:spAutoFit/>
          </a:bodyPr>
          <a:lstStyle>
            <a:lvl1pPr marL="0" indent="0" algn="l">
              <a:lnSpc>
                <a:spcPct val="120000"/>
              </a:lnSpc>
              <a:buFont typeface="Arial" charset="0"/>
              <a:buNone/>
              <a:defRPr sz="1530"/>
            </a:lvl1pPr>
          </a:lstStyle>
          <a:p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lor</a:t>
            </a:r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sit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met</a:t>
            </a:r>
            <a:endParaRPr lang="en-GB" b="1">
              <a:solidFill>
                <a:srgbClr val="737373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6086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Lifestyl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156404" y="1407090"/>
            <a:ext cx="4653463" cy="122422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3672" spc="0">
                <a:latin typeface="+mj-lt"/>
                <a:cs typeface="Segoe UI Light" panose="020B0502040204020203" pitchFamily="34" charset="0"/>
              </a:defRPr>
            </a:lvl1pPr>
          </a:lstStyle>
          <a:p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ed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t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erspiciati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</a:t>
            </a:r>
            <a:endParaRPr lang="en-GB">
              <a:solidFill>
                <a:srgbClr val="737373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156406" y="2804886"/>
            <a:ext cx="4653464" cy="3078871"/>
          </a:xfrm>
        </p:spPr>
        <p:txBody>
          <a:bodyPr wrap="square" numCol="1">
            <a:spAutoFit/>
          </a:bodyPr>
          <a:lstStyle>
            <a:lvl1pPr marL="181233" indent="-181233" algn="l">
              <a:lnSpc>
                <a:spcPct val="110000"/>
              </a:lnSpc>
              <a:buFont typeface="Arial" charset="0"/>
              <a:buChar char="•"/>
              <a:defRPr sz="1530">
                <a:latin typeface="+mn-lt"/>
              </a:defRPr>
            </a:lvl1pPr>
          </a:lstStyle>
          <a:p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lor</a:t>
            </a:r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sit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met</a:t>
            </a:r>
            <a:endParaRPr lang="en-GB" b="1">
              <a:solidFill>
                <a:srgbClr val="737373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r>
              <a:rPr lang="en-GB" err="1">
                <a:solidFill>
                  <a:srgbClr val="737373"/>
                </a:solidFill>
                <a:latin typeface="+mj-lt"/>
              </a:rPr>
              <a:t>Consetetu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adipscing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litr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nonumy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irmo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tempo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invidun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u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labore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</a:t>
            </a:r>
            <a:r>
              <a:rPr lang="en-GB">
                <a:solidFill>
                  <a:srgbClr val="737373"/>
                </a:solidFill>
                <a:latin typeface="+mj-lt"/>
              </a:rPr>
              <a:t> magna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liquy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rat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oluptua</a:t>
            </a:r>
            <a:r>
              <a:rPr lang="en-GB">
                <a:solidFill>
                  <a:srgbClr val="737373"/>
                </a:solidFill>
                <a:latin typeface="+mj-lt"/>
              </a:rPr>
              <a:t>. A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ero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o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ccusam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justo</a:t>
            </a:r>
            <a:r>
              <a:rPr lang="en-GB">
                <a:solidFill>
                  <a:srgbClr val="737373"/>
                </a:solidFill>
                <a:latin typeface="+mj-lt"/>
              </a:rPr>
              <a:t> duo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a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rebum</a:t>
            </a:r>
            <a:r>
              <a:rPr lang="en-GB">
                <a:solidFill>
                  <a:srgbClr val="737373"/>
                </a:solidFill>
                <a:latin typeface="+mj-lt"/>
              </a:rPr>
              <a:t>. </a:t>
            </a:r>
          </a:p>
          <a:p>
            <a:pPr marL="177697" indent="-177697">
              <a:buFont typeface="Arial" charset="0"/>
              <a:buChar char="•"/>
            </a:pPr>
            <a:endParaRPr lang="en-GB">
              <a:solidFill>
                <a:srgbClr val="737373"/>
              </a:solidFill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682" r="9114"/>
          <a:stretch/>
        </p:blipFill>
        <p:spPr>
          <a:xfrm>
            <a:off x="0" y="0"/>
            <a:ext cx="6256504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0642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_Lifestyl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156404" y="594393"/>
            <a:ext cx="4653463" cy="1130053"/>
          </a:xfrm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defRPr sz="3672" spc="0">
                <a:latin typeface="+mj-lt"/>
                <a:cs typeface="Segoe UI Light" panose="020B0502040204020203" pitchFamily="34" charset="0"/>
              </a:defRPr>
            </a:lvl1pPr>
          </a:lstStyle>
          <a:p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ed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t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erspiciati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</a:t>
            </a:r>
            <a:endParaRPr lang="en-GB">
              <a:solidFill>
                <a:srgbClr val="737373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156406" y="2525104"/>
            <a:ext cx="4653464" cy="3196585"/>
          </a:xfrm>
        </p:spPr>
        <p:txBody>
          <a:bodyPr wrap="square" lIns="0" tIns="0" rIns="0" bIns="0" numCol="1">
            <a:spAutoFit/>
          </a:bodyPr>
          <a:lstStyle>
            <a:lvl1pPr marL="181233" indent="-181233" algn="l">
              <a:lnSpc>
                <a:spcPct val="120000"/>
              </a:lnSpc>
              <a:buFont typeface="Arial" charset="0"/>
              <a:buChar char="•"/>
              <a:defRPr sz="1530">
                <a:latin typeface="+mn-lt"/>
              </a:defRPr>
            </a:lvl1pPr>
          </a:lstStyle>
          <a:p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lor</a:t>
            </a:r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sit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met</a:t>
            </a:r>
            <a:endParaRPr lang="en-GB" b="1">
              <a:solidFill>
                <a:srgbClr val="737373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r>
              <a:rPr lang="en-GB" err="1">
                <a:solidFill>
                  <a:srgbClr val="737373"/>
                </a:solidFill>
                <a:latin typeface="+mj-lt"/>
              </a:rPr>
              <a:t>Consetetu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adipscing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litr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nonumy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irmo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tempo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invidun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u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labore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</a:t>
            </a:r>
            <a:r>
              <a:rPr lang="en-GB">
                <a:solidFill>
                  <a:srgbClr val="737373"/>
                </a:solidFill>
                <a:latin typeface="+mj-lt"/>
              </a:rPr>
              <a:t> magna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liquy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rat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oluptua</a:t>
            </a:r>
            <a:r>
              <a:rPr lang="en-GB">
                <a:solidFill>
                  <a:srgbClr val="737373"/>
                </a:solidFill>
                <a:latin typeface="+mj-lt"/>
              </a:rPr>
              <a:t>. A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ero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o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ccusam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justo</a:t>
            </a:r>
            <a:r>
              <a:rPr lang="en-GB">
                <a:solidFill>
                  <a:srgbClr val="737373"/>
                </a:solidFill>
                <a:latin typeface="+mj-lt"/>
              </a:rPr>
              <a:t> duo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a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rebum</a:t>
            </a:r>
            <a:r>
              <a:rPr lang="en-GB">
                <a:solidFill>
                  <a:srgbClr val="737373"/>
                </a:solidFill>
                <a:latin typeface="+mj-lt"/>
              </a:rPr>
              <a:t>. </a:t>
            </a:r>
          </a:p>
          <a:p>
            <a:pPr marL="177697" indent="-177697">
              <a:buFont typeface="Arial" charset="0"/>
              <a:buChar char="•"/>
            </a:pPr>
            <a:endParaRPr lang="en-GB">
              <a:solidFill>
                <a:srgbClr val="737373"/>
              </a:solidFill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00730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_Lifestyl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56404" y="594395"/>
            <a:ext cx="4653463" cy="565027"/>
          </a:xfrm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defRPr lang="en-GB" sz="3672" kern="1200" dirty="0">
                <a:solidFill>
                  <a:srgbClr val="737373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</a:lstStyle>
          <a:p>
            <a:endParaRPr lang="en-GB">
              <a:solidFill>
                <a:srgbClr val="737373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156406" y="2525104"/>
            <a:ext cx="4653464" cy="3196585"/>
          </a:xfrm>
        </p:spPr>
        <p:txBody>
          <a:bodyPr wrap="square" lIns="0" tIns="0" rIns="0" bIns="0" numCol="1">
            <a:spAutoFit/>
          </a:bodyPr>
          <a:lstStyle>
            <a:lvl1pPr marL="181233" indent="-181233" algn="l">
              <a:lnSpc>
                <a:spcPct val="120000"/>
              </a:lnSpc>
              <a:buFont typeface="Arial" charset="0"/>
              <a:buChar char="•"/>
              <a:defRPr sz="1530">
                <a:latin typeface="+mn-lt"/>
              </a:defRPr>
            </a:lvl1pPr>
          </a:lstStyle>
          <a:p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lor</a:t>
            </a:r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sit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met</a:t>
            </a:r>
            <a:endParaRPr lang="en-GB" b="1">
              <a:solidFill>
                <a:srgbClr val="737373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r>
              <a:rPr lang="en-GB" err="1">
                <a:solidFill>
                  <a:srgbClr val="737373"/>
                </a:solidFill>
                <a:latin typeface="+mj-lt"/>
              </a:rPr>
              <a:t>Consetetu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adipscing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litr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nonumy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irmo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tempo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invidun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u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labore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</a:t>
            </a:r>
            <a:r>
              <a:rPr lang="en-GB">
                <a:solidFill>
                  <a:srgbClr val="737373"/>
                </a:solidFill>
                <a:latin typeface="+mj-lt"/>
              </a:rPr>
              <a:t> magna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liquy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rat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oluptua</a:t>
            </a:r>
            <a:r>
              <a:rPr lang="en-GB">
                <a:solidFill>
                  <a:srgbClr val="737373"/>
                </a:solidFill>
                <a:latin typeface="+mj-lt"/>
              </a:rPr>
              <a:t>. A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ero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o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ccusam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justo</a:t>
            </a:r>
            <a:r>
              <a:rPr lang="en-GB">
                <a:solidFill>
                  <a:srgbClr val="737373"/>
                </a:solidFill>
                <a:latin typeface="+mj-lt"/>
              </a:rPr>
              <a:t> duo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a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rebum</a:t>
            </a:r>
            <a:r>
              <a:rPr lang="en-GB">
                <a:solidFill>
                  <a:srgbClr val="737373"/>
                </a:solidFill>
                <a:latin typeface="+mj-lt"/>
              </a:rPr>
              <a:t>. </a:t>
            </a:r>
          </a:p>
          <a:p>
            <a:pPr marL="177697" indent="-177697">
              <a:buFont typeface="Arial" charset="0"/>
              <a:buChar char="•"/>
            </a:pPr>
            <a:endParaRPr lang="en-GB">
              <a:solidFill>
                <a:srgbClr val="737373"/>
              </a:solidFill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FB74AE6-A9B2-439A-885A-73701332C88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254" y="2525104"/>
            <a:ext cx="4653464" cy="3196585"/>
          </a:xfrm>
        </p:spPr>
        <p:txBody>
          <a:bodyPr wrap="square" lIns="0" tIns="0" rIns="0" bIns="0" numCol="1">
            <a:spAutoFit/>
          </a:bodyPr>
          <a:lstStyle>
            <a:lvl1pPr marL="181233" indent="-181233" algn="l">
              <a:lnSpc>
                <a:spcPct val="120000"/>
              </a:lnSpc>
              <a:buFont typeface="Arial" charset="0"/>
              <a:buChar char="•"/>
              <a:defRPr sz="1530">
                <a:latin typeface="+mn-lt"/>
              </a:defRPr>
            </a:lvl1pPr>
          </a:lstStyle>
          <a:p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lor</a:t>
            </a:r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sit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met</a:t>
            </a:r>
            <a:endParaRPr lang="en-GB" b="1">
              <a:solidFill>
                <a:srgbClr val="737373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r>
              <a:rPr lang="en-GB" err="1">
                <a:solidFill>
                  <a:srgbClr val="737373"/>
                </a:solidFill>
                <a:latin typeface="+mj-lt"/>
              </a:rPr>
              <a:t>Consetetu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adipscing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litr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nonumy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irmo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tempo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invidun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u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labore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</a:t>
            </a:r>
            <a:r>
              <a:rPr lang="en-GB">
                <a:solidFill>
                  <a:srgbClr val="737373"/>
                </a:solidFill>
                <a:latin typeface="+mj-lt"/>
              </a:rPr>
              <a:t> magna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liquy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rat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oluptua</a:t>
            </a:r>
            <a:r>
              <a:rPr lang="en-GB">
                <a:solidFill>
                  <a:srgbClr val="737373"/>
                </a:solidFill>
                <a:latin typeface="+mj-lt"/>
              </a:rPr>
              <a:t>. A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ero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o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ccusam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justo</a:t>
            </a:r>
            <a:r>
              <a:rPr lang="en-GB">
                <a:solidFill>
                  <a:srgbClr val="737373"/>
                </a:solidFill>
                <a:latin typeface="+mj-lt"/>
              </a:rPr>
              <a:t> duo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a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rebum</a:t>
            </a:r>
            <a:r>
              <a:rPr lang="en-GB">
                <a:solidFill>
                  <a:srgbClr val="737373"/>
                </a:solidFill>
                <a:latin typeface="+mj-lt"/>
              </a:rPr>
              <a:t>. </a:t>
            </a:r>
          </a:p>
          <a:p>
            <a:pPr marL="177697" indent="-177697">
              <a:buFont typeface="Arial" charset="0"/>
              <a:buChar char="•"/>
            </a:pPr>
            <a:endParaRPr lang="en-GB">
              <a:solidFill>
                <a:srgbClr val="737373"/>
              </a:solidFill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4C84B8F-192E-4D00-BEDE-515153E711B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6685" y="647505"/>
            <a:ext cx="4653962" cy="565208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3672"/>
            </a:lvl1pPr>
          </a:lstStyle>
          <a:p>
            <a:pPr lvl="0"/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lick to add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1412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_Lifestyl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27257" y="607716"/>
            <a:ext cx="4653463" cy="1130053"/>
          </a:xfrm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defRPr sz="3672" spc="0">
                <a:latin typeface="+mj-lt"/>
                <a:cs typeface="Segoe UI Light" panose="020B0502040204020203" pitchFamily="34" charset="0"/>
              </a:defRPr>
            </a:lvl1pPr>
          </a:lstStyle>
          <a:p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ed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t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erspiciati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</a:t>
            </a:r>
            <a:endParaRPr lang="en-GB">
              <a:solidFill>
                <a:srgbClr val="737373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27254" y="2578397"/>
            <a:ext cx="4653464" cy="3196585"/>
          </a:xfrm>
        </p:spPr>
        <p:txBody>
          <a:bodyPr wrap="square" lIns="0" tIns="0" rIns="0" bIns="0" numCol="1">
            <a:spAutoFit/>
          </a:bodyPr>
          <a:lstStyle>
            <a:lvl1pPr marL="181233" indent="-181233" algn="l">
              <a:lnSpc>
                <a:spcPct val="120000"/>
              </a:lnSpc>
              <a:buFont typeface="Arial" charset="0"/>
              <a:buChar char="•"/>
              <a:defRPr sz="1530">
                <a:latin typeface="+mn-lt"/>
              </a:defRPr>
            </a:lvl1pPr>
          </a:lstStyle>
          <a:p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lor</a:t>
            </a:r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sit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met</a:t>
            </a:r>
            <a:endParaRPr lang="en-GB" b="1">
              <a:solidFill>
                <a:srgbClr val="737373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r>
              <a:rPr lang="en-GB" err="1">
                <a:solidFill>
                  <a:srgbClr val="737373"/>
                </a:solidFill>
                <a:latin typeface="+mj-lt"/>
              </a:rPr>
              <a:t>Consetetu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adipscing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litr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nonumy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irmo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tempo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invidun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u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labore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</a:t>
            </a:r>
            <a:r>
              <a:rPr lang="en-GB">
                <a:solidFill>
                  <a:srgbClr val="737373"/>
                </a:solidFill>
                <a:latin typeface="+mj-lt"/>
              </a:rPr>
              <a:t> magna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liquy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rat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oluptua</a:t>
            </a:r>
            <a:r>
              <a:rPr lang="en-GB">
                <a:solidFill>
                  <a:srgbClr val="737373"/>
                </a:solidFill>
                <a:latin typeface="+mj-lt"/>
              </a:rPr>
              <a:t>. A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ero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o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ccusam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justo</a:t>
            </a:r>
            <a:r>
              <a:rPr lang="en-GB">
                <a:solidFill>
                  <a:srgbClr val="737373"/>
                </a:solidFill>
                <a:latin typeface="+mj-lt"/>
              </a:rPr>
              <a:t> duo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a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rebum</a:t>
            </a:r>
            <a:r>
              <a:rPr lang="en-GB">
                <a:solidFill>
                  <a:srgbClr val="737373"/>
                </a:solidFill>
                <a:latin typeface="+mj-lt"/>
              </a:rPr>
              <a:t>. </a:t>
            </a:r>
          </a:p>
          <a:p>
            <a:pPr marL="177697" indent="-177697">
              <a:buFont typeface="Arial" charset="0"/>
              <a:buChar char="•"/>
            </a:pPr>
            <a:endParaRPr lang="en-GB">
              <a:solidFill>
                <a:srgbClr val="737373"/>
              </a:solidFill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533392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Lifestyl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156404" y="1407090"/>
            <a:ext cx="4653463" cy="122422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3672" spc="0">
                <a:latin typeface="+mj-lt"/>
                <a:cs typeface="Segoe UI Light" panose="020B0502040204020203" pitchFamily="34" charset="0"/>
              </a:defRPr>
            </a:lvl1pPr>
          </a:lstStyle>
          <a:p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ed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t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erspiciati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</a:t>
            </a:r>
            <a:endParaRPr lang="en-GB">
              <a:solidFill>
                <a:srgbClr val="737373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156406" y="2804886"/>
            <a:ext cx="4653464" cy="3078871"/>
          </a:xfrm>
        </p:spPr>
        <p:txBody>
          <a:bodyPr wrap="square" numCol="1">
            <a:spAutoFit/>
          </a:bodyPr>
          <a:lstStyle>
            <a:lvl1pPr marL="181233" indent="-181233" algn="l">
              <a:lnSpc>
                <a:spcPct val="110000"/>
              </a:lnSpc>
              <a:buFont typeface="Arial" charset="0"/>
              <a:buChar char="•"/>
              <a:defRPr sz="1530">
                <a:latin typeface="+mn-lt"/>
              </a:defRPr>
            </a:lvl1pPr>
          </a:lstStyle>
          <a:p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lor</a:t>
            </a:r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sit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met</a:t>
            </a:r>
            <a:endParaRPr lang="en-GB" b="1">
              <a:solidFill>
                <a:srgbClr val="737373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r>
              <a:rPr lang="en-GB" err="1">
                <a:solidFill>
                  <a:srgbClr val="737373"/>
                </a:solidFill>
                <a:latin typeface="+mj-lt"/>
              </a:rPr>
              <a:t>Consetetu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adipscing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litr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nonumy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irmo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tempo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invidun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u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labore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</a:t>
            </a:r>
            <a:r>
              <a:rPr lang="en-GB">
                <a:solidFill>
                  <a:srgbClr val="737373"/>
                </a:solidFill>
                <a:latin typeface="+mj-lt"/>
              </a:rPr>
              <a:t> magna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liquy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rat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oluptua</a:t>
            </a:r>
            <a:r>
              <a:rPr lang="en-GB">
                <a:solidFill>
                  <a:srgbClr val="737373"/>
                </a:solidFill>
                <a:latin typeface="+mj-lt"/>
              </a:rPr>
              <a:t>. A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ero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o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ccusam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justo</a:t>
            </a:r>
            <a:r>
              <a:rPr lang="en-GB">
                <a:solidFill>
                  <a:srgbClr val="737373"/>
                </a:solidFill>
                <a:latin typeface="+mj-lt"/>
              </a:rPr>
              <a:t> duo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a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rebum</a:t>
            </a:r>
            <a:r>
              <a:rPr lang="en-GB">
                <a:solidFill>
                  <a:srgbClr val="737373"/>
                </a:solidFill>
                <a:latin typeface="+mj-lt"/>
              </a:rPr>
              <a:t>. </a:t>
            </a:r>
          </a:p>
          <a:p>
            <a:pPr marL="177697" indent="-177697">
              <a:buFont typeface="Arial" charset="0"/>
              <a:buChar char="•"/>
            </a:pPr>
            <a:endParaRPr lang="en-GB">
              <a:solidFill>
                <a:srgbClr val="737373"/>
              </a:solidFill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</p:txBody>
      </p:sp>
      <p:pic>
        <p:nvPicPr>
          <p:cNvPr id="8" name="Picture 7" descr="A picture containing building, car, indoor, person&#10;&#10;Description generated with very high confidence">
            <a:extLst>
              <a:ext uri="{FF2B5EF4-FFF2-40B4-BE49-F238E27FC236}">
                <a16:creationId xmlns:a16="http://schemas.microsoft.com/office/drawing/2014/main" id="{AEE5FCC1-965D-4DE3-8515-ECF0705947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563" r="16567"/>
          <a:stretch/>
        </p:blipFill>
        <p:spPr>
          <a:xfrm>
            <a:off x="0" y="3"/>
            <a:ext cx="6256504" cy="7019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7866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_Lifestyl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looking at the camera&#10;&#10;Description generated with high confidence">
            <a:extLst>
              <a:ext uri="{FF2B5EF4-FFF2-40B4-BE49-F238E27FC236}">
                <a16:creationId xmlns:a16="http://schemas.microsoft.com/office/drawing/2014/main" id="{C4ED586B-602E-43C3-B1AB-84465DF891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333" r="25818"/>
          <a:stretch/>
        </p:blipFill>
        <p:spPr>
          <a:xfrm>
            <a:off x="6179971" y="3"/>
            <a:ext cx="6256504" cy="7013957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27254" y="1407090"/>
            <a:ext cx="5552717" cy="659198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3672" spc="0">
                <a:latin typeface="+mj-lt"/>
                <a:cs typeface="Segoe UI Light" panose="020B0502040204020203" pitchFamily="34" charset="0"/>
              </a:defRPr>
            </a:lvl1pPr>
          </a:lstStyle>
          <a:p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ed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t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erspiciati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</a:t>
            </a:r>
            <a:endParaRPr lang="en-GB">
              <a:solidFill>
                <a:srgbClr val="737373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27254" y="2804886"/>
            <a:ext cx="4653464" cy="3078871"/>
          </a:xfrm>
        </p:spPr>
        <p:txBody>
          <a:bodyPr wrap="square" numCol="1">
            <a:spAutoFit/>
          </a:bodyPr>
          <a:lstStyle>
            <a:lvl1pPr marL="181233" indent="-181233" algn="l">
              <a:lnSpc>
                <a:spcPct val="110000"/>
              </a:lnSpc>
              <a:buFont typeface="Arial" charset="0"/>
              <a:buChar char="•"/>
              <a:defRPr sz="1530">
                <a:latin typeface="+mn-lt"/>
              </a:defRPr>
            </a:lvl1pPr>
          </a:lstStyle>
          <a:p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lor</a:t>
            </a:r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sit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met</a:t>
            </a:r>
            <a:endParaRPr lang="en-GB" b="1">
              <a:solidFill>
                <a:srgbClr val="737373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r>
              <a:rPr lang="en-GB" err="1">
                <a:solidFill>
                  <a:srgbClr val="737373"/>
                </a:solidFill>
                <a:latin typeface="+mj-lt"/>
              </a:rPr>
              <a:t>Consetetu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adipscing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litr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nonumy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irmo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tempo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invidun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u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labore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</a:t>
            </a:r>
            <a:r>
              <a:rPr lang="en-GB">
                <a:solidFill>
                  <a:srgbClr val="737373"/>
                </a:solidFill>
                <a:latin typeface="+mj-lt"/>
              </a:rPr>
              <a:t> magna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liquy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rat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oluptua</a:t>
            </a:r>
            <a:r>
              <a:rPr lang="en-GB">
                <a:solidFill>
                  <a:srgbClr val="737373"/>
                </a:solidFill>
                <a:latin typeface="+mj-lt"/>
              </a:rPr>
              <a:t>. A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ero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o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ccusam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justo</a:t>
            </a:r>
            <a:r>
              <a:rPr lang="en-GB">
                <a:solidFill>
                  <a:srgbClr val="737373"/>
                </a:solidFill>
                <a:latin typeface="+mj-lt"/>
              </a:rPr>
              <a:t> duo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a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rebum</a:t>
            </a:r>
            <a:r>
              <a:rPr lang="en-GB">
                <a:solidFill>
                  <a:srgbClr val="737373"/>
                </a:solidFill>
                <a:latin typeface="+mj-lt"/>
              </a:rPr>
              <a:t>. </a:t>
            </a:r>
          </a:p>
          <a:p>
            <a:pPr marL="177697" indent="-177697">
              <a:buFont typeface="Arial" charset="0"/>
              <a:buChar char="•"/>
            </a:pPr>
            <a:endParaRPr lang="en-GB">
              <a:solidFill>
                <a:srgbClr val="737373"/>
              </a:solidFill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834703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rface Hub Screen Capture 16:9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/>
          <a:srcRect l="26794" t="15555" r="26465" b="37490"/>
          <a:stretch/>
        </p:blipFill>
        <p:spPr>
          <a:xfrm>
            <a:off x="196770" y="1356925"/>
            <a:ext cx="8073159" cy="456327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11"/>
          <p:cNvSpPr>
            <a:spLocks noGrp="1"/>
          </p:cNvSpPr>
          <p:nvPr>
            <p:ph sz="quarter" idx="13"/>
          </p:nvPr>
        </p:nvSpPr>
        <p:spPr>
          <a:xfrm>
            <a:off x="8351838" y="1592263"/>
            <a:ext cx="3695700" cy="5029200"/>
          </a:xfrm>
        </p:spPr>
        <p:txBody>
          <a:bodyPr/>
          <a:lstStyle>
            <a:lvl1pPr>
              <a:spcBef>
                <a:spcPts val="1199"/>
              </a:spcBef>
              <a:defRPr sz="1599"/>
            </a:lvl1pPr>
            <a:lvl2pPr>
              <a:defRPr sz="1399"/>
            </a:lvl2pPr>
            <a:lvl3pPr>
              <a:defRPr sz="1399"/>
            </a:lvl3pPr>
            <a:lvl4pPr>
              <a:defRPr sz="1399"/>
            </a:lvl4pPr>
            <a:lvl5pPr>
              <a:defRPr sz="1399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Picture Placeholder 8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992378" y="1795837"/>
            <a:ext cx="6473294" cy="3636580"/>
          </a:xfrm>
          <a:solidFill>
            <a:srgbClr val="00172A"/>
          </a:solidFill>
        </p:spPr>
        <p:txBody>
          <a:bodyPr tIns="0" rIns="0" bIns="1097280" anchor="b"/>
          <a:lstStyle>
            <a:lvl1pPr algn="ctr">
              <a:defRPr sz="1800" baseline="0"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Paste full screen grab here (16:9 aspect ratio)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88939" y="855664"/>
            <a:ext cx="3129278" cy="470856"/>
          </a:xfrm>
        </p:spPr>
        <p:txBody>
          <a:bodyPr wrap="none">
            <a:spAutoFit/>
          </a:bodyPr>
          <a:lstStyle>
            <a:lvl1pPr>
              <a:defRPr lang="en-US" sz="2400" kern="1200" baseline="0" dirty="0">
                <a:gradFill>
                  <a:gsLst>
                    <a:gs pos="2917">
                      <a:schemeClr val="tx1">
                        <a:lumMod val="75000"/>
                      </a:schemeClr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pPr marL="0" lvl="0" indent="0" algn="l" defTabSz="932418" rtl="0" eaLnBrk="1" latinLnBrk="0" hangingPunct="1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9DE2E20-C700-4A3A-A890-B84EE414F382}" type="datetime1">
              <a:rPr lang="en-US" smtClean="0"/>
              <a:t>5/7/2021</a:t>
            </a:fld>
            <a:endParaRPr lang="en-US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Pre-release simulated screenshot shown, final experience may differ.</a:t>
            </a:r>
            <a:endParaRPr lang="en-US" dirty="0"/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373C030-8119-439B-A7A2-330B51F4C00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966519"/>
      </p:ext>
    </p:extLst>
  </p:cSld>
  <p:clrMapOvr>
    <a:masterClrMapping/>
  </p:clrMapOvr>
  <p:transition>
    <p:fade/>
  </p:transition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_Lifestyl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ground, thing, object, engine&#10;&#10;Description generated with very high confidence">
            <a:extLst>
              <a:ext uri="{FF2B5EF4-FFF2-40B4-BE49-F238E27FC236}">
                <a16:creationId xmlns:a16="http://schemas.microsoft.com/office/drawing/2014/main" id="{BBF89774-F09D-4FBF-BF0F-B736278C96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303" t="1685" r="27303"/>
          <a:stretch/>
        </p:blipFill>
        <p:spPr>
          <a:xfrm>
            <a:off x="0" y="2"/>
            <a:ext cx="6256504" cy="711648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156404" y="1407090"/>
            <a:ext cx="4653463" cy="1224224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3672" spc="0">
                <a:latin typeface="+mj-lt"/>
                <a:cs typeface="Segoe UI Light" panose="020B0502040204020203" pitchFamily="34" charset="0"/>
              </a:defRPr>
            </a:lvl1pPr>
          </a:lstStyle>
          <a:p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ed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t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erspiciati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</a:t>
            </a:r>
            <a:endParaRPr lang="en-GB">
              <a:solidFill>
                <a:srgbClr val="737373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156406" y="2804886"/>
            <a:ext cx="4653464" cy="3078871"/>
          </a:xfrm>
        </p:spPr>
        <p:txBody>
          <a:bodyPr wrap="square" numCol="1">
            <a:spAutoFit/>
          </a:bodyPr>
          <a:lstStyle>
            <a:lvl1pPr marL="181233" indent="-181233" algn="l">
              <a:lnSpc>
                <a:spcPct val="110000"/>
              </a:lnSpc>
              <a:buFont typeface="Arial" charset="0"/>
              <a:buChar char="•"/>
              <a:defRPr sz="1530">
                <a:latin typeface="+mn-lt"/>
              </a:defRPr>
            </a:lvl1pPr>
          </a:lstStyle>
          <a:p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lor</a:t>
            </a:r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sit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met</a:t>
            </a:r>
            <a:endParaRPr lang="en-GB" b="1">
              <a:solidFill>
                <a:srgbClr val="737373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r>
              <a:rPr lang="en-GB" err="1">
                <a:solidFill>
                  <a:srgbClr val="737373"/>
                </a:solidFill>
                <a:latin typeface="+mj-lt"/>
              </a:rPr>
              <a:t>Consetetu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adipscing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litr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nonumy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irmo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tempo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invidun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u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labore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</a:t>
            </a:r>
            <a:r>
              <a:rPr lang="en-GB">
                <a:solidFill>
                  <a:srgbClr val="737373"/>
                </a:solidFill>
                <a:latin typeface="+mj-lt"/>
              </a:rPr>
              <a:t> magna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liquy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rat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oluptua</a:t>
            </a:r>
            <a:r>
              <a:rPr lang="en-GB">
                <a:solidFill>
                  <a:srgbClr val="737373"/>
                </a:solidFill>
                <a:latin typeface="+mj-lt"/>
              </a:rPr>
              <a:t>. A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ero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o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ccusam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justo</a:t>
            </a:r>
            <a:r>
              <a:rPr lang="en-GB">
                <a:solidFill>
                  <a:srgbClr val="737373"/>
                </a:solidFill>
                <a:latin typeface="+mj-lt"/>
              </a:rPr>
              <a:t> duo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a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rebum</a:t>
            </a:r>
            <a:r>
              <a:rPr lang="en-GB">
                <a:solidFill>
                  <a:srgbClr val="737373"/>
                </a:solidFill>
                <a:latin typeface="+mj-lt"/>
              </a:rPr>
              <a:t>. </a:t>
            </a:r>
          </a:p>
          <a:p>
            <a:pPr marL="177697" indent="-177697">
              <a:buFont typeface="Arial" charset="0"/>
              <a:buChar char="•"/>
            </a:pPr>
            <a:endParaRPr lang="en-GB">
              <a:solidFill>
                <a:srgbClr val="737373"/>
              </a:solidFill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382048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Lifestyl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571419" y="1152829"/>
            <a:ext cx="5478675" cy="1789250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3672" spc="0"/>
            </a:lvl1pPr>
          </a:lstStyle>
          <a:p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ed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t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erspiciati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omni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iste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natu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error sit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voluptatem</a:t>
            </a:r>
            <a:endParaRPr lang="en-GB">
              <a:solidFill>
                <a:srgbClr val="737373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571420" y="3497265"/>
            <a:ext cx="5357997" cy="3850551"/>
          </a:xfrm>
        </p:spPr>
        <p:txBody>
          <a:bodyPr wrap="square" lIns="0" tIns="0" rIns="0" bIns="0" numCol="1">
            <a:spAutoFit/>
          </a:bodyPr>
          <a:lstStyle>
            <a:lvl1pPr marL="181233" indent="-181233" algn="l">
              <a:lnSpc>
                <a:spcPct val="120000"/>
              </a:lnSpc>
              <a:spcBef>
                <a:spcPts val="2040"/>
              </a:spcBef>
              <a:buFont typeface="Arial" charset="0"/>
              <a:buChar char="•"/>
              <a:defRPr sz="1530"/>
            </a:lvl1pPr>
          </a:lstStyle>
          <a:p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lor</a:t>
            </a:r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sit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met</a:t>
            </a:r>
            <a:endParaRPr lang="en-GB" b="1">
              <a:solidFill>
                <a:srgbClr val="737373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r>
              <a:rPr lang="en-GB" err="1">
                <a:solidFill>
                  <a:srgbClr val="737373"/>
                </a:solidFill>
                <a:latin typeface="+mj-lt"/>
              </a:rPr>
              <a:t>Consetetu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adipscing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litr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nonumy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irmo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tempo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invidun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u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labore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</a:t>
            </a:r>
            <a:r>
              <a:rPr lang="en-GB">
                <a:solidFill>
                  <a:srgbClr val="737373"/>
                </a:solidFill>
                <a:latin typeface="+mj-lt"/>
              </a:rPr>
              <a:t> magna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liquy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rat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oluptua</a:t>
            </a:r>
            <a:r>
              <a:rPr lang="en-GB">
                <a:solidFill>
                  <a:srgbClr val="737373"/>
                </a:solidFill>
                <a:latin typeface="+mj-lt"/>
              </a:rPr>
              <a:t>. A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ero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o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ccusam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justo</a:t>
            </a:r>
            <a:r>
              <a:rPr lang="en-GB">
                <a:solidFill>
                  <a:srgbClr val="737373"/>
                </a:solidFill>
                <a:latin typeface="+mj-lt"/>
              </a:rPr>
              <a:t> duo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a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rebum</a:t>
            </a:r>
            <a:r>
              <a:rPr lang="en-GB">
                <a:solidFill>
                  <a:srgbClr val="737373"/>
                </a:solidFill>
                <a:latin typeface="+mj-lt"/>
              </a:rPr>
              <a:t>. </a:t>
            </a:r>
          </a:p>
          <a:p>
            <a:pPr marL="177697" indent="-177697">
              <a:buFont typeface="Arial" charset="0"/>
              <a:buChar char="•"/>
            </a:pPr>
            <a:endParaRPr lang="en-GB">
              <a:solidFill>
                <a:srgbClr val="737373"/>
              </a:solidFill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030" y="0"/>
            <a:ext cx="6221270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4717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_Lifestyl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571419" y="1152829"/>
            <a:ext cx="5478675" cy="1789250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3672" spc="0"/>
            </a:lvl1pPr>
          </a:lstStyle>
          <a:p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ed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t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erspiciati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omni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iste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natu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error sit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voluptatem</a:t>
            </a:r>
            <a:endParaRPr lang="en-GB">
              <a:solidFill>
                <a:srgbClr val="737373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571420" y="3497265"/>
            <a:ext cx="5357997" cy="3850551"/>
          </a:xfrm>
        </p:spPr>
        <p:txBody>
          <a:bodyPr wrap="square" lIns="0" tIns="0" rIns="0" bIns="0" numCol="1">
            <a:spAutoFit/>
          </a:bodyPr>
          <a:lstStyle>
            <a:lvl1pPr marL="181233" indent="-181233" algn="l">
              <a:lnSpc>
                <a:spcPct val="120000"/>
              </a:lnSpc>
              <a:spcBef>
                <a:spcPts val="2040"/>
              </a:spcBef>
              <a:buFont typeface="Arial" charset="0"/>
              <a:buChar char="•"/>
              <a:defRPr sz="1530"/>
            </a:lvl1pPr>
          </a:lstStyle>
          <a:p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lor</a:t>
            </a:r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sit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met</a:t>
            </a:r>
            <a:endParaRPr lang="en-GB" b="1">
              <a:solidFill>
                <a:srgbClr val="737373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r>
              <a:rPr lang="en-GB" err="1">
                <a:solidFill>
                  <a:srgbClr val="737373"/>
                </a:solidFill>
                <a:latin typeface="+mj-lt"/>
              </a:rPr>
              <a:t>Consetetu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adipscing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litr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nonumy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irmo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tempo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invidun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u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labore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</a:t>
            </a:r>
            <a:r>
              <a:rPr lang="en-GB">
                <a:solidFill>
                  <a:srgbClr val="737373"/>
                </a:solidFill>
                <a:latin typeface="+mj-lt"/>
              </a:rPr>
              <a:t> magna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liquy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rat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oluptua</a:t>
            </a:r>
            <a:r>
              <a:rPr lang="en-GB">
                <a:solidFill>
                  <a:srgbClr val="737373"/>
                </a:solidFill>
                <a:latin typeface="+mj-lt"/>
              </a:rPr>
              <a:t>. A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ero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o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ccusam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justo</a:t>
            </a:r>
            <a:r>
              <a:rPr lang="en-GB">
                <a:solidFill>
                  <a:srgbClr val="737373"/>
                </a:solidFill>
                <a:latin typeface="+mj-lt"/>
              </a:rPr>
              <a:t> duo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a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rebum</a:t>
            </a:r>
            <a:r>
              <a:rPr lang="en-GB">
                <a:solidFill>
                  <a:srgbClr val="737373"/>
                </a:solidFill>
                <a:latin typeface="+mj-lt"/>
              </a:rPr>
              <a:t>. </a:t>
            </a:r>
          </a:p>
          <a:p>
            <a:pPr marL="177697" indent="-177697">
              <a:buFont typeface="Arial" charset="0"/>
              <a:buChar char="•"/>
            </a:pPr>
            <a:endParaRPr lang="en-GB">
              <a:solidFill>
                <a:srgbClr val="737373"/>
              </a:solidFill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030" y="0"/>
            <a:ext cx="6221270" cy="6994525"/>
          </a:xfrm>
          <a:prstGeom prst="rect">
            <a:avLst/>
          </a:prstGeom>
        </p:spPr>
      </p:pic>
      <p:pic>
        <p:nvPicPr>
          <p:cNvPr id="6" name="Picture 5" descr="A person sitting at a desk with a cat on a table&#10;&#10;Description generated with very high confidence">
            <a:extLst>
              <a:ext uri="{FF2B5EF4-FFF2-40B4-BE49-F238E27FC236}">
                <a16:creationId xmlns:a16="http://schemas.microsoft.com/office/drawing/2014/main" id="{9ABDCD0B-0A9B-4237-8D7E-D0755614DB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15" r="13495"/>
          <a:stretch/>
        </p:blipFill>
        <p:spPr>
          <a:xfrm>
            <a:off x="-902318" y="0"/>
            <a:ext cx="7120558" cy="7001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9130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Lifestyl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8093274" y="619269"/>
            <a:ext cx="3956820" cy="2260106"/>
          </a:xfrm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defRPr sz="3672" spc="0"/>
            </a:lvl1pPr>
          </a:lstStyle>
          <a:p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ed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t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erspiciati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omni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iste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natus</a:t>
            </a:r>
            <a:r>
              <a:rPr lang="en-GB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error sit </a:t>
            </a:r>
            <a:r>
              <a:rPr lang="en-GB" err="1">
                <a:solidFill>
                  <a:srgbClr val="737373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voluptatem</a:t>
            </a:r>
            <a:endParaRPr lang="en-GB">
              <a:solidFill>
                <a:srgbClr val="737373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986673" y="3390678"/>
            <a:ext cx="4343202" cy="3917648"/>
          </a:xfrm>
        </p:spPr>
        <p:txBody>
          <a:bodyPr wrap="square" numCol="1">
            <a:spAutoFit/>
          </a:bodyPr>
          <a:lstStyle>
            <a:lvl1pPr marL="181233" indent="-181233" algn="l">
              <a:buFont typeface="Arial" charset="0"/>
              <a:buChar char="•"/>
              <a:defRPr sz="2040"/>
            </a:lvl1pPr>
          </a:lstStyle>
          <a:p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Lorem ipsum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dolor</a:t>
            </a:r>
            <a:r>
              <a:rPr lang="en-GB" b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sit </a:t>
            </a:r>
            <a:r>
              <a:rPr lang="en-GB" b="1" err="1">
                <a:solidFill>
                  <a:srgbClr val="73737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amet</a:t>
            </a:r>
            <a:endParaRPr lang="en-GB" b="1">
              <a:solidFill>
                <a:srgbClr val="737373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r>
              <a:rPr lang="en-GB" err="1">
                <a:solidFill>
                  <a:srgbClr val="737373"/>
                </a:solidFill>
                <a:latin typeface="+mj-lt"/>
              </a:rPr>
              <a:t>Consetetu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adipscing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litr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nonumy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irmo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tempor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invidun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ut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labore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</a:t>
            </a:r>
            <a:r>
              <a:rPr lang="en-GB">
                <a:solidFill>
                  <a:srgbClr val="737373"/>
                </a:solidFill>
                <a:latin typeface="+mj-lt"/>
              </a:rPr>
              <a:t> magna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liquy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rat</a:t>
            </a:r>
            <a:r>
              <a:rPr lang="en-GB">
                <a:solidFill>
                  <a:srgbClr val="737373"/>
                </a:solidFill>
                <a:latin typeface="+mj-lt"/>
              </a:rPr>
              <a:t>,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sed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iam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oluptua</a:t>
            </a:r>
            <a:r>
              <a:rPr lang="en-GB">
                <a:solidFill>
                  <a:srgbClr val="737373"/>
                </a:solidFill>
                <a:latin typeface="+mj-lt"/>
              </a:rPr>
              <a:t>. A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vero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o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accusam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justo</a:t>
            </a:r>
            <a:r>
              <a:rPr lang="en-GB">
                <a:solidFill>
                  <a:srgbClr val="737373"/>
                </a:solidFill>
                <a:latin typeface="+mj-lt"/>
              </a:rPr>
              <a:t> duo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dolores</a:t>
            </a:r>
            <a:r>
              <a:rPr lang="en-GB">
                <a:solidFill>
                  <a:srgbClr val="737373"/>
                </a:solidFill>
                <a:latin typeface="+mj-lt"/>
              </a:rPr>
              <a:t> et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ea</a:t>
            </a:r>
            <a:r>
              <a:rPr lang="en-GB">
                <a:solidFill>
                  <a:srgbClr val="737373"/>
                </a:solidFill>
                <a:latin typeface="+mj-lt"/>
              </a:rPr>
              <a:t> </a:t>
            </a:r>
            <a:r>
              <a:rPr lang="en-GB" err="1">
                <a:solidFill>
                  <a:srgbClr val="737373"/>
                </a:solidFill>
                <a:latin typeface="+mj-lt"/>
              </a:rPr>
              <a:t>rebum</a:t>
            </a:r>
            <a:r>
              <a:rPr lang="en-GB">
                <a:solidFill>
                  <a:srgbClr val="737373"/>
                </a:solidFill>
                <a:latin typeface="+mj-lt"/>
              </a:rPr>
              <a:t>. </a:t>
            </a:r>
          </a:p>
          <a:p>
            <a:pPr marL="177697" indent="-177697">
              <a:buFont typeface="Arial" charset="0"/>
              <a:buChar char="•"/>
            </a:pPr>
            <a:endParaRPr lang="en-GB">
              <a:solidFill>
                <a:srgbClr val="737373"/>
              </a:solidFill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  <a:p>
            <a:endParaRPr lang="en-GB">
              <a:latin typeface="+mj-lt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030" y="0"/>
            <a:ext cx="6221270" cy="6994525"/>
          </a:xfrm>
          <a:prstGeom prst="rect">
            <a:avLst/>
          </a:prstGeom>
        </p:spPr>
      </p:pic>
      <p:pic>
        <p:nvPicPr>
          <p:cNvPr id="4" name="Picture 3" descr="A person sitting at a desk with a cat on a table&#10;&#10;Description generated with very high confidence">
            <a:extLst>
              <a:ext uri="{FF2B5EF4-FFF2-40B4-BE49-F238E27FC236}">
                <a16:creationId xmlns:a16="http://schemas.microsoft.com/office/drawing/2014/main" id="{35DB66FE-B2BC-4DED-B7AA-FB8306194E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15" r="8607"/>
          <a:stretch/>
        </p:blipFill>
        <p:spPr>
          <a:xfrm>
            <a:off x="3" y="0"/>
            <a:ext cx="7634081" cy="7001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9323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bg>
      <p:bgPr>
        <a:solidFill>
          <a:schemeClr val="bg1">
            <a:alpha val="56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FE8B8F-4C4E-4264-BA1E-6F94899083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5008" y="372396"/>
            <a:ext cx="10726460" cy="1351952"/>
          </a:xfrm>
        </p:spPr>
        <p:txBody>
          <a:bodyPr>
            <a:normAutofit/>
          </a:bodyPr>
          <a:lstStyle>
            <a:lvl1pPr>
              <a:defRPr sz="3672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2D569A-343D-4A63-843B-06240C1C90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40657" y="2581405"/>
            <a:ext cx="10726460" cy="3502721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buSzPct val="70000"/>
              <a:defRPr sz="2040">
                <a:latin typeface="+mj-lt"/>
              </a:defRPr>
            </a:lvl1pPr>
            <a:lvl2pPr>
              <a:lnSpc>
                <a:spcPct val="120000"/>
              </a:lnSpc>
              <a:spcBef>
                <a:spcPts val="1836"/>
              </a:spcBef>
              <a:buSzPct val="70000"/>
              <a:defRPr sz="1530"/>
            </a:lvl2pPr>
            <a:lvl3pPr>
              <a:lnSpc>
                <a:spcPct val="120000"/>
              </a:lnSpc>
              <a:buSzPct val="70000"/>
              <a:defRPr sz="1530"/>
            </a:lvl3pPr>
            <a:lvl4pPr>
              <a:lnSpc>
                <a:spcPct val="120000"/>
              </a:lnSpc>
              <a:buSzPct val="70000"/>
              <a:defRPr sz="1530"/>
            </a:lvl4pPr>
            <a:lvl5pPr>
              <a:lnSpc>
                <a:spcPct val="120000"/>
              </a:lnSpc>
              <a:buSzPct val="70000"/>
              <a:defRPr sz="153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989518-D5FB-40BB-9B96-823B4A67A3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20D8A2-4B8A-4D13-9AF8-7FB87164708C}" type="datetime1">
              <a:rPr lang="en-AU" smtClean="0"/>
              <a:t>7/0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11B4C2-42CF-41EA-913C-0EF473FC14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DC925C5-C994-4C31-84F3-D76891432A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005AF1-E2B5-43EC-9CF1-67452EF165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880755"/>
      </p:ext>
    </p:extLst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9145" y="401019"/>
            <a:ext cx="11373008" cy="568888"/>
          </a:xfrm>
        </p:spPr>
        <p:txBody>
          <a:bodyPr/>
          <a:lstStyle>
            <a:lvl1pPr>
              <a:defRPr>
                <a:solidFill>
                  <a:srgbClr val="0078D7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33746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531801" y="401019"/>
            <a:ext cx="11373008" cy="568888"/>
          </a:xfrm>
          <a:prstGeom prst="rect">
            <a:avLst/>
          </a:prstGeom>
        </p:spPr>
        <p:txBody>
          <a:bodyPr vert="horz" wrap="square" lIns="0" tIns="45720" rIns="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idx="1"/>
          </p:nvPr>
        </p:nvSpPr>
        <p:spPr>
          <a:xfrm>
            <a:off x="531801" y="1212385"/>
            <a:ext cx="11373008" cy="5129318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Rectangle 13"/>
          <p:cNvSpPr/>
          <p:nvPr userDrawn="1"/>
        </p:nvSpPr>
        <p:spPr>
          <a:xfrm rot="10800000" flipV="1">
            <a:off x="12315190" y="5"/>
            <a:ext cx="121287" cy="699452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6"/>
          </a:p>
        </p:txBody>
      </p:sp>
    </p:spTree>
    <p:extLst>
      <p:ext uri="{BB962C8B-B14F-4D97-AF65-F5344CB8AC3E}">
        <p14:creationId xmlns:p14="http://schemas.microsoft.com/office/powerpoint/2010/main" val="2096191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1378ACA-1D5B-4E4E-8CAC-CC1978D25A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229AC2-ED94-41CE-8095-1F98D48FAE6E}" type="datetime1">
              <a:rPr lang="en-AU" smtClean="0"/>
              <a:t>7/05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D82B3FB-7780-4CAA-8618-5DA6179A4A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13AE95B-374D-44AA-A248-C1D5DA6A89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0AA2F2-FFB5-4863-B2A0-DCF1455539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5279621"/>
      </p:ext>
    </p:extLst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8B5B6EA-67D4-49EE-B38E-C3183EB0F65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85" y="0"/>
            <a:ext cx="12434711" cy="6994525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5A5BE8FF-410A-4B13-A073-24DE0E0C6D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639" y="295277"/>
            <a:ext cx="11889564" cy="9175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44A7DB2-0218-4588-B6CD-A7A8DCA76E0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641" y="1212853"/>
            <a:ext cx="11888787" cy="1881329"/>
          </a:xfr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28469" indent="0">
              <a:buNone/>
              <a:defRPr>
                <a:solidFill>
                  <a:schemeClr val="bg1"/>
                </a:solidFill>
              </a:defRPr>
            </a:lvl2pPr>
            <a:lvl3pPr marL="456937" indent="0">
              <a:buNone/>
              <a:defRPr>
                <a:solidFill>
                  <a:schemeClr val="bg1"/>
                </a:solidFill>
              </a:defRPr>
            </a:lvl3pPr>
            <a:lvl4pPr marL="685405" indent="0">
              <a:buNone/>
              <a:defRPr>
                <a:solidFill>
                  <a:schemeClr val="bg1"/>
                </a:solidFill>
              </a:defRPr>
            </a:lvl4pPr>
            <a:lvl5pPr marL="913873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37629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kumimoji="0" lang="en-US" sz="3597" b="0" i="0" u="none" strike="noStrike" kern="1200" cap="none" spc="-102" normalizeH="0" baseline="0" noProof="0">
                <a:ln w="3175">
                  <a:noFill/>
                </a:ln>
                <a:gradFill>
                  <a:gsLst>
                    <a:gs pos="1250">
                      <a:srgbClr val="0078D7"/>
                    </a:gs>
                    <a:gs pos="100000">
                      <a:srgbClr val="0078D7"/>
                    </a:gs>
                  </a:gsLst>
                  <a:lin ang="5400000" scaled="0"/>
                </a:gradFill>
                <a:effectLst/>
                <a:uLnTx/>
                <a:uFillTx/>
                <a:latin typeface="+mj-lt"/>
                <a:ea typeface="+mn-ea"/>
                <a:cs typeface="Segoe UI" pitchFamily="34" charset="0"/>
              </a:rPr>
              <a:t>Title text style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74642" y="1212850"/>
            <a:ext cx="11887200" cy="935641"/>
          </a:xfrm>
        </p:spPr>
        <p:txBody>
          <a:bodyPr/>
          <a:lstStyle>
            <a:lvl1pPr marL="0" marR="0" indent="0" algn="l" defTabSz="93220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>
                <a:solidFill>
                  <a:srgbClr val="505050"/>
                </a:solidFill>
                <a:latin typeface="+mj-lt"/>
              </a:defRPr>
            </a:lvl1pPr>
            <a:lvl2pPr marL="583863" marR="0" indent="-241159" algn="l" defTabSz="93220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000">
                <a:solidFill>
                  <a:srgbClr val="505050"/>
                </a:solidFill>
                <a:latin typeface="+mn-lt"/>
              </a:defRPr>
            </a:lvl2pPr>
            <a:lvl3pPr marL="856756" marR="0" indent="-285585" algn="l" defTabSz="93220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>
                <a:solidFill>
                  <a:srgbClr val="505050"/>
                </a:solidFill>
                <a:latin typeface="+mn-lt"/>
              </a:defRPr>
            </a:lvl3pPr>
            <a:lvl4pPr marL="456937" indent="0">
              <a:buNone/>
              <a:defRPr>
                <a:solidFill>
                  <a:schemeClr val="tx1">
                    <a:lumMod val="75000"/>
                  </a:schemeClr>
                </a:solidFill>
                <a:latin typeface="+mn-lt"/>
              </a:defRPr>
            </a:lvl4pPr>
            <a:lvl5pPr marL="685405" indent="0">
              <a:buNone/>
              <a:defRPr>
                <a:solidFill>
                  <a:schemeClr val="tx1">
                    <a:lumMod val="75000"/>
                  </a:schemeClr>
                </a:solidFill>
                <a:latin typeface="+mn-lt"/>
              </a:defRPr>
            </a:lvl5pPr>
          </a:lstStyle>
          <a:p>
            <a:pPr marL="0" marR="0" lvl="0" indent="0" algn="l" defTabSz="93220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05050">
                    <a:lumMod val="75000"/>
                  </a:srgb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ubheading text style</a:t>
            </a:r>
          </a:p>
          <a:p>
            <a:pPr marL="583863" marR="0" lvl="1" indent="-241159" algn="l" defTabSz="93220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/>
            </a:pPr>
            <a:r>
              <a:rPr kumimoji="0" lang="en-US" sz="1397" b="1" i="0" u="none" strike="noStrike" kern="1200" cap="none" spc="0" normalizeH="0" baseline="0" noProof="0">
                <a:ln>
                  <a:noFill/>
                </a:ln>
                <a:solidFill>
                  <a:srgbClr val="505050">
                    <a:lumMod val="75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aragraph title text style</a:t>
            </a:r>
          </a:p>
          <a:p>
            <a:pPr marL="856756" marR="0" lvl="2" indent="-285585" algn="l" defTabSz="932205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397" b="0" i="0" u="none" strike="noStrike" kern="1200" cap="none" spc="0" normalizeH="0" baseline="0" noProof="0">
                <a:ln>
                  <a:noFill/>
                </a:ln>
                <a:solidFill>
                  <a:srgbClr val="505050">
                    <a:lumMod val="75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Body text style</a:t>
            </a:r>
          </a:p>
        </p:txBody>
      </p:sp>
    </p:spTree>
    <p:extLst>
      <p:ext uri="{BB962C8B-B14F-4D97-AF65-F5344CB8AC3E}">
        <p14:creationId xmlns:p14="http://schemas.microsoft.com/office/powerpoint/2010/main" val="3379275332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Section Lifesty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436475" cy="6994525"/>
          </a:xfrm>
          <a:prstGeom prst="rect">
            <a:avLst/>
          </a:prstGeom>
          <a:solidFill>
            <a:srgbClr val="0082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8939" y="935515"/>
            <a:ext cx="5486400" cy="5123496"/>
          </a:xfrm>
        </p:spPr>
        <p:txBody>
          <a:bodyPr wrap="square" anchor="ctr"/>
          <a:lstStyle>
            <a:lvl1pPr>
              <a:defRPr sz="5399">
                <a:gradFill>
                  <a:gsLst>
                    <a:gs pos="2917">
                      <a:schemeClr val="bg1"/>
                    </a:gs>
                    <a:gs pos="100000">
                      <a:schemeClr val="bg1">
                        <a:alpha val="99000"/>
                      </a:schemeClr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Click to add section divider title</a:t>
            </a:r>
          </a:p>
        </p:txBody>
      </p:sp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6326189" y="1699260"/>
            <a:ext cx="5719763" cy="3321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206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218238" y="0"/>
            <a:ext cx="6218238" cy="6994525"/>
          </a:xfrm>
          <a:blipFill>
            <a:blip r:embed="rId2"/>
            <a:stretch>
              <a:fillRect/>
            </a:stretch>
          </a:blipFill>
        </p:spPr>
        <p:txBody>
          <a:bodyPr anchor="ctr"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4063852"/>
      </p:ext>
    </p:extLst>
  </p:cSld>
  <p:clrMapOvr>
    <a:masterClrMapping/>
  </p:clrMapOvr>
  <p:transition>
    <p:fade/>
  </p:transition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4978" y="1226820"/>
            <a:ext cx="3705225" cy="1195895"/>
          </a:xfrm>
        </p:spPr>
        <p:txBody>
          <a:bodyPr lIns="0" tIns="0" rIns="0" bIns="0"/>
          <a:lstStyle>
            <a:lvl1pPr>
              <a:defRPr sz="2000" spc="0" baseline="0">
                <a:solidFill>
                  <a:srgbClr val="000000"/>
                </a:solidFill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337300" y="1226818"/>
            <a:ext cx="3690938" cy="3354708"/>
          </a:xfrm>
        </p:spPr>
        <p:txBody>
          <a:bodyPr wrap="square" lIns="0" tIns="0" rIns="0" bIns="0">
            <a:noAutofit/>
          </a:bodyPr>
          <a:lstStyle>
            <a:lvl1pPr marL="0" marR="0" indent="0" algn="l" defTabSz="51722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2000" spc="0" baseline="0">
                <a:solidFill>
                  <a:schemeClr val="accent1"/>
                </a:solidFill>
                <a:latin typeface="+mj-lt"/>
              </a:defRPr>
            </a:lvl1pPr>
            <a:lvl2pPr marL="228469" indent="0">
              <a:buNone/>
              <a:defRPr sz="1800"/>
            </a:lvl2pPr>
            <a:lvl3pPr marL="456937" indent="0">
              <a:buNone/>
              <a:defRPr sz="1800"/>
            </a:lvl3pPr>
            <a:lvl4pPr marL="685405" indent="0">
              <a:buNone/>
              <a:defRPr sz="1800"/>
            </a:lvl4pPr>
            <a:lvl5pPr marL="913873" indent="0">
              <a:buNone/>
              <a:defRPr sz="1800"/>
            </a:lvl5pPr>
          </a:lstStyle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  <a:p>
            <a:pPr lvl="0"/>
            <a:r>
              <a:rPr lang="en-US"/>
              <a:t>##	Section title</a:t>
            </a:r>
          </a:p>
        </p:txBody>
      </p:sp>
    </p:spTree>
    <p:extLst>
      <p:ext uri="{BB962C8B-B14F-4D97-AF65-F5344CB8AC3E}">
        <p14:creationId xmlns:p14="http://schemas.microsoft.com/office/powerpoint/2010/main" val="3319515915"/>
      </p:ext>
    </p:extLst>
  </p:cSld>
  <p:clrMapOvr>
    <a:masterClrMapping/>
  </p:clrMapOvr>
  <p:transition>
    <p:fade/>
  </p:transition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BDBC305C-A9C3-4278-AFC0-C99DFD80A6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975" y="449264"/>
            <a:ext cx="11563350" cy="773112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114660067"/>
      </p:ext>
    </p:extLst>
  </p:cSld>
  <p:clrMapOvr>
    <a:masterClrMapping/>
  </p:clrMapOvr>
  <p:transition>
    <p:fade/>
  </p:transition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a Placeholder 3">
            <a:extLst>
              <a:ext uri="{FF2B5EF4-FFF2-40B4-BE49-F238E27FC236}">
                <a16:creationId xmlns:a16="http://schemas.microsoft.com/office/drawing/2014/main" id="{8B6023C7-4997-4A57-93EE-3CE85C4A04F6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436475" cy="6994525"/>
          </a:xfrm>
        </p:spPr>
        <p:txBody>
          <a:bodyPr/>
          <a:lstStyle/>
          <a:p>
            <a:r>
              <a:rPr lang="en-US"/>
              <a:t>Click icon to add media</a:t>
            </a:r>
          </a:p>
        </p:txBody>
      </p:sp>
    </p:spTree>
    <p:extLst>
      <p:ext uri="{BB962C8B-B14F-4D97-AF65-F5344CB8AC3E}">
        <p14:creationId xmlns:p14="http://schemas.microsoft.com/office/powerpoint/2010/main" val="3016451858"/>
      </p:ext>
    </p:extLst>
  </p:cSld>
  <p:clrMapOvr>
    <a:masterClrMapping/>
  </p:clrMapOvr>
  <p:transition>
    <p:fade/>
  </p:transition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&amp;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A83EF54-F800-4521-AA68-2B27B0B561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6087" y="2182301"/>
            <a:ext cx="11567160" cy="1247521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1297"/>
              </a:spcAft>
              <a:buNone/>
              <a:defRPr sz="2600" b="0" i="0">
                <a:solidFill>
                  <a:srgbClr val="000000"/>
                </a:solidFill>
                <a:latin typeface="+mn-lt"/>
              </a:defRPr>
            </a:lvl1pPr>
            <a:lvl2pPr marL="228469" indent="0">
              <a:lnSpc>
                <a:spcPct val="90000"/>
              </a:lnSpc>
              <a:spcBef>
                <a:spcPts val="0"/>
              </a:spcBef>
              <a:spcAft>
                <a:spcPts val="1297"/>
              </a:spcAft>
              <a:buNone/>
              <a:defRPr sz="2000">
                <a:solidFill>
                  <a:srgbClr val="000000"/>
                </a:solidFill>
              </a:defRPr>
            </a:lvl2pPr>
            <a:lvl3pPr marL="456937" indent="0">
              <a:spcBef>
                <a:spcPts val="0"/>
              </a:spcBef>
              <a:spcAft>
                <a:spcPts val="1297"/>
              </a:spcAft>
              <a:buNone/>
              <a:defRPr sz="2000">
                <a:solidFill>
                  <a:srgbClr val="000000"/>
                </a:solidFill>
              </a:defRPr>
            </a:lvl3pPr>
            <a:lvl4pPr marL="685405" indent="0">
              <a:spcBef>
                <a:spcPts val="0"/>
              </a:spcBef>
              <a:spcAft>
                <a:spcPts val="1297"/>
              </a:spcAft>
              <a:buNone/>
              <a:defRPr sz="2000"/>
            </a:lvl4pPr>
            <a:lvl5pPr marL="913873" indent="0">
              <a:buNone/>
              <a:defRPr/>
            </a:lvl5pPr>
          </a:lstStyle>
          <a:p>
            <a:pPr lvl="0"/>
            <a:r>
              <a:rPr lang="en-US"/>
              <a:t>First level Segoe UI 26pt</a:t>
            </a:r>
          </a:p>
          <a:p>
            <a:pPr lvl="1"/>
            <a:r>
              <a:rPr lang="en-US"/>
              <a:t>Second level Segoe UI 20pt</a:t>
            </a:r>
          </a:p>
          <a:p>
            <a:pPr lvl="2"/>
            <a:r>
              <a:rPr lang="en-US"/>
              <a:t>Third level Segoe UI 20p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E6F3ED0-7F59-40C0-BDE3-5E0443999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975" y="449267"/>
            <a:ext cx="11563350" cy="754061"/>
          </a:xfrm>
          <a:prstGeom prst="rect">
            <a:avLst/>
          </a:prstGeom>
        </p:spPr>
        <p:txBody>
          <a:bodyPr vert="horz" wrap="square" lIns="0" tIns="164592" rIns="0" bIns="0" rtlCol="0" anchor="t">
            <a:no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/>
              <a:t>Heading Segoe UI </a:t>
            </a:r>
            <a:r>
              <a:rPr lang="en-US" err="1"/>
              <a:t>Semibold</a:t>
            </a:r>
            <a:r>
              <a:rPr lang="en-US"/>
              <a:t> 32pt</a:t>
            </a:r>
          </a:p>
        </p:txBody>
      </p:sp>
    </p:spTree>
    <p:extLst>
      <p:ext uri="{BB962C8B-B14F-4D97-AF65-F5344CB8AC3E}">
        <p14:creationId xmlns:p14="http://schemas.microsoft.com/office/powerpoint/2010/main" val="962275211"/>
      </p:ext>
    </p:extLst>
  </p:cSld>
  <p:clrMapOvr>
    <a:masterClrMapping/>
  </p:clrMapOvr>
  <p:transition>
    <p:fade/>
  </p:transition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1"/>
          <p:cNvSpPr>
            <a:spLocks noGrp="1"/>
          </p:cNvSpPr>
          <p:nvPr>
            <p:ph type="title" hasCustomPrompt="1"/>
          </p:nvPr>
        </p:nvSpPr>
        <p:spPr>
          <a:xfrm>
            <a:off x="192378" y="187641"/>
            <a:ext cx="3322872" cy="166107"/>
          </a:xfrm>
          <a:prstGeom prst="rect">
            <a:avLst/>
          </a:prstGeom>
        </p:spPr>
        <p:txBody>
          <a:bodyPr/>
          <a:lstStyle>
            <a:lvl1pPr algn="l">
              <a:defRPr sz="612" spc="306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/>
              <a:t>MAIN TITLE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92378" y="449629"/>
            <a:ext cx="3322872" cy="31085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530" baseline="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en-US"/>
              <a:t>Page Title Here</a:t>
            </a:r>
          </a:p>
        </p:txBody>
      </p:sp>
      <p:sp>
        <p:nvSpPr>
          <p:cNvPr id="5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01347" y="6606422"/>
            <a:ext cx="1428718" cy="332193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r">
              <a:defRPr lang="en-US" sz="612" spc="20" smtClean="0">
                <a:solidFill>
                  <a:schemeClr val="tx1">
                    <a:alpha val="6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fld id="{F1323F40-5DA8-449B-85D3-1438A492E1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9706999"/>
      </p:ext>
    </p:extLst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34B655BA-10A4-4A57-89DB-CFFBE1CA1E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94554" y="1462927"/>
            <a:ext cx="10845210" cy="1881329"/>
          </a:xfrm>
        </p:spPr>
        <p:txBody>
          <a:bodyPr wrap="square">
            <a:spAutoFit/>
          </a:bodyPr>
          <a:lstStyle>
            <a:lvl1pPr marL="0" indent="0">
              <a:buNone/>
              <a:defRPr/>
            </a:lvl1pPr>
            <a:lvl2pPr marL="174795" indent="0">
              <a:buNone/>
              <a:defRPr/>
            </a:lvl2pPr>
            <a:lvl3pPr marL="349589" indent="0">
              <a:buNone/>
              <a:defRPr/>
            </a:lvl3pPr>
            <a:lvl4pPr marL="524386" indent="0">
              <a:buNone/>
              <a:defRPr/>
            </a:lvl4pPr>
            <a:lvl5pPr marL="699179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751991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98">
          <p15:clr>
            <a:srgbClr val="5ACBF0"/>
          </p15:clr>
        </p15:guide>
        <p15:guide id="2" orient="horz" pos="903">
          <p15:clr>
            <a:srgbClr val="5ACBF0"/>
          </p15:clr>
        </p15:guide>
        <p15:guide id="4" orient="horz" pos="1272">
          <p15:clr>
            <a:srgbClr val="5ACBF0"/>
          </p15:clr>
        </p15:guide>
      </p15:sldGuideLst>
    </p:ext>
  </p:extLst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D in the Classroom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1F75BEE-7AB6-C245-BF36-9DAF28F2B2B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9237680" y="6343841"/>
            <a:ext cx="2798207" cy="372394"/>
          </a:xfrm>
        </p:spPr>
        <p:txBody>
          <a:bodyPr/>
          <a:lstStyle>
            <a:lvl1pPr>
              <a:defRPr sz="918" b="1" i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5F684BCF-8CEB-4ABD-8365-208435A47A8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3C372211-A8D1-504A-9086-76346632CB3D}"/>
              </a:ext>
            </a:extLst>
          </p:cNvPr>
          <p:cNvSpPr txBox="1">
            <a:spLocks/>
          </p:cNvSpPr>
          <p:nvPr userDrawn="1"/>
        </p:nvSpPr>
        <p:spPr>
          <a:xfrm>
            <a:off x="409363" y="6408973"/>
            <a:ext cx="2789435" cy="24213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18" b="1" dirty="0"/>
              <a:t>Microsoft Education </a:t>
            </a:r>
            <a:r>
              <a:rPr lang="en-US" sz="918" dirty="0"/>
              <a:t>3D in the Classroom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185C0E0-19E5-1E4E-8BE9-4D2EB45277F1}"/>
              </a:ext>
            </a:extLst>
          </p:cNvPr>
          <p:cNvCxnSpPr>
            <a:cxnSpLocks/>
          </p:cNvCxnSpPr>
          <p:nvPr userDrawn="1"/>
        </p:nvCxnSpPr>
        <p:spPr>
          <a:xfrm>
            <a:off x="505308" y="388585"/>
            <a:ext cx="276516" cy="0"/>
          </a:xfrm>
          <a:prstGeom prst="line">
            <a:avLst/>
          </a:prstGeom>
          <a:ln w="19050">
            <a:solidFill>
              <a:srgbClr val="ECAE4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72646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54560" y="1144706"/>
            <a:ext cx="9327356" cy="2435131"/>
          </a:xfrm>
        </p:spPr>
        <p:txBody>
          <a:bodyPr anchor="b"/>
          <a:lstStyle>
            <a:lvl1pPr algn="ctr">
              <a:defRPr sz="6119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54560" y="3673745"/>
            <a:ext cx="9327356" cy="1688724"/>
          </a:xfrm>
        </p:spPr>
        <p:txBody>
          <a:bodyPr/>
          <a:lstStyle>
            <a:lvl1pPr marL="0" indent="0" algn="ctr">
              <a:buNone/>
              <a:defRPr sz="2448"/>
            </a:lvl1pPr>
            <a:lvl2pPr marL="466298" indent="0" algn="ctr">
              <a:buNone/>
              <a:defRPr sz="2040"/>
            </a:lvl2pPr>
            <a:lvl3pPr marL="932597" indent="0" algn="ctr">
              <a:buNone/>
              <a:defRPr sz="1836"/>
            </a:lvl3pPr>
            <a:lvl4pPr marL="1398895" indent="0" algn="ctr">
              <a:buNone/>
              <a:defRPr sz="1632"/>
            </a:lvl4pPr>
            <a:lvl5pPr marL="1865193" indent="0" algn="ctr">
              <a:buNone/>
              <a:defRPr sz="1632"/>
            </a:lvl5pPr>
            <a:lvl6pPr marL="2331491" indent="0" algn="ctr">
              <a:buNone/>
              <a:defRPr sz="1632"/>
            </a:lvl6pPr>
            <a:lvl7pPr marL="2797790" indent="0" algn="ctr">
              <a:buNone/>
              <a:defRPr sz="1632"/>
            </a:lvl7pPr>
            <a:lvl8pPr marL="3264088" indent="0" algn="ctr">
              <a:buNone/>
              <a:defRPr sz="1632"/>
            </a:lvl8pPr>
            <a:lvl9pPr marL="3730386" indent="0" algn="ctr">
              <a:buNone/>
              <a:defRPr sz="1632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38BFB8-A826-4E4E-807A-58E91143CD03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660723-8EAB-4DCD-B460-03A6BE53CF8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288535488"/>
      </p:ext>
    </p:extLst>
  </p:cSld>
  <p:clrMapOvr>
    <a:masterClrMapping/>
  </p:clrMapOvr>
  <p:hf sldNum="0" hdr="0" dt="0"/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7A94A5D-A422-419F-8F61-49A5FF3A9159}" type="datetimeFigureOut">
              <a:rPr lang="en-US" smtClean="0"/>
              <a:pPr>
                <a:defRPr/>
              </a:pPr>
              <a:t>5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35F1553-80D1-4FBA-8E25-9A1831250CF9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9699459"/>
      </p:ext>
    </p:extLst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8530" y="1743775"/>
            <a:ext cx="10726460" cy="2909528"/>
          </a:xfrm>
        </p:spPr>
        <p:txBody>
          <a:bodyPr anchor="b"/>
          <a:lstStyle>
            <a:lvl1pPr>
              <a:defRPr sz="6119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8530" y="4680828"/>
            <a:ext cx="10726460" cy="1530052"/>
          </a:xfrm>
        </p:spPr>
        <p:txBody>
          <a:bodyPr/>
          <a:lstStyle>
            <a:lvl1pPr marL="0" indent="0">
              <a:buNone/>
              <a:defRPr sz="2448">
                <a:solidFill>
                  <a:schemeClr val="tx1">
                    <a:tint val="75000"/>
                  </a:schemeClr>
                </a:solidFill>
              </a:defRPr>
            </a:lvl1pPr>
            <a:lvl2pPr marL="466298" indent="0">
              <a:buNone/>
              <a:defRPr sz="2040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38BFB8-A826-4E4E-807A-58E91143CD03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660723-8EAB-4DCD-B460-03A6BE53CF8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058307209"/>
      </p:ext>
    </p:extLst>
  </p:cSld>
  <p:clrMapOvr>
    <a:masterClrMapping/>
  </p:clrMapOvr>
  <p:hf sldNum="0" hd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436475" cy="6994525"/>
          </a:xfrm>
          <a:prstGeom prst="rect">
            <a:avLst/>
          </a:prstGeom>
          <a:solidFill>
            <a:srgbClr val="00827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8940" y="935515"/>
            <a:ext cx="5829299" cy="5123496"/>
          </a:xfrm>
        </p:spPr>
        <p:txBody>
          <a:bodyPr wrap="square" anchor="ctr"/>
          <a:lstStyle>
            <a:lvl1pPr>
              <a:defRPr sz="5399">
                <a:gradFill>
                  <a:gsLst>
                    <a:gs pos="2917">
                      <a:schemeClr val="bg1"/>
                    </a:gs>
                    <a:gs pos="100000">
                      <a:schemeClr val="bg1">
                        <a:alpha val="99000"/>
                      </a:schemeClr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Click to add section divider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3177" y="6238241"/>
            <a:ext cx="1385761" cy="525463"/>
          </a:xfrm>
          <a:prstGeom prst="rect">
            <a:avLst/>
          </a:prstGeom>
        </p:spPr>
      </p:pic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6326189" y="1699260"/>
            <a:ext cx="5719763" cy="3321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grpSp>
        <p:nvGrpSpPr>
          <p:cNvPr id="205" name="Group 204"/>
          <p:cNvGrpSpPr/>
          <p:nvPr userDrawn="1"/>
        </p:nvGrpSpPr>
        <p:grpSpPr>
          <a:xfrm>
            <a:off x="7081521" y="1945550"/>
            <a:ext cx="4209100" cy="3114222"/>
            <a:chOff x="7754939" y="2443798"/>
            <a:chExt cx="2862263" cy="2117725"/>
          </a:xfrm>
        </p:grpSpPr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567864" y="2512060"/>
              <a:ext cx="436563" cy="4381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" name="Rectangle 8"/>
            <p:cNvSpPr>
              <a:spLocks noChangeArrowheads="1"/>
            </p:cNvSpPr>
            <p:nvPr userDrawn="1"/>
          </p:nvSpPr>
          <p:spPr bwMode="auto">
            <a:xfrm>
              <a:off x="9567864" y="2512060"/>
              <a:ext cx="436563" cy="36513"/>
            </a:xfrm>
            <a:prstGeom prst="rect">
              <a:avLst/>
            </a:prstGeom>
            <a:solidFill>
              <a:srgbClr val="D6D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9607552" y="2605723"/>
              <a:ext cx="358775" cy="82550"/>
            </a:xfrm>
            <a:prstGeom prst="rect">
              <a:avLst/>
            </a:prstGeom>
            <a:solidFill>
              <a:srgbClr val="40C5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9661527" y="2713673"/>
              <a:ext cx="304800" cy="82550"/>
            </a:xfrm>
            <a:prstGeom prst="rect">
              <a:avLst/>
            </a:prstGeom>
            <a:solidFill>
              <a:srgbClr val="5C2D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5" name="Rectangle 11"/>
            <p:cNvSpPr>
              <a:spLocks noChangeArrowheads="1"/>
            </p:cNvSpPr>
            <p:nvPr userDrawn="1"/>
          </p:nvSpPr>
          <p:spPr bwMode="auto">
            <a:xfrm>
              <a:off x="9607552" y="2823210"/>
              <a:ext cx="358775" cy="80963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6" name="Rectangle 12"/>
            <p:cNvSpPr>
              <a:spLocks noChangeArrowheads="1"/>
            </p:cNvSpPr>
            <p:nvPr userDrawn="1"/>
          </p:nvSpPr>
          <p:spPr bwMode="auto">
            <a:xfrm>
              <a:off x="9642477" y="2640648"/>
              <a:ext cx="287338" cy="11113"/>
            </a:xfrm>
            <a:prstGeom prst="rect">
              <a:avLst/>
            </a:pr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7" name="Freeform 13"/>
            <p:cNvSpPr>
              <a:spLocks/>
            </p:cNvSpPr>
            <p:nvPr userDrawn="1"/>
          </p:nvSpPr>
          <p:spPr bwMode="auto">
            <a:xfrm>
              <a:off x="9642477" y="2640648"/>
              <a:ext cx="287338" cy="11113"/>
            </a:xfrm>
            <a:custGeom>
              <a:avLst/>
              <a:gdLst>
                <a:gd name="T0" fmla="*/ 0 w 181"/>
                <a:gd name="T1" fmla="*/ 7 h 7"/>
                <a:gd name="T2" fmla="*/ 181 w 181"/>
                <a:gd name="T3" fmla="*/ 7 h 7"/>
                <a:gd name="T4" fmla="*/ 181 w 181"/>
                <a:gd name="T5" fmla="*/ 0 h 7"/>
                <a:gd name="T6" fmla="*/ 0 w 181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1" h="7">
                  <a:moveTo>
                    <a:pt x="0" y="7"/>
                  </a:moveTo>
                  <a:lnTo>
                    <a:pt x="181" y="7"/>
                  </a:lnTo>
                  <a:lnTo>
                    <a:pt x="181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8" name="Rectangle 14"/>
            <p:cNvSpPr>
              <a:spLocks noChangeArrowheads="1"/>
            </p:cNvSpPr>
            <p:nvPr userDrawn="1"/>
          </p:nvSpPr>
          <p:spPr bwMode="auto">
            <a:xfrm>
              <a:off x="9696452" y="2748598"/>
              <a:ext cx="233363" cy="12700"/>
            </a:xfrm>
            <a:prstGeom prst="rect">
              <a:avLst/>
            </a:pr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9696452" y="2748598"/>
              <a:ext cx="233363" cy="12700"/>
            </a:xfrm>
            <a:custGeom>
              <a:avLst/>
              <a:gdLst>
                <a:gd name="T0" fmla="*/ 0 w 147"/>
                <a:gd name="T1" fmla="*/ 8 h 8"/>
                <a:gd name="T2" fmla="*/ 147 w 147"/>
                <a:gd name="T3" fmla="*/ 8 h 8"/>
                <a:gd name="T4" fmla="*/ 147 w 147"/>
                <a:gd name="T5" fmla="*/ 0 h 8"/>
                <a:gd name="T6" fmla="*/ 0 w 147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7" h="8">
                  <a:moveTo>
                    <a:pt x="0" y="8"/>
                  </a:moveTo>
                  <a:lnTo>
                    <a:pt x="147" y="8"/>
                  </a:lnTo>
                  <a:lnTo>
                    <a:pt x="147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0" name="Rectangle 16"/>
            <p:cNvSpPr>
              <a:spLocks noChangeArrowheads="1"/>
            </p:cNvSpPr>
            <p:nvPr userDrawn="1"/>
          </p:nvSpPr>
          <p:spPr bwMode="auto">
            <a:xfrm>
              <a:off x="9642477" y="2858135"/>
              <a:ext cx="287338" cy="11113"/>
            </a:xfrm>
            <a:prstGeom prst="rect">
              <a:avLst/>
            </a:pr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1" name="Freeform 17"/>
            <p:cNvSpPr>
              <a:spLocks/>
            </p:cNvSpPr>
            <p:nvPr userDrawn="1"/>
          </p:nvSpPr>
          <p:spPr bwMode="auto">
            <a:xfrm>
              <a:off x="9642477" y="2858135"/>
              <a:ext cx="287338" cy="11113"/>
            </a:xfrm>
            <a:custGeom>
              <a:avLst/>
              <a:gdLst>
                <a:gd name="T0" fmla="*/ 0 w 181"/>
                <a:gd name="T1" fmla="*/ 7 h 7"/>
                <a:gd name="T2" fmla="*/ 181 w 181"/>
                <a:gd name="T3" fmla="*/ 7 h 7"/>
                <a:gd name="T4" fmla="*/ 181 w 181"/>
                <a:gd name="T5" fmla="*/ 0 h 7"/>
                <a:gd name="T6" fmla="*/ 0 w 181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1" h="7">
                  <a:moveTo>
                    <a:pt x="0" y="7"/>
                  </a:moveTo>
                  <a:lnTo>
                    <a:pt x="181" y="7"/>
                  </a:lnTo>
                  <a:lnTo>
                    <a:pt x="181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2" name="Freeform 18"/>
            <p:cNvSpPr>
              <a:spLocks/>
            </p:cNvSpPr>
            <p:nvPr userDrawn="1"/>
          </p:nvSpPr>
          <p:spPr bwMode="auto">
            <a:xfrm>
              <a:off x="9975852" y="2523173"/>
              <a:ext cx="14288" cy="14288"/>
            </a:xfrm>
            <a:custGeom>
              <a:avLst/>
              <a:gdLst>
                <a:gd name="T0" fmla="*/ 1 w 9"/>
                <a:gd name="T1" fmla="*/ 9 h 9"/>
                <a:gd name="T2" fmla="*/ 0 w 9"/>
                <a:gd name="T3" fmla="*/ 7 h 9"/>
                <a:gd name="T4" fmla="*/ 8 w 9"/>
                <a:gd name="T5" fmla="*/ 0 h 9"/>
                <a:gd name="T6" fmla="*/ 9 w 9"/>
                <a:gd name="T7" fmla="*/ 2 h 9"/>
                <a:gd name="T8" fmla="*/ 1 w 9"/>
                <a:gd name="T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1" y="9"/>
                  </a:moveTo>
                  <a:lnTo>
                    <a:pt x="0" y="7"/>
                  </a:lnTo>
                  <a:lnTo>
                    <a:pt x="8" y="0"/>
                  </a:lnTo>
                  <a:lnTo>
                    <a:pt x="9" y="2"/>
                  </a:lnTo>
                  <a:lnTo>
                    <a:pt x="1" y="9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3" name="Freeform 19"/>
            <p:cNvSpPr>
              <a:spLocks/>
            </p:cNvSpPr>
            <p:nvPr userDrawn="1"/>
          </p:nvSpPr>
          <p:spPr bwMode="auto">
            <a:xfrm>
              <a:off x="9975852" y="2523173"/>
              <a:ext cx="14288" cy="14288"/>
            </a:xfrm>
            <a:custGeom>
              <a:avLst/>
              <a:gdLst>
                <a:gd name="T0" fmla="*/ 8 w 9"/>
                <a:gd name="T1" fmla="*/ 9 h 9"/>
                <a:gd name="T2" fmla="*/ 0 w 9"/>
                <a:gd name="T3" fmla="*/ 2 h 9"/>
                <a:gd name="T4" fmla="*/ 1 w 9"/>
                <a:gd name="T5" fmla="*/ 0 h 9"/>
                <a:gd name="T6" fmla="*/ 9 w 9"/>
                <a:gd name="T7" fmla="*/ 7 h 9"/>
                <a:gd name="T8" fmla="*/ 8 w 9"/>
                <a:gd name="T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8" y="9"/>
                  </a:moveTo>
                  <a:lnTo>
                    <a:pt x="0" y="2"/>
                  </a:lnTo>
                  <a:lnTo>
                    <a:pt x="1" y="0"/>
                  </a:lnTo>
                  <a:lnTo>
                    <a:pt x="9" y="7"/>
                  </a:lnTo>
                  <a:lnTo>
                    <a:pt x="8" y="9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4" name="Freeform 20"/>
            <p:cNvSpPr>
              <a:spLocks noEditPoints="1"/>
            </p:cNvSpPr>
            <p:nvPr userDrawn="1"/>
          </p:nvSpPr>
          <p:spPr bwMode="auto">
            <a:xfrm>
              <a:off x="9921877" y="2523173"/>
              <a:ext cx="12700" cy="14288"/>
            </a:xfrm>
            <a:custGeom>
              <a:avLst/>
              <a:gdLst>
                <a:gd name="T0" fmla="*/ 8 w 8"/>
                <a:gd name="T1" fmla="*/ 9 h 9"/>
                <a:gd name="T2" fmla="*/ 0 w 8"/>
                <a:gd name="T3" fmla="*/ 9 h 9"/>
                <a:gd name="T4" fmla="*/ 0 w 8"/>
                <a:gd name="T5" fmla="*/ 0 h 9"/>
                <a:gd name="T6" fmla="*/ 8 w 8"/>
                <a:gd name="T7" fmla="*/ 0 h 9"/>
                <a:gd name="T8" fmla="*/ 8 w 8"/>
                <a:gd name="T9" fmla="*/ 9 h 9"/>
                <a:gd name="T10" fmla="*/ 2 w 8"/>
                <a:gd name="T11" fmla="*/ 7 h 9"/>
                <a:gd name="T12" fmla="*/ 6 w 8"/>
                <a:gd name="T13" fmla="*/ 7 h 9"/>
                <a:gd name="T14" fmla="*/ 6 w 8"/>
                <a:gd name="T15" fmla="*/ 2 h 9"/>
                <a:gd name="T16" fmla="*/ 2 w 8"/>
                <a:gd name="T17" fmla="*/ 2 h 9"/>
                <a:gd name="T18" fmla="*/ 2 w 8"/>
                <a:gd name="T19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9">
                  <a:moveTo>
                    <a:pt x="8" y="9"/>
                  </a:moveTo>
                  <a:lnTo>
                    <a:pt x="0" y="9"/>
                  </a:lnTo>
                  <a:lnTo>
                    <a:pt x="0" y="0"/>
                  </a:lnTo>
                  <a:lnTo>
                    <a:pt x="8" y="0"/>
                  </a:lnTo>
                  <a:lnTo>
                    <a:pt x="8" y="9"/>
                  </a:lnTo>
                  <a:close/>
                  <a:moveTo>
                    <a:pt x="2" y="7"/>
                  </a:moveTo>
                  <a:lnTo>
                    <a:pt x="6" y="7"/>
                  </a:lnTo>
                  <a:lnTo>
                    <a:pt x="6" y="2"/>
                  </a:lnTo>
                  <a:lnTo>
                    <a:pt x="2" y="2"/>
                  </a:lnTo>
                  <a:lnTo>
                    <a:pt x="2" y="7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5" name="Rectangle 21"/>
            <p:cNvSpPr>
              <a:spLocks noChangeArrowheads="1"/>
            </p:cNvSpPr>
            <p:nvPr userDrawn="1"/>
          </p:nvSpPr>
          <p:spPr bwMode="auto">
            <a:xfrm>
              <a:off x="9869489" y="2529523"/>
              <a:ext cx="11113" cy="3175"/>
            </a:xfrm>
            <a:prstGeom prst="rect">
              <a:avLst/>
            </a:pr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6" name="Freeform 22"/>
            <p:cNvSpPr>
              <a:spLocks/>
            </p:cNvSpPr>
            <p:nvPr userDrawn="1"/>
          </p:nvSpPr>
          <p:spPr bwMode="auto">
            <a:xfrm>
              <a:off x="8629652" y="2818448"/>
              <a:ext cx="890588" cy="1417638"/>
            </a:xfrm>
            <a:custGeom>
              <a:avLst/>
              <a:gdLst>
                <a:gd name="T0" fmla="*/ 574 w 598"/>
                <a:gd name="T1" fmla="*/ 957 h 957"/>
                <a:gd name="T2" fmla="*/ 24 w 598"/>
                <a:gd name="T3" fmla="*/ 957 h 957"/>
                <a:gd name="T4" fmla="*/ 0 w 598"/>
                <a:gd name="T5" fmla="*/ 933 h 957"/>
                <a:gd name="T6" fmla="*/ 0 w 598"/>
                <a:gd name="T7" fmla="*/ 24 h 957"/>
                <a:gd name="T8" fmla="*/ 24 w 598"/>
                <a:gd name="T9" fmla="*/ 0 h 957"/>
                <a:gd name="T10" fmla="*/ 574 w 598"/>
                <a:gd name="T11" fmla="*/ 0 h 957"/>
                <a:gd name="T12" fmla="*/ 598 w 598"/>
                <a:gd name="T13" fmla="*/ 24 h 957"/>
                <a:gd name="T14" fmla="*/ 598 w 598"/>
                <a:gd name="T15" fmla="*/ 933 h 957"/>
                <a:gd name="T16" fmla="*/ 574 w 598"/>
                <a:gd name="T17" fmla="*/ 957 h 9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98" h="957">
                  <a:moveTo>
                    <a:pt x="574" y="957"/>
                  </a:moveTo>
                  <a:cubicBezTo>
                    <a:pt x="24" y="957"/>
                    <a:pt x="24" y="957"/>
                    <a:pt x="24" y="957"/>
                  </a:cubicBezTo>
                  <a:cubicBezTo>
                    <a:pt x="11" y="957"/>
                    <a:pt x="0" y="946"/>
                    <a:pt x="0" y="933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574" y="0"/>
                    <a:pt x="574" y="0"/>
                    <a:pt x="574" y="0"/>
                  </a:cubicBezTo>
                  <a:cubicBezTo>
                    <a:pt x="587" y="0"/>
                    <a:pt x="598" y="11"/>
                    <a:pt x="598" y="24"/>
                  </a:cubicBezTo>
                  <a:cubicBezTo>
                    <a:pt x="598" y="933"/>
                    <a:pt x="598" y="933"/>
                    <a:pt x="598" y="933"/>
                  </a:cubicBezTo>
                  <a:cubicBezTo>
                    <a:pt x="598" y="946"/>
                    <a:pt x="587" y="957"/>
                    <a:pt x="574" y="957"/>
                  </a:cubicBezTo>
                </a:path>
              </a:pathLst>
            </a:cu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7" name="Freeform 23"/>
            <p:cNvSpPr>
              <a:spLocks/>
            </p:cNvSpPr>
            <p:nvPr userDrawn="1"/>
          </p:nvSpPr>
          <p:spPr bwMode="auto">
            <a:xfrm>
              <a:off x="8623302" y="2812098"/>
              <a:ext cx="903288" cy="1430338"/>
            </a:xfrm>
            <a:custGeom>
              <a:avLst/>
              <a:gdLst>
                <a:gd name="T0" fmla="*/ 578 w 606"/>
                <a:gd name="T1" fmla="*/ 961 h 965"/>
                <a:gd name="T2" fmla="*/ 578 w 606"/>
                <a:gd name="T3" fmla="*/ 957 h 965"/>
                <a:gd name="T4" fmla="*/ 28 w 606"/>
                <a:gd name="T5" fmla="*/ 957 h 965"/>
                <a:gd name="T6" fmla="*/ 14 w 606"/>
                <a:gd name="T7" fmla="*/ 951 h 965"/>
                <a:gd name="T8" fmla="*/ 8 w 606"/>
                <a:gd name="T9" fmla="*/ 937 h 965"/>
                <a:gd name="T10" fmla="*/ 8 w 606"/>
                <a:gd name="T11" fmla="*/ 28 h 965"/>
                <a:gd name="T12" fmla="*/ 14 w 606"/>
                <a:gd name="T13" fmla="*/ 14 h 965"/>
                <a:gd name="T14" fmla="*/ 28 w 606"/>
                <a:gd name="T15" fmla="*/ 8 h 965"/>
                <a:gd name="T16" fmla="*/ 578 w 606"/>
                <a:gd name="T17" fmla="*/ 8 h 965"/>
                <a:gd name="T18" fmla="*/ 592 w 606"/>
                <a:gd name="T19" fmla="*/ 14 h 965"/>
                <a:gd name="T20" fmla="*/ 598 w 606"/>
                <a:gd name="T21" fmla="*/ 28 h 965"/>
                <a:gd name="T22" fmla="*/ 598 w 606"/>
                <a:gd name="T23" fmla="*/ 937 h 965"/>
                <a:gd name="T24" fmla="*/ 592 w 606"/>
                <a:gd name="T25" fmla="*/ 951 h 965"/>
                <a:gd name="T26" fmla="*/ 578 w 606"/>
                <a:gd name="T27" fmla="*/ 957 h 965"/>
                <a:gd name="T28" fmla="*/ 578 w 606"/>
                <a:gd name="T29" fmla="*/ 961 h 965"/>
                <a:gd name="T30" fmla="*/ 578 w 606"/>
                <a:gd name="T31" fmla="*/ 965 h 965"/>
                <a:gd name="T32" fmla="*/ 606 w 606"/>
                <a:gd name="T33" fmla="*/ 937 h 965"/>
                <a:gd name="T34" fmla="*/ 606 w 606"/>
                <a:gd name="T35" fmla="*/ 28 h 965"/>
                <a:gd name="T36" fmla="*/ 578 w 606"/>
                <a:gd name="T37" fmla="*/ 0 h 965"/>
                <a:gd name="T38" fmla="*/ 28 w 606"/>
                <a:gd name="T39" fmla="*/ 0 h 965"/>
                <a:gd name="T40" fmla="*/ 0 w 606"/>
                <a:gd name="T41" fmla="*/ 28 h 965"/>
                <a:gd name="T42" fmla="*/ 0 w 606"/>
                <a:gd name="T43" fmla="*/ 937 h 965"/>
                <a:gd name="T44" fmla="*/ 28 w 606"/>
                <a:gd name="T45" fmla="*/ 965 h 965"/>
                <a:gd name="T46" fmla="*/ 578 w 606"/>
                <a:gd name="T47" fmla="*/ 965 h 965"/>
                <a:gd name="T48" fmla="*/ 578 w 606"/>
                <a:gd name="T49" fmla="*/ 961 h 9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6" h="965">
                  <a:moveTo>
                    <a:pt x="578" y="961"/>
                  </a:moveTo>
                  <a:cubicBezTo>
                    <a:pt x="578" y="957"/>
                    <a:pt x="578" y="957"/>
                    <a:pt x="578" y="957"/>
                  </a:cubicBezTo>
                  <a:cubicBezTo>
                    <a:pt x="28" y="957"/>
                    <a:pt x="28" y="957"/>
                    <a:pt x="28" y="957"/>
                  </a:cubicBezTo>
                  <a:cubicBezTo>
                    <a:pt x="22" y="957"/>
                    <a:pt x="17" y="955"/>
                    <a:pt x="14" y="951"/>
                  </a:cubicBezTo>
                  <a:cubicBezTo>
                    <a:pt x="10" y="948"/>
                    <a:pt x="8" y="943"/>
                    <a:pt x="8" y="937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8" y="23"/>
                    <a:pt x="10" y="18"/>
                    <a:pt x="14" y="14"/>
                  </a:cubicBezTo>
                  <a:cubicBezTo>
                    <a:pt x="17" y="11"/>
                    <a:pt x="22" y="8"/>
                    <a:pt x="28" y="8"/>
                  </a:cubicBezTo>
                  <a:cubicBezTo>
                    <a:pt x="578" y="8"/>
                    <a:pt x="578" y="8"/>
                    <a:pt x="578" y="8"/>
                  </a:cubicBezTo>
                  <a:cubicBezTo>
                    <a:pt x="583" y="8"/>
                    <a:pt x="588" y="11"/>
                    <a:pt x="592" y="14"/>
                  </a:cubicBezTo>
                  <a:cubicBezTo>
                    <a:pt x="596" y="18"/>
                    <a:pt x="598" y="23"/>
                    <a:pt x="598" y="28"/>
                  </a:cubicBezTo>
                  <a:cubicBezTo>
                    <a:pt x="598" y="937"/>
                    <a:pt x="598" y="937"/>
                    <a:pt x="598" y="937"/>
                  </a:cubicBezTo>
                  <a:cubicBezTo>
                    <a:pt x="598" y="943"/>
                    <a:pt x="596" y="948"/>
                    <a:pt x="592" y="951"/>
                  </a:cubicBezTo>
                  <a:cubicBezTo>
                    <a:pt x="588" y="955"/>
                    <a:pt x="583" y="957"/>
                    <a:pt x="578" y="957"/>
                  </a:cubicBezTo>
                  <a:cubicBezTo>
                    <a:pt x="578" y="961"/>
                    <a:pt x="578" y="961"/>
                    <a:pt x="578" y="961"/>
                  </a:cubicBezTo>
                  <a:cubicBezTo>
                    <a:pt x="578" y="965"/>
                    <a:pt x="578" y="965"/>
                    <a:pt x="578" y="965"/>
                  </a:cubicBezTo>
                  <a:cubicBezTo>
                    <a:pt x="593" y="965"/>
                    <a:pt x="606" y="953"/>
                    <a:pt x="606" y="937"/>
                  </a:cubicBezTo>
                  <a:cubicBezTo>
                    <a:pt x="606" y="28"/>
                    <a:pt x="606" y="28"/>
                    <a:pt x="606" y="28"/>
                  </a:cubicBezTo>
                  <a:cubicBezTo>
                    <a:pt x="606" y="13"/>
                    <a:pt x="593" y="0"/>
                    <a:pt x="57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2" y="0"/>
                    <a:pt x="0" y="13"/>
                    <a:pt x="0" y="28"/>
                  </a:cubicBezTo>
                  <a:cubicBezTo>
                    <a:pt x="0" y="937"/>
                    <a:pt x="0" y="937"/>
                    <a:pt x="0" y="937"/>
                  </a:cubicBezTo>
                  <a:cubicBezTo>
                    <a:pt x="0" y="953"/>
                    <a:pt x="12" y="965"/>
                    <a:pt x="28" y="965"/>
                  </a:cubicBezTo>
                  <a:cubicBezTo>
                    <a:pt x="578" y="965"/>
                    <a:pt x="578" y="965"/>
                    <a:pt x="578" y="965"/>
                  </a:cubicBezTo>
                  <a:cubicBezTo>
                    <a:pt x="578" y="961"/>
                    <a:pt x="578" y="961"/>
                    <a:pt x="578" y="961"/>
                  </a:cubicBezTo>
                </a:path>
              </a:pathLst>
            </a:custGeom>
            <a:solidFill>
              <a:srgbClr val="9E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8" name="Freeform 24"/>
            <p:cNvSpPr>
              <a:spLocks/>
            </p:cNvSpPr>
            <p:nvPr userDrawn="1"/>
          </p:nvSpPr>
          <p:spPr bwMode="auto">
            <a:xfrm>
              <a:off x="8636002" y="2823210"/>
              <a:ext cx="879475" cy="1406525"/>
            </a:xfrm>
            <a:custGeom>
              <a:avLst/>
              <a:gdLst>
                <a:gd name="T0" fmla="*/ 570 w 590"/>
                <a:gd name="T1" fmla="*/ 0 h 949"/>
                <a:gd name="T2" fmla="*/ 20 w 590"/>
                <a:gd name="T3" fmla="*/ 0 h 949"/>
                <a:gd name="T4" fmla="*/ 6 w 590"/>
                <a:gd name="T5" fmla="*/ 6 h 949"/>
                <a:gd name="T6" fmla="*/ 0 w 590"/>
                <a:gd name="T7" fmla="*/ 20 h 949"/>
                <a:gd name="T8" fmla="*/ 0 w 590"/>
                <a:gd name="T9" fmla="*/ 929 h 949"/>
                <a:gd name="T10" fmla="*/ 6 w 590"/>
                <a:gd name="T11" fmla="*/ 943 h 949"/>
                <a:gd name="T12" fmla="*/ 20 w 590"/>
                <a:gd name="T13" fmla="*/ 949 h 949"/>
                <a:gd name="T14" fmla="*/ 570 w 590"/>
                <a:gd name="T15" fmla="*/ 949 h 949"/>
                <a:gd name="T16" fmla="*/ 584 w 590"/>
                <a:gd name="T17" fmla="*/ 943 h 949"/>
                <a:gd name="T18" fmla="*/ 590 w 590"/>
                <a:gd name="T19" fmla="*/ 929 h 949"/>
                <a:gd name="T20" fmla="*/ 590 w 590"/>
                <a:gd name="T21" fmla="*/ 20 h 949"/>
                <a:gd name="T22" fmla="*/ 584 w 590"/>
                <a:gd name="T23" fmla="*/ 6 h 949"/>
                <a:gd name="T24" fmla="*/ 570 w 590"/>
                <a:gd name="T25" fmla="*/ 0 h 9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90" h="949">
                  <a:moveTo>
                    <a:pt x="570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14" y="0"/>
                    <a:pt x="9" y="3"/>
                    <a:pt x="6" y="6"/>
                  </a:cubicBezTo>
                  <a:cubicBezTo>
                    <a:pt x="2" y="10"/>
                    <a:pt x="0" y="15"/>
                    <a:pt x="0" y="20"/>
                  </a:cubicBezTo>
                  <a:cubicBezTo>
                    <a:pt x="0" y="929"/>
                    <a:pt x="0" y="929"/>
                    <a:pt x="0" y="929"/>
                  </a:cubicBezTo>
                  <a:cubicBezTo>
                    <a:pt x="0" y="935"/>
                    <a:pt x="2" y="940"/>
                    <a:pt x="6" y="943"/>
                  </a:cubicBezTo>
                  <a:cubicBezTo>
                    <a:pt x="9" y="947"/>
                    <a:pt x="14" y="949"/>
                    <a:pt x="20" y="949"/>
                  </a:cubicBezTo>
                  <a:cubicBezTo>
                    <a:pt x="570" y="949"/>
                    <a:pt x="570" y="949"/>
                    <a:pt x="570" y="949"/>
                  </a:cubicBezTo>
                  <a:cubicBezTo>
                    <a:pt x="575" y="949"/>
                    <a:pt x="580" y="947"/>
                    <a:pt x="584" y="943"/>
                  </a:cubicBezTo>
                  <a:cubicBezTo>
                    <a:pt x="588" y="940"/>
                    <a:pt x="590" y="935"/>
                    <a:pt x="590" y="929"/>
                  </a:cubicBezTo>
                  <a:cubicBezTo>
                    <a:pt x="590" y="20"/>
                    <a:pt x="590" y="20"/>
                    <a:pt x="590" y="20"/>
                  </a:cubicBezTo>
                  <a:cubicBezTo>
                    <a:pt x="590" y="15"/>
                    <a:pt x="588" y="10"/>
                    <a:pt x="584" y="6"/>
                  </a:cubicBezTo>
                  <a:cubicBezTo>
                    <a:pt x="580" y="3"/>
                    <a:pt x="575" y="0"/>
                    <a:pt x="570" y="0"/>
                  </a:cubicBezTo>
                </a:path>
              </a:pathLst>
            </a:custGeom>
            <a:solidFill>
              <a:srgbClr val="0034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9" name="Freeform 25"/>
            <p:cNvSpPr>
              <a:spLocks noEditPoints="1"/>
            </p:cNvSpPr>
            <p:nvPr userDrawn="1"/>
          </p:nvSpPr>
          <p:spPr bwMode="auto">
            <a:xfrm>
              <a:off x="8629652" y="2818448"/>
              <a:ext cx="890588" cy="1417638"/>
            </a:xfrm>
            <a:custGeom>
              <a:avLst/>
              <a:gdLst>
                <a:gd name="T0" fmla="*/ 24 w 598"/>
                <a:gd name="T1" fmla="*/ 953 h 957"/>
                <a:gd name="T2" fmla="*/ 10 w 598"/>
                <a:gd name="T3" fmla="*/ 947 h 957"/>
                <a:gd name="T4" fmla="*/ 4 w 598"/>
                <a:gd name="T5" fmla="*/ 933 h 957"/>
                <a:gd name="T6" fmla="*/ 4 w 598"/>
                <a:gd name="T7" fmla="*/ 24 h 957"/>
                <a:gd name="T8" fmla="*/ 10 w 598"/>
                <a:gd name="T9" fmla="*/ 10 h 957"/>
                <a:gd name="T10" fmla="*/ 24 w 598"/>
                <a:gd name="T11" fmla="*/ 4 h 957"/>
                <a:gd name="T12" fmla="*/ 574 w 598"/>
                <a:gd name="T13" fmla="*/ 4 h 957"/>
                <a:gd name="T14" fmla="*/ 588 w 598"/>
                <a:gd name="T15" fmla="*/ 10 h 957"/>
                <a:gd name="T16" fmla="*/ 594 w 598"/>
                <a:gd name="T17" fmla="*/ 24 h 957"/>
                <a:gd name="T18" fmla="*/ 594 w 598"/>
                <a:gd name="T19" fmla="*/ 933 h 957"/>
                <a:gd name="T20" fmla="*/ 588 w 598"/>
                <a:gd name="T21" fmla="*/ 947 h 957"/>
                <a:gd name="T22" fmla="*/ 574 w 598"/>
                <a:gd name="T23" fmla="*/ 953 h 957"/>
                <a:gd name="T24" fmla="*/ 574 w 598"/>
                <a:gd name="T25" fmla="*/ 953 h 957"/>
                <a:gd name="T26" fmla="*/ 24 w 598"/>
                <a:gd name="T27" fmla="*/ 953 h 957"/>
                <a:gd name="T28" fmla="*/ 574 w 598"/>
                <a:gd name="T29" fmla="*/ 0 h 957"/>
                <a:gd name="T30" fmla="*/ 24 w 598"/>
                <a:gd name="T31" fmla="*/ 0 h 957"/>
                <a:gd name="T32" fmla="*/ 0 w 598"/>
                <a:gd name="T33" fmla="*/ 24 h 957"/>
                <a:gd name="T34" fmla="*/ 0 w 598"/>
                <a:gd name="T35" fmla="*/ 933 h 957"/>
                <a:gd name="T36" fmla="*/ 24 w 598"/>
                <a:gd name="T37" fmla="*/ 957 h 957"/>
                <a:gd name="T38" fmla="*/ 574 w 598"/>
                <a:gd name="T39" fmla="*/ 957 h 957"/>
                <a:gd name="T40" fmla="*/ 598 w 598"/>
                <a:gd name="T41" fmla="*/ 933 h 957"/>
                <a:gd name="T42" fmla="*/ 598 w 598"/>
                <a:gd name="T43" fmla="*/ 24 h 957"/>
                <a:gd name="T44" fmla="*/ 574 w 598"/>
                <a:gd name="T45" fmla="*/ 0 h 9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98" h="957">
                  <a:moveTo>
                    <a:pt x="24" y="953"/>
                  </a:moveTo>
                  <a:cubicBezTo>
                    <a:pt x="18" y="953"/>
                    <a:pt x="13" y="951"/>
                    <a:pt x="10" y="947"/>
                  </a:cubicBezTo>
                  <a:cubicBezTo>
                    <a:pt x="6" y="944"/>
                    <a:pt x="4" y="939"/>
                    <a:pt x="4" y="933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4" y="19"/>
                    <a:pt x="6" y="14"/>
                    <a:pt x="10" y="10"/>
                  </a:cubicBezTo>
                  <a:cubicBezTo>
                    <a:pt x="13" y="7"/>
                    <a:pt x="18" y="4"/>
                    <a:pt x="24" y="4"/>
                  </a:cubicBezTo>
                  <a:cubicBezTo>
                    <a:pt x="574" y="4"/>
                    <a:pt x="574" y="4"/>
                    <a:pt x="574" y="4"/>
                  </a:cubicBezTo>
                  <a:cubicBezTo>
                    <a:pt x="579" y="4"/>
                    <a:pt x="584" y="7"/>
                    <a:pt x="588" y="10"/>
                  </a:cubicBezTo>
                  <a:cubicBezTo>
                    <a:pt x="592" y="14"/>
                    <a:pt x="594" y="19"/>
                    <a:pt x="594" y="24"/>
                  </a:cubicBezTo>
                  <a:cubicBezTo>
                    <a:pt x="594" y="933"/>
                    <a:pt x="594" y="933"/>
                    <a:pt x="594" y="933"/>
                  </a:cubicBezTo>
                  <a:cubicBezTo>
                    <a:pt x="594" y="939"/>
                    <a:pt x="592" y="944"/>
                    <a:pt x="588" y="947"/>
                  </a:cubicBezTo>
                  <a:cubicBezTo>
                    <a:pt x="584" y="951"/>
                    <a:pt x="579" y="953"/>
                    <a:pt x="574" y="953"/>
                  </a:cubicBezTo>
                  <a:cubicBezTo>
                    <a:pt x="574" y="953"/>
                    <a:pt x="574" y="953"/>
                    <a:pt x="574" y="953"/>
                  </a:cubicBezTo>
                  <a:cubicBezTo>
                    <a:pt x="24" y="953"/>
                    <a:pt x="24" y="953"/>
                    <a:pt x="24" y="953"/>
                  </a:cubicBezTo>
                  <a:moveTo>
                    <a:pt x="574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933"/>
                    <a:pt x="0" y="933"/>
                    <a:pt x="0" y="933"/>
                  </a:cubicBezTo>
                  <a:cubicBezTo>
                    <a:pt x="0" y="946"/>
                    <a:pt x="11" y="957"/>
                    <a:pt x="24" y="957"/>
                  </a:cubicBezTo>
                  <a:cubicBezTo>
                    <a:pt x="574" y="957"/>
                    <a:pt x="574" y="957"/>
                    <a:pt x="574" y="957"/>
                  </a:cubicBezTo>
                  <a:cubicBezTo>
                    <a:pt x="587" y="957"/>
                    <a:pt x="598" y="946"/>
                    <a:pt x="598" y="933"/>
                  </a:cubicBezTo>
                  <a:cubicBezTo>
                    <a:pt x="598" y="24"/>
                    <a:pt x="598" y="24"/>
                    <a:pt x="598" y="24"/>
                  </a:cubicBezTo>
                  <a:cubicBezTo>
                    <a:pt x="598" y="11"/>
                    <a:pt x="587" y="0"/>
                    <a:pt x="574" y="0"/>
                  </a:cubicBezTo>
                </a:path>
              </a:pathLst>
            </a:custGeom>
            <a:solidFill>
              <a:srgbClr val="6E6E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0" name="Rectangle 26"/>
            <p:cNvSpPr>
              <a:spLocks noChangeArrowheads="1"/>
            </p:cNvSpPr>
            <p:nvPr userDrawn="1"/>
          </p:nvSpPr>
          <p:spPr bwMode="auto">
            <a:xfrm>
              <a:off x="8701089" y="2889885"/>
              <a:ext cx="747713" cy="127476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1" name="Rectangle 27"/>
            <p:cNvSpPr>
              <a:spLocks noChangeArrowheads="1"/>
            </p:cNvSpPr>
            <p:nvPr userDrawn="1"/>
          </p:nvSpPr>
          <p:spPr bwMode="auto">
            <a:xfrm>
              <a:off x="8701089" y="2889885"/>
              <a:ext cx="747713" cy="168275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2" name="Freeform 28"/>
            <p:cNvSpPr>
              <a:spLocks/>
            </p:cNvSpPr>
            <p:nvPr userDrawn="1"/>
          </p:nvSpPr>
          <p:spPr bwMode="auto">
            <a:xfrm>
              <a:off x="7754939" y="2562860"/>
              <a:ext cx="719138" cy="798513"/>
            </a:xfrm>
            <a:custGeom>
              <a:avLst/>
              <a:gdLst>
                <a:gd name="T0" fmla="*/ 442 w 482"/>
                <a:gd name="T1" fmla="*/ 431 h 539"/>
                <a:gd name="T2" fmla="*/ 281 w 482"/>
                <a:gd name="T3" fmla="*/ 524 h 539"/>
                <a:gd name="T4" fmla="*/ 201 w 482"/>
                <a:gd name="T5" fmla="*/ 524 h 539"/>
                <a:gd name="T6" fmla="*/ 40 w 482"/>
                <a:gd name="T7" fmla="*/ 431 h 539"/>
                <a:gd name="T8" fmla="*/ 0 w 482"/>
                <a:gd name="T9" fmla="*/ 362 h 539"/>
                <a:gd name="T10" fmla="*/ 0 w 482"/>
                <a:gd name="T11" fmla="*/ 176 h 539"/>
                <a:gd name="T12" fmla="*/ 40 w 482"/>
                <a:gd name="T13" fmla="*/ 107 h 539"/>
                <a:gd name="T14" fmla="*/ 201 w 482"/>
                <a:gd name="T15" fmla="*/ 14 h 539"/>
                <a:gd name="T16" fmla="*/ 281 w 482"/>
                <a:gd name="T17" fmla="*/ 14 h 539"/>
                <a:gd name="T18" fmla="*/ 442 w 482"/>
                <a:gd name="T19" fmla="*/ 107 h 539"/>
                <a:gd name="T20" fmla="*/ 482 w 482"/>
                <a:gd name="T21" fmla="*/ 176 h 539"/>
                <a:gd name="T22" fmla="*/ 482 w 482"/>
                <a:gd name="T23" fmla="*/ 362 h 539"/>
                <a:gd name="T24" fmla="*/ 442 w 482"/>
                <a:gd name="T25" fmla="*/ 431 h 5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539">
                  <a:moveTo>
                    <a:pt x="442" y="431"/>
                  </a:moveTo>
                  <a:cubicBezTo>
                    <a:pt x="281" y="524"/>
                    <a:pt x="281" y="524"/>
                    <a:pt x="281" y="524"/>
                  </a:cubicBezTo>
                  <a:cubicBezTo>
                    <a:pt x="256" y="539"/>
                    <a:pt x="226" y="539"/>
                    <a:pt x="201" y="524"/>
                  </a:cubicBezTo>
                  <a:cubicBezTo>
                    <a:pt x="40" y="431"/>
                    <a:pt x="40" y="431"/>
                    <a:pt x="40" y="431"/>
                  </a:cubicBezTo>
                  <a:cubicBezTo>
                    <a:pt x="15" y="417"/>
                    <a:pt x="0" y="391"/>
                    <a:pt x="0" y="362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0" y="148"/>
                    <a:pt x="15" y="121"/>
                    <a:pt x="40" y="107"/>
                  </a:cubicBezTo>
                  <a:cubicBezTo>
                    <a:pt x="201" y="14"/>
                    <a:pt x="201" y="14"/>
                    <a:pt x="201" y="14"/>
                  </a:cubicBezTo>
                  <a:cubicBezTo>
                    <a:pt x="226" y="0"/>
                    <a:pt x="256" y="0"/>
                    <a:pt x="281" y="14"/>
                  </a:cubicBezTo>
                  <a:cubicBezTo>
                    <a:pt x="442" y="107"/>
                    <a:pt x="442" y="107"/>
                    <a:pt x="442" y="107"/>
                  </a:cubicBezTo>
                  <a:cubicBezTo>
                    <a:pt x="467" y="121"/>
                    <a:pt x="482" y="148"/>
                    <a:pt x="482" y="176"/>
                  </a:cubicBezTo>
                  <a:cubicBezTo>
                    <a:pt x="482" y="362"/>
                    <a:pt x="482" y="362"/>
                    <a:pt x="482" y="362"/>
                  </a:cubicBezTo>
                  <a:cubicBezTo>
                    <a:pt x="482" y="391"/>
                    <a:pt x="467" y="417"/>
                    <a:pt x="442" y="431"/>
                  </a:cubicBezTo>
                </a:path>
              </a:pathLst>
            </a:custGeom>
            <a:solidFill>
              <a:srgbClr val="5C2D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3" name="Freeform 29"/>
            <p:cNvSpPr>
              <a:spLocks/>
            </p:cNvSpPr>
            <p:nvPr userDrawn="1"/>
          </p:nvSpPr>
          <p:spPr bwMode="auto">
            <a:xfrm>
              <a:off x="7939089" y="3007360"/>
              <a:ext cx="328613" cy="354013"/>
            </a:xfrm>
            <a:custGeom>
              <a:avLst/>
              <a:gdLst>
                <a:gd name="T0" fmla="*/ 0 w 221"/>
                <a:gd name="T1" fmla="*/ 0 h 239"/>
                <a:gd name="T2" fmla="*/ 0 w 221"/>
                <a:gd name="T3" fmla="*/ 179 h 239"/>
                <a:gd name="T4" fmla="*/ 78 w 221"/>
                <a:gd name="T5" fmla="*/ 224 h 239"/>
                <a:gd name="T6" fmla="*/ 158 w 221"/>
                <a:gd name="T7" fmla="*/ 224 h 239"/>
                <a:gd name="T8" fmla="*/ 221 w 221"/>
                <a:gd name="T9" fmla="*/ 188 h 239"/>
                <a:gd name="T10" fmla="*/ 221 w 221"/>
                <a:gd name="T11" fmla="*/ 0 h 239"/>
                <a:gd name="T12" fmla="*/ 0 w 221"/>
                <a:gd name="T13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1" h="239">
                  <a:moveTo>
                    <a:pt x="0" y="0"/>
                  </a:moveTo>
                  <a:cubicBezTo>
                    <a:pt x="0" y="179"/>
                    <a:pt x="0" y="179"/>
                    <a:pt x="0" y="179"/>
                  </a:cubicBezTo>
                  <a:cubicBezTo>
                    <a:pt x="78" y="224"/>
                    <a:pt x="78" y="224"/>
                    <a:pt x="78" y="224"/>
                  </a:cubicBezTo>
                  <a:cubicBezTo>
                    <a:pt x="103" y="239"/>
                    <a:pt x="133" y="239"/>
                    <a:pt x="158" y="224"/>
                  </a:cubicBezTo>
                  <a:cubicBezTo>
                    <a:pt x="221" y="188"/>
                    <a:pt x="221" y="188"/>
                    <a:pt x="221" y="188"/>
                  </a:cubicBezTo>
                  <a:cubicBezTo>
                    <a:pt x="221" y="0"/>
                    <a:pt x="221" y="0"/>
                    <a:pt x="221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4" name="Freeform 30"/>
            <p:cNvSpPr>
              <a:spLocks/>
            </p:cNvSpPr>
            <p:nvPr userDrawn="1"/>
          </p:nvSpPr>
          <p:spPr bwMode="auto">
            <a:xfrm>
              <a:off x="7754939" y="3693160"/>
              <a:ext cx="719138" cy="800100"/>
            </a:xfrm>
            <a:custGeom>
              <a:avLst/>
              <a:gdLst>
                <a:gd name="T0" fmla="*/ 442 w 482"/>
                <a:gd name="T1" fmla="*/ 432 h 539"/>
                <a:gd name="T2" fmla="*/ 281 w 482"/>
                <a:gd name="T3" fmla="*/ 525 h 539"/>
                <a:gd name="T4" fmla="*/ 201 w 482"/>
                <a:gd name="T5" fmla="*/ 525 h 539"/>
                <a:gd name="T6" fmla="*/ 40 w 482"/>
                <a:gd name="T7" fmla="*/ 432 h 539"/>
                <a:gd name="T8" fmla="*/ 0 w 482"/>
                <a:gd name="T9" fmla="*/ 362 h 539"/>
                <a:gd name="T10" fmla="*/ 0 w 482"/>
                <a:gd name="T11" fmla="*/ 176 h 539"/>
                <a:gd name="T12" fmla="*/ 40 w 482"/>
                <a:gd name="T13" fmla="*/ 107 h 539"/>
                <a:gd name="T14" fmla="*/ 201 w 482"/>
                <a:gd name="T15" fmla="*/ 14 h 539"/>
                <a:gd name="T16" fmla="*/ 281 w 482"/>
                <a:gd name="T17" fmla="*/ 14 h 539"/>
                <a:gd name="T18" fmla="*/ 442 w 482"/>
                <a:gd name="T19" fmla="*/ 107 h 539"/>
                <a:gd name="T20" fmla="*/ 482 w 482"/>
                <a:gd name="T21" fmla="*/ 176 h 539"/>
                <a:gd name="T22" fmla="*/ 482 w 482"/>
                <a:gd name="T23" fmla="*/ 362 h 539"/>
                <a:gd name="T24" fmla="*/ 442 w 482"/>
                <a:gd name="T25" fmla="*/ 432 h 5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539">
                  <a:moveTo>
                    <a:pt x="442" y="432"/>
                  </a:moveTo>
                  <a:cubicBezTo>
                    <a:pt x="281" y="525"/>
                    <a:pt x="281" y="525"/>
                    <a:pt x="281" y="525"/>
                  </a:cubicBezTo>
                  <a:cubicBezTo>
                    <a:pt x="256" y="539"/>
                    <a:pt x="226" y="539"/>
                    <a:pt x="201" y="525"/>
                  </a:cubicBezTo>
                  <a:cubicBezTo>
                    <a:pt x="40" y="432"/>
                    <a:pt x="40" y="432"/>
                    <a:pt x="40" y="432"/>
                  </a:cubicBezTo>
                  <a:cubicBezTo>
                    <a:pt x="15" y="417"/>
                    <a:pt x="0" y="391"/>
                    <a:pt x="0" y="362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0" y="148"/>
                    <a:pt x="15" y="121"/>
                    <a:pt x="40" y="107"/>
                  </a:cubicBezTo>
                  <a:cubicBezTo>
                    <a:pt x="201" y="14"/>
                    <a:pt x="201" y="14"/>
                    <a:pt x="201" y="14"/>
                  </a:cubicBezTo>
                  <a:cubicBezTo>
                    <a:pt x="226" y="0"/>
                    <a:pt x="256" y="0"/>
                    <a:pt x="281" y="14"/>
                  </a:cubicBezTo>
                  <a:cubicBezTo>
                    <a:pt x="442" y="107"/>
                    <a:pt x="442" y="107"/>
                    <a:pt x="442" y="107"/>
                  </a:cubicBezTo>
                  <a:cubicBezTo>
                    <a:pt x="467" y="121"/>
                    <a:pt x="482" y="148"/>
                    <a:pt x="482" y="176"/>
                  </a:cubicBezTo>
                  <a:cubicBezTo>
                    <a:pt x="482" y="362"/>
                    <a:pt x="482" y="362"/>
                    <a:pt x="482" y="362"/>
                  </a:cubicBezTo>
                  <a:cubicBezTo>
                    <a:pt x="482" y="391"/>
                    <a:pt x="467" y="417"/>
                    <a:pt x="442" y="432"/>
                  </a:cubicBezTo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5" name="Freeform 31"/>
            <p:cNvSpPr>
              <a:spLocks/>
            </p:cNvSpPr>
            <p:nvPr userDrawn="1"/>
          </p:nvSpPr>
          <p:spPr bwMode="auto">
            <a:xfrm>
              <a:off x="7918452" y="4094798"/>
              <a:ext cx="365125" cy="398463"/>
            </a:xfrm>
            <a:custGeom>
              <a:avLst/>
              <a:gdLst>
                <a:gd name="T0" fmla="*/ 245 w 245"/>
                <a:gd name="T1" fmla="*/ 0 h 269"/>
                <a:gd name="T2" fmla="*/ 0 w 245"/>
                <a:gd name="T3" fmla="*/ 0 h 269"/>
                <a:gd name="T4" fmla="*/ 0 w 245"/>
                <a:gd name="T5" fmla="*/ 202 h 269"/>
                <a:gd name="T6" fmla="*/ 91 w 245"/>
                <a:gd name="T7" fmla="*/ 255 h 269"/>
                <a:gd name="T8" fmla="*/ 171 w 245"/>
                <a:gd name="T9" fmla="*/ 255 h 269"/>
                <a:gd name="T10" fmla="*/ 245 w 245"/>
                <a:gd name="T11" fmla="*/ 212 h 269"/>
                <a:gd name="T12" fmla="*/ 245 w 245"/>
                <a:gd name="T13" fmla="*/ 0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5" h="269">
                  <a:moveTo>
                    <a:pt x="24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02"/>
                    <a:pt x="0" y="202"/>
                    <a:pt x="0" y="202"/>
                  </a:cubicBezTo>
                  <a:cubicBezTo>
                    <a:pt x="91" y="255"/>
                    <a:pt x="91" y="255"/>
                    <a:pt x="91" y="255"/>
                  </a:cubicBezTo>
                  <a:cubicBezTo>
                    <a:pt x="116" y="269"/>
                    <a:pt x="146" y="269"/>
                    <a:pt x="171" y="255"/>
                  </a:cubicBezTo>
                  <a:cubicBezTo>
                    <a:pt x="245" y="212"/>
                    <a:pt x="245" y="212"/>
                    <a:pt x="245" y="212"/>
                  </a:cubicBezTo>
                  <a:cubicBezTo>
                    <a:pt x="245" y="0"/>
                    <a:pt x="245" y="0"/>
                    <a:pt x="245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6" name="Freeform 32"/>
            <p:cNvSpPr>
              <a:spLocks/>
            </p:cNvSpPr>
            <p:nvPr userDrawn="1"/>
          </p:nvSpPr>
          <p:spPr bwMode="auto">
            <a:xfrm>
              <a:off x="8474077" y="2956560"/>
              <a:ext cx="77788" cy="1141413"/>
            </a:xfrm>
            <a:custGeom>
              <a:avLst/>
              <a:gdLst>
                <a:gd name="T0" fmla="*/ 0 w 49"/>
                <a:gd name="T1" fmla="*/ 7 h 719"/>
                <a:gd name="T2" fmla="*/ 42 w 49"/>
                <a:gd name="T3" fmla="*/ 7 h 719"/>
                <a:gd name="T4" fmla="*/ 42 w 49"/>
                <a:gd name="T5" fmla="*/ 712 h 719"/>
                <a:gd name="T6" fmla="*/ 0 w 49"/>
                <a:gd name="T7" fmla="*/ 712 h 719"/>
                <a:gd name="T8" fmla="*/ 0 w 49"/>
                <a:gd name="T9" fmla="*/ 719 h 719"/>
                <a:gd name="T10" fmla="*/ 49 w 49"/>
                <a:gd name="T11" fmla="*/ 719 h 719"/>
                <a:gd name="T12" fmla="*/ 49 w 49"/>
                <a:gd name="T13" fmla="*/ 0 h 719"/>
                <a:gd name="T14" fmla="*/ 0 w 49"/>
                <a:gd name="T15" fmla="*/ 0 h 719"/>
                <a:gd name="T16" fmla="*/ 0 w 49"/>
                <a:gd name="T17" fmla="*/ 7 h 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" h="719">
                  <a:moveTo>
                    <a:pt x="0" y="7"/>
                  </a:moveTo>
                  <a:lnTo>
                    <a:pt x="42" y="7"/>
                  </a:lnTo>
                  <a:lnTo>
                    <a:pt x="42" y="712"/>
                  </a:lnTo>
                  <a:lnTo>
                    <a:pt x="0" y="712"/>
                  </a:lnTo>
                  <a:lnTo>
                    <a:pt x="0" y="719"/>
                  </a:lnTo>
                  <a:lnTo>
                    <a:pt x="49" y="719"/>
                  </a:lnTo>
                  <a:lnTo>
                    <a:pt x="49" y="0"/>
                  </a:lnTo>
                  <a:lnTo>
                    <a:pt x="0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7" name="Freeform 33"/>
            <p:cNvSpPr>
              <a:spLocks/>
            </p:cNvSpPr>
            <p:nvPr userDrawn="1"/>
          </p:nvSpPr>
          <p:spPr bwMode="auto">
            <a:xfrm>
              <a:off x="8474077" y="2956560"/>
              <a:ext cx="77788" cy="1141413"/>
            </a:xfrm>
            <a:custGeom>
              <a:avLst/>
              <a:gdLst>
                <a:gd name="T0" fmla="*/ 0 w 49"/>
                <a:gd name="T1" fmla="*/ 7 h 719"/>
                <a:gd name="T2" fmla="*/ 42 w 49"/>
                <a:gd name="T3" fmla="*/ 7 h 719"/>
                <a:gd name="T4" fmla="*/ 42 w 49"/>
                <a:gd name="T5" fmla="*/ 712 h 719"/>
                <a:gd name="T6" fmla="*/ 0 w 49"/>
                <a:gd name="T7" fmla="*/ 712 h 719"/>
                <a:gd name="T8" fmla="*/ 0 w 49"/>
                <a:gd name="T9" fmla="*/ 719 h 719"/>
                <a:gd name="T10" fmla="*/ 49 w 49"/>
                <a:gd name="T11" fmla="*/ 719 h 719"/>
                <a:gd name="T12" fmla="*/ 49 w 49"/>
                <a:gd name="T13" fmla="*/ 0 h 719"/>
                <a:gd name="T14" fmla="*/ 0 w 49"/>
                <a:gd name="T15" fmla="*/ 0 h 719"/>
                <a:gd name="T16" fmla="*/ 0 w 49"/>
                <a:gd name="T17" fmla="*/ 7 h 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" h="719">
                  <a:moveTo>
                    <a:pt x="0" y="7"/>
                  </a:moveTo>
                  <a:lnTo>
                    <a:pt x="42" y="7"/>
                  </a:lnTo>
                  <a:lnTo>
                    <a:pt x="42" y="712"/>
                  </a:lnTo>
                  <a:lnTo>
                    <a:pt x="0" y="712"/>
                  </a:lnTo>
                  <a:lnTo>
                    <a:pt x="0" y="719"/>
                  </a:lnTo>
                  <a:lnTo>
                    <a:pt x="49" y="719"/>
                  </a:lnTo>
                  <a:lnTo>
                    <a:pt x="49" y="0"/>
                  </a:lnTo>
                  <a:lnTo>
                    <a:pt x="0" y="0"/>
                  </a:lnTo>
                  <a:lnTo>
                    <a:pt x="0" y="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8" name="Rectangle 34"/>
            <p:cNvSpPr>
              <a:spLocks noChangeArrowheads="1"/>
            </p:cNvSpPr>
            <p:nvPr userDrawn="1"/>
          </p:nvSpPr>
          <p:spPr bwMode="auto">
            <a:xfrm>
              <a:off x="8547102" y="3521710"/>
              <a:ext cx="82550" cy="127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9" name="Freeform 35"/>
            <p:cNvSpPr>
              <a:spLocks/>
            </p:cNvSpPr>
            <p:nvPr userDrawn="1"/>
          </p:nvSpPr>
          <p:spPr bwMode="auto">
            <a:xfrm>
              <a:off x="8547102" y="3521710"/>
              <a:ext cx="82550" cy="12700"/>
            </a:xfrm>
            <a:custGeom>
              <a:avLst/>
              <a:gdLst>
                <a:gd name="T0" fmla="*/ 0 w 52"/>
                <a:gd name="T1" fmla="*/ 8 h 8"/>
                <a:gd name="T2" fmla="*/ 52 w 52"/>
                <a:gd name="T3" fmla="*/ 8 h 8"/>
                <a:gd name="T4" fmla="*/ 52 w 52"/>
                <a:gd name="T5" fmla="*/ 0 h 8"/>
                <a:gd name="T6" fmla="*/ 0 w 52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8">
                  <a:moveTo>
                    <a:pt x="0" y="8"/>
                  </a:moveTo>
                  <a:lnTo>
                    <a:pt x="52" y="8"/>
                  </a:lnTo>
                  <a:lnTo>
                    <a:pt x="52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0" name="Rectangle 36"/>
            <p:cNvSpPr>
              <a:spLocks noChangeArrowheads="1"/>
            </p:cNvSpPr>
            <p:nvPr userDrawn="1"/>
          </p:nvSpPr>
          <p:spPr bwMode="auto">
            <a:xfrm>
              <a:off x="8751889" y="3609023"/>
              <a:ext cx="249238" cy="19050"/>
            </a:xfrm>
            <a:prstGeom prst="rect">
              <a:avLst/>
            </a:prstGeom>
            <a:solidFill>
              <a:srgbClr val="5C2D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1" name="Rectangle 37"/>
            <p:cNvSpPr>
              <a:spLocks noChangeArrowheads="1"/>
            </p:cNvSpPr>
            <p:nvPr userDrawn="1"/>
          </p:nvSpPr>
          <p:spPr bwMode="auto">
            <a:xfrm>
              <a:off x="9001127" y="3609023"/>
              <a:ext cx="381000" cy="19050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2" name="Rectangle 38"/>
            <p:cNvSpPr>
              <a:spLocks noChangeArrowheads="1"/>
            </p:cNvSpPr>
            <p:nvPr userDrawn="1"/>
          </p:nvSpPr>
          <p:spPr bwMode="auto">
            <a:xfrm>
              <a:off x="8751889" y="3688398"/>
              <a:ext cx="630238" cy="17463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3" name="Rectangle 39"/>
            <p:cNvSpPr>
              <a:spLocks noChangeArrowheads="1"/>
            </p:cNvSpPr>
            <p:nvPr userDrawn="1"/>
          </p:nvSpPr>
          <p:spPr bwMode="auto">
            <a:xfrm>
              <a:off x="8751889" y="3764598"/>
              <a:ext cx="630238" cy="17463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4" name="Rectangle 40"/>
            <p:cNvSpPr>
              <a:spLocks noChangeArrowheads="1"/>
            </p:cNvSpPr>
            <p:nvPr userDrawn="1"/>
          </p:nvSpPr>
          <p:spPr bwMode="auto">
            <a:xfrm>
              <a:off x="8751889" y="3842385"/>
              <a:ext cx="630238" cy="17463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5" name="Rectangle 41"/>
            <p:cNvSpPr>
              <a:spLocks noChangeArrowheads="1"/>
            </p:cNvSpPr>
            <p:nvPr userDrawn="1"/>
          </p:nvSpPr>
          <p:spPr bwMode="auto">
            <a:xfrm>
              <a:off x="9099552" y="3842385"/>
              <a:ext cx="282575" cy="19050"/>
            </a:xfrm>
            <a:prstGeom prst="rect">
              <a:avLst/>
            </a:prstGeom>
            <a:solidFill>
              <a:srgbClr val="40C5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6" name="Rectangle 42"/>
            <p:cNvSpPr>
              <a:spLocks noChangeArrowheads="1"/>
            </p:cNvSpPr>
            <p:nvPr userDrawn="1"/>
          </p:nvSpPr>
          <p:spPr bwMode="auto">
            <a:xfrm>
              <a:off x="8751889" y="3918585"/>
              <a:ext cx="630238" cy="19050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7" name="Rectangle 43"/>
            <p:cNvSpPr>
              <a:spLocks noChangeArrowheads="1"/>
            </p:cNvSpPr>
            <p:nvPr userDrawn="1"/>
          </p:nvSpPr>
          <p:spPr bwMode="auto">
            <a:xfrm>
              <a:off x="8751889" y="3996373"/>
              <a:ext cx="630238" cy="17463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8" name="Rectangle 44"/>
            <p:cNvSpPr>
              <a:spLocks noChangeArrowheads="1"/>
            </p:cNvSpPr>
            <p:nvPr userDrawn="1"/>
          </p:nvSpPr>
          <p:spPr bwMode="auto">
            <a:xfrm>
              <a:off x="8751889" y="3996373"/>
              <a:ext cx="347663" cy="17463"/>
            </a:xfrm>
            <a:prstGeom prst="rect">
              <a:avLst/>
            </a:pr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9" name="Freeform 45"/>
            <p:cNvSpPr>
              <a:spLocks/>
            </p:cNvSpPr>
            <p:nvPr userDrawn="1"/>
          </p:nvSpPr>
          <p:spPr bwMode="auto">
            <a:xfrm>
              <a:off x="8732839" y="3275648"/>
              <a:ext cx="287338" cy="339725"/>
            </a:xfrm>
            <a:custGeom>
              <a:avLst/>
              <a:gdLst>
                <a:gd name="T0" fmla="*/ 164 w 193"/>
                <a:gd name="T1" fmla="*/ 113 h 229"/>
                <a:gd name="T2" fmla="*/ 97 w 193"/>
                <a:gd name="T3" fmla="*/ 229 h 229"/>
                <a:gd name="T4" fmla="*/ 30 w 193"/>
                <a:gd name="T5" fmla="*/ 113 h 229"/>
                <a:gd name="T6" fmla="*/ 95 w 193"/>
                <a:gd name="T7" fmla="*/ 0 h 229"/>
                <a:gd name="T8" fmla="*/ 98 w 193"/>
                <a:gd name="T9" fmla="*/ 0 h 229"/>
                <a:gd name="T10" fmla="*/ 164 w 193"/>
                <a:gd name="T11" fmla="*/ 113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3" h="229">
                  <a:moveTo>
                    <a:pt x="164" y="113"/>
                  </a:moveTo>
                  <a:cubicBezTo>
                    <a:pt x="97" y="229"/>
                    <a:pt x="97" y="229"/>
                    <a:pt x="97" y="229"/>
                  </a:cubicBezTo>
                  <a:cubicBezTo>
                    <a:pt x="30" y="113"/>
                    <a:pt x="30" y="113"/>
                    <a:pt x="30" y="113"/>
                  </a:cubicBezTo>
                  <a:cubicBezTo>
                    <a:pt x="0" y="63"/>
                    <a:pt x="37" y="0"/>
                    <a:pt x="95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156" y="0"/>
                    <a:pt x="193" y="63"/>
                    <a:pt x="164" y="113"/>
                  </a:cubicBezTo>
                  <a:close/>
                </a:path>
              </a:pathLst>
            </a:custGeom>
            <a:solidFill>
              <a:srgbClr val="5C2D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0" name="Freeform 46"/>
            <p:cNvSpPr>
              <a:spLocks/>
            </p:cNvSpPr>
            <p:nvPr userDrawn="1"/>
          </p:nvSpPr>
          <p:spPr bwMode="auto">
            <a:xfrm>
              <a:off x="8815389" y="3312160"/>
              <a:ext cx="120650" cy="217488"/>
            </a:xfrm>
            <a:custGeom>
              <a:avLst/>
              <a:gdLst>
                <a:gd name="T0" fmla="*/ 81 w 81"/>
                <a:gd name="T1" fmla="*/ 78 h 147"/>
                <a:gd name="T2" fmla="*/ 78 w 81"/>
                <a:gd name="T3" fmla="*/ 71 h 147"/>
                <a:gd name="T4" fmla="*/ 78 w 81"/>
                <a:gd name="T5" fmla="*/ 64 h 147"/>
                <a:gd name="T6" fmla="*/ 78 w 81"/>
                <a:gd name="T7" fmla="*/ 57 h 147"/>
                <a:gd name="T8" fmla="*/ 58 w 81"/>
                <a:gd name="T9" fmla="*/ 24 h 147"/>
                <a:gd name="T10" fmla="*/ 59 w 81"/>
                <a:gd name="T11" fmla="*/ 18 h 147"/>
                <a:gd name="T12" fmla="*/ 41 w 81"/>
                <a:gd name="T13" fmla="*/ 0 h 147"/>
                <a:gd name="T14" fmla="*/ 23 w 81"/>
                <a:gd name="T15" fmla="*/ 18 h 147"/>
                <a:gd name="T16" fmla="*/ 23 w 81"/>
                <a:gd name="T17" fmla="*/ 24 h 147"/>
                <a:gd name="T18" fmla="*/ 3 w 81"/>
                <a:gd name="T19" fmla="*/ 57 h 147"/>
                <a:gd name="T20" fmla="*/ 3 w 81"/>
                <a:gd name="T21" fmla="*/ 64 h 147"/>
                <a:gd name="T22" fmla="*/ 3 w 81"/>
                <a:gd name="T23" fmla="*/ 72 h 147"/>
                <a:gd name="T24" fmla="*/ 0 w 81"/>
                <a:gd name="T25" fmla="*/ 78 h 147"/>
                <a:gd name="T26" fmla="*/ 3 w 81"/>
                <a:gd name="T27" fmla="*/ 84 h 147"/>
                <a:gd name="T28" fmla="*/ 3 w 81"/>
                <a:gd name="T29" fmla="*/ 96 h 147"/>
                <a:gd name="T30" fmla="*/ 8 w 81"/>
                <a:gd name="T31" fmla="*/ 110 h 147"/>
                <a:gd name="T32" fmla="*/ 8 w 81"/>
                <a:gd name="T33" fmla="*/ 110 h 147"/>
                <a:gd name="T34" fmla="*/ 8 w 81"/>
                <a:gd name="T35" fmla="*/ 92 h 147"/>
                <a:gd name="T36" fmla="*/ 24 w 81"/>
                <a:gd name="T37" fmla="*/ 111 h 147"/>
                <a:gd name="T38" fmla="*/ 24 w 81"/>
                <a:gd name="T39" fmla="*/ 122 h 147"/>
                <a:gd name="T40" fmla="*/ 15 w 81"/>
                <a:gd name="T41" fmla="*/ 122 h 147"/>
                <a:gd name="T42" fmla="*/ 41 w 81"/>
                <a:gd name="T43" fmla="*/ 147 h 147"/>
                <a:gd name="T44" fmla="*/ 66 w 81"/>
                <a:gd name="T45" fmla="*/ 122 h 147"/>
                <a:gd name="T46" fmla="*/ 58 w 81"/>
                <a:gd name="T47" fmla="*/ 122 h 147"/>
                <a:gd name="T48" fmla="*/ 58 w 81"/>
                <a:gd name="T49" fmla="*/ 111 h 147"/>
                <a:gd name="T50" fmla="*/ 73 w 81"/>
                <a:gd name="T51" fmla="*/ 92 h 147"/>
                <a:gd name="T52" fmla="*/ 73 w 81"/>
                <a:gd name="T53" fmla="*/ 110 h 147"/>
                <a:gd name="T54" fmla="*/ 73 w 81"/>
                <a:gd name="T55" fmla="*/ 110 h 147"/>
                <a:gd name="T56" fmla="*/ 78 w 81"/>
                <a:gd name="T57" fmla="*/ 96 h 147"/>
                <a:gd name="T58" fmla="*/ 78 w 81"/>
                <a:gd name="T59" fmla="*/ 84 h 147"/>
                <a:gd name="T60" fmla="*/ 81 w 81"/>
                <a:gd name="T61" fmla="*/ 78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1" h="147">
                  <a:moveTo>
                    <a:pt x="81" y="78"/>
                  </a:moveTo>
                  <a:cubicBezTo>
                    <a:pt x="81" y="75"/>
                    <a:pt x="80" y="73"/>
                    <a:pt x="78" y="71"/>
                  </a:cubicBezTo>
                  <a:cubicBezTo>
                    <a:pt x="78" y="64"/>
                    <a:pt x="78" y="64"/>
                    <a:pt x="78" y="64"/>
                  </a:cubicBezTo>
                  <a:cubicBezTo>
                    <a:pt x="78" y="57"/>
                    <a:pt x="78" y="57"/>
                    <a:pt x="78" y="57"/>
                  </a:cubicBezTo>
                  <a:cubicBezTo>
                    <a:pt x="78" y="42"/>
                    <a:pt x="70" y="30"/>
                    <a:pt x="58" y="24"/>
                  </a:cubicBezTo>
                  <a:cubicBezTo>
                    <a:pt x="58" y="22"/>
                    <a:pt x="59" y="20"/>
                    <a:pt x="59" y="18"/>
                  </a:cubicBezTo>
                  <a:cubicBezTo>
                    <a:pt x="59" y="8"/>
                    <a:pt x="51" y="0"/>
                    <a:pt x="41" y="0"/>
                  </a:cubicBezTo>
                  <a:cubicBezTo>
                    <a:pt x="31" y="0"/>
                    <a:pt x="23" y="8"/>
                    <a:pt x="23" y="18"/>
                  </a:cubicBezTo>
                  <a:cubicBezTo>
                    <a:pt x="23" y="20"/>
                    <a:pt x="23" y="22"/>
                    <a:pt x="23" y="24"/>
                  </a:cubicBezTo>
                  <a:cubicBezTo>
                    <a:pt x="11" y="30"/>
                    <a:pt x="3" y="42"/>
                    <a:pt x="3" y="57"/>
                  </a:cubicBezTo>
                  <a:cubicBezTo>
                    <a:pt x="3" y="64"/>
                    <a:pt x="3" y="64"/>
                    <a:pt x="3" y="64"/>
                  </a:cubicBezTo>
                  <a:cubicBezTo>
                    <a:pt x="3" y="72"/>
                    <a:pt x="3" y="72"/>
                    <a:pt x="3" y="72"/>
                  </a:cubicBezTo>
                  <a:cubicBezTo>
                    <a:pt x="1" y="73"/>
                    <a:pt x="0" y="75"/>
                    <a:pt x="0" y="78"/>
                  </a:cubicBezTo>
                  <a:cubicBezTo>
                    <a:pt x="0" y="80"/>
                    <a:pt x="1" y="83"/>
                    <a:pt x="3" y="84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3" y="101"/>
                    <a:pt x="5" y="106"/>
                    <a:pt x="8" y="110"/>
                  </a:cubicBezTo>
                  <a:cubicBezTo>
                    <a:pt x="8" y="110"/>
                    <a:pt x="8" y="110"/>
                    <a:pt x="8" y="110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11" y="100"/>
                    <a:pt x="16" y="107"/>
                    <a:pt x="24" y="111"/>
                  </a:cubicBezTo>
                  <a:cubicBezTo>
                    <a:pt x="24" y="122"/>
                    <a:pt x="24" y="122"/>
                    <a:pt x="24" y="122"/>
                  </a:cubicBezTo>
                  <a:cubicBezTo>
                    <a:pt x="15" y="122"/>
                    <a:pt x="15" y="122"/>
                    <a:pt x="15" y="122"/>
                  </a:cubicBezTo>
                  <a:cubicBezTo>
                    <a:pt x="15" y="136"/>
                    <a:pt x="27" y="147"/>
                    <a:pt x="41" y="147"/>
                  </a:cubicBezTo>
                  <a:cubicBezTo>
                    <a:pt x="55" y="147"/>
                    <a:pt x="66" y="136"/>
                    <a:pt x="66" y="122"/>
                  </a:cubicBezTo>
                  <a:cubicBezTo>
                    <a:pt x="58" y="122"/>
                    <a:pt x="58" y="122"/>
                    <a:pt x="58" y="122"/>
                  </a:cubicBezTo>
                  <a:cubicBezTo>
                    <a:pt x="58" y="111"/>
                    <a:pt x="58" y="111"/>
                    <a:pt x="58" y="111"/>
                  </a:cubicBezTo>
                  <a:cubicBezTo>
                    <a:pt x="65" y="107"/>
                    <a:pt x="70" y="100"/>
                    <a:pt x="73" y="92"/>
                  </a:cubicBezTo>
                  <a:cubicBezTo>
                    <a:pt x="73" y="110"/>
                    <a:pt x="73" y="110"/>
                    <a:pt x="73" y="110"/>
                  </a:cubicBezTo>
                  <a:cubicBezTo>
                    <a:pt x="73" y="110"/>
                    <a:pt x="73" y="110"/>
                    <a:pt x="73" y="110"/>
                  </a:cubicBezTo>
                  <a:cubicBezTo>
                    <a:pt x="76" y="106"/>
                    <a:pt x="78" y="101"/>
                    <a:pt x="78" y="96"/>
                  </a:cubicBezTo>
                  <a:cubicBezTo>
                    <a:pt x="78" y="84"/>
                    <a:pt x="78" y="84"/>
                    <a:pt x="78" y="84"/>
                  </a:cubicBezTo>
                  <a:cubicBezTo>
                    <a:pt x="80" y="83"/>
                    <a:pt x="81" y="80"/>
                    <a:pt x="81" y="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1" name="Freeform 47"/>
            <p:cNvSpPr>
              <a:spLocks/>
            </p:cNvSpPr>
            <p:nvPr userDrawn="1"/>
          </p:nvSpPr>
          <p:spPr bwMode="auto">
            <a:xfrm>
              <a:off x="9097964" y="3509010"/>
              <a:ext cx="285750" cy="339725"/>
            </a:xfrm>
            <a:custGeom>
              <a:avLst/>
              <a:gdLst>
                <a:gd name="T0" fmla="*/ 163 w 192"/>
                <a:gd name="T1" fmla="*/ 114 h 230"/>
                <a:gd name="T2" fmla="*/ 96 w 192"/>
                <a:gd name="T3" fmla="*/ 230 h 230"/>
                <a:gd name="T4" fmla="*/ 29 w 192"/>
                <a:gd name="T5" fmla="*/ 114 h 230"/>
                <a:gd name="T6" fmla="*/ 95 w 192"/>
                <a:gd name="T7" fmla="*/ 0 h 230"/>
                <a:gd name="T8" fmla="*/ 97 w 192"/>
                <a:gd name="T9" fmla="*/ 0 h 230"/>
                <a:gd name="T10" fmla="*/ 163 w 192"/>
                <a:gd name="T11" fmla="*/ 11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2" h="230">
                  <a:moveTo>
                    <a:pt x="163" y="114"/>
                  </a:moveTo>
                  <a:cubicBezTo>
                    <a:pt x="96" y="230"/>
                    <a:pt x="96" y="230"/>
                    <a:pt x="96" y="230"/>
                  </a:cubicBezTo>
                  <a:cubicBezTo>
                    <a:pt x="29" y="114"/>
                    <a:pt x="29" y="114"/>
                    <a:pt x="29" y="114"/>
                  </a:cubicBezTo>
                  <a:cubicBezTo>
                    <a:pt x="0" y="64"/>
                    <a:pt x="36" y="0"/>
                    <a:pt x="95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156" y="0"/>
                    <a:pt x="192" y="63"/>
                    <a:pt x="163" y="114"/>
                  </a:cubicBezTo>
                  <a:close/>
                </a:path>
              </a:pathLst>
            </a:custGeom>
            <a:solidFill>
              <a:srgbClr val="40C5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2" name="Freeform 48"/>
            <p:cNvSpPr>
              <a:spLocks/>
            </p:cNvSpPr>
            <p:nvPr userDrawn="1"/>
          </p:nvSpPr>
          <p:spPr bwMode="auto">
            <a:xfrm>
              <a:off x="8782052" y="3664585"/>
              <a:ext cx="285750" cy="339725"/>
            </a:xfrm>
            <a:custGeom>
              <a:avLst/>
              <a:gdLst>
                <a:gd name="T0" fmla="*/ 163 w 192"/>
                <a:gd name="T1" fmla="*/ 114 h 230"/>
                <a:gd name="T2" fmla="*/ 96 w 192"/>
                <a:gd name="T3" fmla="*/ 230 h 230"/>
                <a:gd name="T4" fmla="*/ 29 w 192"/>
                <a:gd name="T5" fmla="*/ 114 h 230"/>
                <a:gd name="T6" fmla="*/ 94 w 192"/>
                <a:gd name="T7" fmla="*/ 0 h 230"/>
                <a:gd name="T8" fmla="*/ 97 w 192"/>
                <a:gd name="T9" fmla="*/ 0 h 230"/>
                <a:gd name="T10" fmla="*/ 163 w 192"/>
                <a:gd name="T11" fmla="*/ 11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2" h="230">
                  <a:moveTo>
                    <a:pt x="163" y="114"/>
                  </a:moveTo>
                  <a:cubicBezTo>
                    <a:pt x="96" y="230"/>
                    <a:pt x="96" y="230"/>
                    <a:pt x="96" y="230"/>
                  </a:cubicBezTo>
                  <a:cubicBezTo>
                    <a:pt x="29" y="114"/>
                    <a:pt x="29" y="114"/>
                    <a:pt x="29" y="114"/>
                  </a:cubicBezTo>
                  <a:cubicBezTo>
                    <a:pt x="0" y="64"/>
                    <a:pt x="36" y="0"/>
                    <a:pt x="94" y="0"/>
                  </a:cubicBezTo>
                  <a:cubicBezTo>
                    <a:pt x="97" y="0"/>
                    <a:pt x="97" y="0"/>
                    <a:pt x="97" y="0"/>
                  </a:cubicBezTo>
                  <a:cubicBezTo>
                    <a:pt x="155" y="0"/>
                    <a:pt x="192" y="64"/>
                    <a:pt x="163" y="114"/>
                  </a:cubicBez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3" name="Rectangle 49"/>
            <p:cNvSpPr>
              <a:spLocks noChangeArrowheads="1"/>
            </p:cNvSpPr>
            <p:nvPr userDrawn="1"/>
          </p:nvSpPr>
          <p:spPr bwMode="auto">
            <a:xfrm>
              <a:off x="9520239" y="3521710"/>
              <a:ext cx="157163" cy="127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4" name="Freeform 50"/>
            <p:cNvSpPr>
              <a:spLocks/>
            </p:cNvSpPr>
            <p:nvPr userDrawn="1"/>
          </p:nvSpPr>
          <p:spPr bwMode="auto">
            <a:xfrm>
              <a:off x="9520239" y="3521710"/>
              <a:ext cx="157163" cy="12700"/>
            </a:xfrm>
            <a:custGeom>
              <a:avLst/>
              <a:gdLst>
                <a:gd name="T0" fmla="*/ 99 w 99"/>
                <a:gd name="T1" fmla="*/ 0 h 8"/>
                <a:gd name="T2" fmla="*/ 0 w 99"/>
                <a:gd name="T3" fmla="*/ 0 h 8"/>
                <a:gd name="T4" fmla="*/ 0 w 99"/>
                <a:gd name="T5" fmla="*/ 8 h 8"/>
                <a:gd name="T6" fmla="*/ 99 w 99"/>
                <a:gd name="T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9" h="8">
                  <a:moveTo>
                    <a:pt x="99" y="0"/>
                  </a:moveTo>
                  <a:lnTo>
                    <a:pt x="0" y="0"/>
                  </a:lnTo>
                  <a:lnTo>
                    <a:pt x="0" y="8"/>
                  </a:lnTo>
                  <a:lnTo>
                    <a:pt x="99" y="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5" name="Freeform 51"/>
            <p:cNvSpPr>
              <a:spLocks/>
            </p:cNvSpPr>
            <p:nvPr userDrawn="1"/>
          </p:nvSpPr>
          <p:spPr bwMode="auto">
            <a:xfrm>
              <a:off x="9177339" y="3545523"/>
              <a:ext cx="127000" cy="201613"/>
            </a:xfrm>
            <a:custGeom>
              <a:avLst/>
              <a:gdLst>
                <a:gd name="T0" fmla="*/ 86 w 86"/>
                <a:gd name="T1" fmla="*/ 62 h 136"/>
                <a:gd name="T2" fmla="*/ 84 w 86"/>
                <a:gd name="T3" fmla="*/ 57 h 136"/>
                <a:gd name="T4" fmla="*/ 84 w 86"/>
                <a:gd name="T5" fmla="*/ 40 h 136"/>
                <a:gd name="T6" fmla="*/ 43 w 86"/>
                <a:gd name="T7" fmla="*/ 0 h 136"/>
                <a:gd name="T8" fmla="*/ 42 w 86"/>
                <a:gd name="T9" fmla="*/ 0 h 136"/>
                <a:gd name="T10" fmla="*/ 2 w 86"/>
                <a:gd name="T11" fmla="*/ 40 h 136"/>
                <a:gd name="T12" fmla="*/ 2 w 86"/>
                <a:gd name="T13" fmla="*/ 57 h 136"/>
                <a:gd name="T14" fmla="*/ 0 w 86"/>
                <a:gd name="T15" fmla="*/ 62 h 136"/>
                <a:gd name="T16" fmla="*/ 2 w 86"/>
                <a:gd name="T17" fmla="*/ 68 h 136"/>
                <a:gd name="T18" fmla="*/ 2 w 86"/>
                <a:gd name="T19" fmla="*/ 102 h 136"/>
                <a:gd name="T20" fmla="*/ 3 w 86"/>
                <a:gd name="T21" fmla="*/ 102 h 136"/>
                <a:gd name="T22" fmla="*/ 23 w 86"/>
                <a:gd name="T23" fmla="*/ 96 h 136"/>
                <a:gd name="T24" fmla="*/ 25 w 86"/>
                <a:gd name="T25" fmla="*/ 97 h 136"/>
                <a:gd name="T26" fmla="*/ 25 w 86"/>
                <a:gd name="T27" fmla="*/ 109 h 136"/>
                <a:gd name="T28" fmla="*/ 16 w 86"/>
                <a:gd name="T29" fmla="*/ 109 h 136"/>
                <a:gd name="T30" fmla="*/ 43 w 86"/>
                <a:gd name="T31" fmla="*/ 136 h 136"/>
                <a:gd name="T32" fmla="*/ 70 w 86"/>
                <a:gd name="T33" fmla="*/ 109 h 136"/>
                <a:gd name="T34" fmla="*/ 61 w 86"/>
                <a:gd name="T35" fmla="*/ 109 h 136"/>
                <a:gd name="T36" fmla="*/ 61 w 86"/>
                <a:gd name="T37" fmla="*/ 97 h 136"/>
                <a:gd name="T38" fmla="*/ 63 w 86"/>
                <a:gd name="T39" fmla="*/ 96 h 136"/>
                <a:gd name="T40" fmla="*/ 83 w 86"/>
                <a:gd name="T41" fmla="*/ 102 h 136"/>
                <a:gd name="T42" fmla="*/ 84 w 86"/>
                <a:gd name="T43" fmla="*/ 102 h 136"/>
                <a:gd name="T44" fmla="*/ 84 w 86"/>
                <a:gd name="T45" fmla="*/ 68 h 136"/>
                <a:gd name="T46" fmla="*/ 86 w 86"/>
                <a:gd name="T47" fmla="*/ 62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6" h="136">
                  <a:moveTo>
                    <a:pt x="86" y="62"/>
                  </a:moveTo>
                  <a:cubicBezTo>
                    <a:pt x="86" y="60"/>
                    <a:pt x="85" y="58"/>
                    <a:pt x="84" y="57"/>
                  </a:cubicBezTo>
                  <a:cubicBezTo>
                    <a:pt x="84" y="40"/>
                    <a:pt x="84" y="40"/>
                    <a:pt x="84" y="40"/>
                  </a:cubicBezTo>
                  <a:cubicBezTo>
                    <a:pt x="84" y="18"/>
                    <a:pt x="66" y="0"/>
                    <a:pt x="43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20" y="0"/>
                    <a:pt x="2" y="18"/>
                    <a:pt x="2" y="40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1" y="58"/>
                    <a:pt x="0" y="60"/>
                    <a:pt x="0" y="62"/>
                  </a:cubicBezTo>
                  <a:cubicBezTo>
                    <a:pt x="0" y="64"/>
                    <a:pt x="1" y="66"/>
                    <a:pt x="2" y="68"/>
                  </a:cubicBezTo>
                  <a:cubicBezTo>
                    <a:pt x="2" y="102"/>
                    <a:pt x="2" y="102"/>
                    <a:pt x="2" y="102"/>
                  </a:cubicBezTo>
                  <a:cubicBezTo>
                    <a:pt x="3" y="102"/>
                    <a:pt x="3" y="102"/>
                    <a:pt x="3" y="102"/>
                  </a:cubicBezTo>
                  <a:cubicBezTo>
                    <a:pt x="10" y="102"/>
                    <a:pt x="17" y="100"/>
                    <a:pt x="23" y="96"/>
                  </a:cubicBezTo>
                  <a:cubicBezTo>
                    <a:pt x="24" y="97"/>
                    <a:pt x="24" y="97"/>
                    <a:pt x="25" y="97"/>
                  </a:cubicBezTo>
                  <a:cubicBezTo>
                    <a:pt x="25" y="109"/>
                    <a:pt x="25" y="109"/>
                    <a:pt x="25" y="109"/>
                  </a:cubicBezTo>
                  <a:cubicBezTo>
                    <a:pt x="16" y="109"/>
                    <a:pt x="16" y="109"/>
                    <a:pt x="16" y="109"/>
                  </a:cubicBezTo>
                  <a:cubicBezTo>
                    <a:pt x="16" y="124"/>
                    <a:pt x="28" y="136"/>
                    <a:pt x="43" y="136"/>
                  </a:cubicBezTo>
                  <a:cubicBezTo>
                    <a:pt x="58" y="136"/>
                    <a:pt x="70" y="124"/>
                    <a:pt x="70" y="109"/>
                  </a:cubicBezTo>
                  <a:cubicBezTo>
                    <a:pt x="61" y="109"/>
                    <a:pt x="61" y="109"/>
                    <a:pt x="61" y="109"/>
                  </a:cubicBezTo>
                  <a:cubicBezTo>
                    <a:pt x="61" y="97"/>
                    <a:pt x="61" y="97"/>
                    <a:pt x="61" y="97"/>
                  </a:cubicBezTo>
                  <a:cubicBezTo>
                    <a:pt x="61" y="97"/>
                    <a:pt x="62" y="97"/>
                    <a:pt x="63" y="96"/>
                  </a:cubicBezTo>
                  <a:cubicBezTo>
                    <a:pt x="69" y="100"/>
                    <a:pt x="76" y="102"/>
                    <a:pt x="83" y="102"/>
                  </a:cubicBezTo>
                  <a:cubicBezTo>
                    <a:pt x="84" y="102"/>
                    <a:pt x="84" y="102"/>
                    <a:pt x="84" y="102"/>
                  </a:cubicBezTo>
                  <a:cubicBezTo>
                    <a:pt x="84" y="68"/>
                    <a:pt x="84" y="68"/>
                    <a:pt x="84" y="68"/>
                  </a:cubicBezTo>
                  <a:cubicBezTo>
                    <a:pt x="85" y="66"/>
                    <a:pt x="86" y="64"/>
                    <a:pt x="86" y="6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6" name="Freeform 52"/>
            <p:cNvSpPr>
              <a:spLocks/>
            </p:cNvSpPr>
            <p:nvPr userDrawn="1"/>
          </p:nvSpPr>
          <p:spPr bwMode="auto">
            <a:xfrm>
              <a:off x="9677402" y="3001010"/>
              <a:ext cx="939800" cy="1052513"/>
            </a:xfrm>
            <a:custGeom>
              <a:avLst/>
              <a:gdLst>
                <a:gd name="T0" fmla="*/ 591 w 631"/>
                <a:gd name="T1" fmla="*/ 561 h 711"/>
                <a:gd name="T2" fmla="*/ 356 w 631"/>
                <a:gd name="T3" fmla="*/ 697 h 711"/>
                <a:gd name="T4" fmla="*/ 276 w 631"/>
                <a:gd name="T5" fmla="*/ 697 h 711"/>
                <a:gd name="T6" fmla="*/ 40 w 631"/>
                <a:gd name="T7" fmla="*/ 561 h 711"/>
                <a:gd name="T8" fmla="*/ 0 w 631"/>
                <a:gd name="T9" fmla="*/ 492 h 711"/>
                <a:gd name="T10" fmla="*/ 0 w 631"/>
                <a:gd name="T11" fmla="*/ 220 h 711"/>
                <a:gd name="T12" fmla="*/ 40 w 631"/>
                <a:gd name="T13" fmla="*/ 150 h 711"/>
                <a:gd name="T14" fmla="*/ 275 w 631"/>
                <a:gd name="T15" fmla="*/ 14 h 711"/>
                <a:gd name="T16" fmla="*/ 355 w 631"/>
                <a:gd name="T17" fmla="*/ 14 h 711"/>
                <a:gd name="T18" fmla="*/ 591 w 631"/>
                <a:gd name="T19" fmla="*/ 150 h 711"/>
                <a:gd name="T20" fmla="*/ 631 w 631"/>
                <a:gd name="T21" fmla="*/ 219 h 711"/>
                <a:gd name="T22" fmla="*/ 631 w 631"/>
                <a:gd name="T23" fmla="*/ 491 h 711"/>
                <a:gd name="T24" fmla="*/ 591 w 631"/>
                <a:gd name="T25" fmla="*/ 561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1" h="711">
                  <a:moveTo>
                    <a:pt x="591" y="561"/>
                  </a:moveTo>
                  <a:cubicBezTo>
                    <a:pt x="356" y="697"/>
                    <a:pt x="356" y="697"/>
                    <a:pt x="356" y="697"/>
                  </a:cubicBezTo>
                  <a:cubicBezTo>
                    <a:pt x="331" y="711"/>
                    <a:pt x="301" y="711"/>
                    <a:pt x="276" y="697"/>
                  </a:cubicBezTo>
                  <a:cubicBezTo>
                    <a:pt x="40" y="561"/>
                    <a:pt x="40" y="561"/>
                    <a:pt x="40" y="561"/>
                  </a:cubicBezTo>
                  <a:cubicBezTo>
                    <a:pt x="15" y="547"/>
                    <a:pt x="0" y="520"/>
                    <a:pt x="0" y="492"/>
                  </a:cubicBezTo>
                  <a:cubicBezTo>
                    <a:pt x="0" y="220"/>
                    <a:pt x="0" y="220"/>
                    <a:pt x="0" y="220"/>
                  </a:cubicBezTo>
                  <a:cubicBezTo>
                    <a:pt x="0" y="191"/>
                    <a:pt x="15" y="165"/>
                    <a:pt x="40" y="150"/>
                  </a:cubicBezTo>
                  <a:cubicBezTo>
                    <a:pt x="275" y="14"/>
                    <a:pt x="275" y="14"/>
                    <a:pt x="275" y="14"/>
                  </a:cubicBezTo>
                  <a:cubicBezTo>
                    <a:pt x="300" y="0"/>
                    <a:pt x="330" y="0"/>
                    <a:pt x="355" y="14"/>
                  </a:cubicBezTo>
                  <a:cubicBezTo>
                    <a:pt x="591" y="150"/>
                    <a:pt x="591" y="150"/>
                    <a:pt x="591" y="150"/>
                  </a:cubicBezTo>
                  <a:cubicBezTo>
                    <a:pt x="615" y="164"/>
                    <a:pt x="631" y="191"/>
                    <a:pt x="631" y="219"/>
                  </a:cubicBezTo>
                  <a:cubicBezTo>
                    <a:pt x="631" y="491"/>
                    <a:pt x="631" y="491"/>
                    <a:pt x="631" y="491"/>
                  </a:cubicBezTo>
                  <a:cubicBezTo>
                    <a:pt x="631" y="520"/>
                    <a:pt x="616" y="546"/>
                    <a:pt x="591" y="561"/>
                  </a:cubicBezTo>
                </a:path>
              </a:pathLst>
            </a:custGeom>
            <a:solidFill>
              <a:srgbClr val="40C5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7" name="Freeform 53"/>
            <p:cNvSpPr>
              <a:spLocks/>
            </p:cNvSpPr>
            <p:nvPr userDrawn="1"/>
          </p:nvSpPr>
          <p:spPr bwMode="auto">
            <a:xfrm>
              <a:off x="9902827" y="3647123"/>
              <a:ext cx="479425" cy="406400"/>
            </a:xfrm>
            <a:custGeom>
              <a:avLst/>
              <a:gdLst>
                <a:gd name="T0" fmla="*/ 0 w 322"/>
                <a:gd name="T1" fmla="*/ 0 h 275"/>
                <a:gd name="T2" fmla="*/ 0 w 322"/>
                <a:gd name="T3" fmla="*/ 189 h 275"/>
                <a:gd name="T4" fmla="*/ 125 w 322"/>
                <a:gd name="T5" fmla="*/ 261 h 275"/>
                <a:gd name="T6" fmla="*/ 205 w 322"/>
                <a:gd name="T7" fmla="*/ 261 h 275"/>
                <a:gd name="T8" fmla="*/ 322 w 322"/>
                <a:gd name="T9" fmla="*/ 193 h 275"/>
                <a:gd name="T10" fmla="*/ 322 w 322"/>
                <a:gd name="T11" fmla="*/ 0 h 275"/>
                <a:gd name="T12" fmla="*/ 0 w 322"/>
                <a:gd name="T13" fmla="*/ 0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2" h="275">
                  <a:moveTo>
                    <a:pt x="0" y="0"/>
                  </a:moveTo>
                  <a:cubicBezTo>
                    <a:pt x="0" y="189"/>
                    <a:pt x="0" y="189"/>
                    <a:pt x="0" y="189"/>
                  </a:cubicBezTo>
                  <a:cubicBezTo>
                    <a:pt x="125" y="261"/>
                    <a:pt x="125" y="261"/>
                    <a:pt x="125" y="261"/>
                  </a:cubicBezTo>
                  <a:cubicBezTo>
                    <a:pt x="150" y="275"/>
                    <a:pt x="180" y="275"/>
                    <a:pt x="205" y="261"/>
                  </a:cubicBezTo>
                  <a:cubicBezTo>
                    <a:pt x="322" y="193"/>
                    <a:pt x="322" y="193"/>
                    <a:pt x="322" y="193"/>
                  </a:cubicBezTo>
                  <a:cubicBezTo>
                    <a:pt x="322" y="0"/>
                    <a:pt x="322" y="0"/>
                    <a:pt x="322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5C2D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8" name="Freeform 54"/>
            <p:cNvSpPr>
              <a:spLocks/>
            </p:cNvSpPr>
            <p:nvPr userDrawn="1"/>
          </p:nvSpPr>
          <p:spPr bwMode="auto">
            <a:xfrm>
              <a:off x="9783764" y="2961323"/>
              <a:ext cx="34925" cy="687388"/>
            </a:xfrm>
            <a:custGeom>
              <a:avLst/>
              <a:gdLst>
                <a:gd name="T0" fmla="*/ 0 w 22"/>
                <a:gd name="T1" fmla="*/ 0 h 433"/>
                <a:gd name="T2" fmla="*/ 0 w 22"/>
                <a:gd name="T3" fmla="*/ 433 h 433"/>
                <a:gd name="T4" fmla="*/ 22 w 22"/>
                <a:gd name="T5" fmla="*/ 433 h 433"/>
                <a:gd name="T6" fmla="*/ 22 w 22"/>
                <a:gd name="T7" fmla="*/ 429 h 433"/>
                <a:gd name="T8" fmla="*/ 3 w 22"/>
                <a:gd name="T9" fmla="*/ 429 h 433"/>
                <a:gd name="T10" fmla="*/ 3 w 22"/>
                <a:gd name="T11" fmla="*/ 0 h 433"/>
                <a:gd name="T12" fmla="*/ 0 w 22"/>
                <a:gd name="T13" fmla="*/ 0 h 433"/>
                <a:gd name="T14" fmla="*/ 0 w 22"/>
                <a:gd name="T15" fmla="*/ 0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433">
                  <a:moveTo>
                    <a:pt x="0" y="0"/>
                  </a:moveTo>
                  <a:lnTo>
                    <a:pt x="0" y="433"/>
                  </a:lnTo>
                  <a:lnTo>
                    <a:pt x="22" y="433"/>
                  </a:lnTo>
                  <a:lnTo>
                    <a:pt x="22" y="429"/>
                  </a:lnTo>
                  <a:lnTo>
                    <a:pt x="3" y="429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9" name="Rectangle 55"/>
            <p:cNvSpPr>
              <a:spLocks noChangeArrowheads="1"/>
            </p:cNvSpPr>
            <p:nvPr userDrawn="1"/>
          </p:nvSpPr>
          <p:spPr bwMode="auto">
            <a:xfrm>
              <a:off x="8996364" y="3129598"/>
              <a:ext cx="396875" cy="22225"/>
            </a:xfrm>
            <a:prstGeom prst="rect">
              <a:avLst/>
            </a:prstGeom>
            <a:solidFill>
              <a:srgbClr val="C4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0" name="Rectangle 56"/>
            <p:cNvSpPr>
              <a:spLocks noChangeArrowheads="1"/>
            </p:cNvSpPr>
            <p:nvPr userDrawn="1"/>
          </p:nvSpPr>
          <p:spPr bwMode="auto">
            <a:xfrm>
              <a:off x="8758239" y="3129598"/>
              <a:ext cx="79375" cy="22225"/>
            </a:xfrm>
            <a:prstGeom prst="rect">
              <a:avLst/>
            </a:prstGeom>
            <a:solidFill>
              <a:srgbClr val="C4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1" name="Rectangle 57"/>
            <p:cNvSpPr>
              <a:spLocks noChangeArrowheads="1"/>
            </p:cNvSpPr>
            <p:nvPr userDrawn="1"/>
          </p:nvSpPr>
          <p:spPr bwMode="auto">
            <a:xfrm>
              <a:off x="8877302" y="3129598"/>
              <a:ext cx="80963" cy="22225"/>
            </a:xfrm>
            <a:prstGeom prst="rect">
              <a:avLst/>
            </a:prstGeom>
            <a:solidFill>
              <a:srgbClr val="C4C4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2" name="Rectangle 58"/>
            <p:cNvSpPr>
              <a:spLocks noChangeArrowheads="1"/>
            </p:cNvSpPr>
            <p:nvPr userDrawn="1"/>
          </p:nvSpPr>
          <p:spPr bwMode="auto">
            <a:xfrm>
              <a:off x="9336089" y="2947035"/>
              <a:ext cx="73025" cy="63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3" name="Freeform 59"/>
            <p:cNvSpPr>
              <a:spLocks/>
            </p:cNvSpPr>
            <p:nvPr userDrawn="1"/>
          </p:nvSpPr>
          <p:spPr bwMode="auto">
            <a:xfrm>
              <a:off x="9336089" y="2947035"/>
              <a:ext cx="73025" cy="6350"/>
            </a:xfrm>
            <a:custGeom>
              <a:avLst/>
              <a:gdLst>
                <a:gd name="T0" fmla="*/ 0 w 46"/>
                <a:gd name="T1" fmla="*/ 4 h 4"/>
                <a:gd name="T2" fmla="*/ 46 w 46"/>
                <a:gd name="T3" fmla="*/ 4 h 4"/>
                <a:gd name="T4" fmla="*/ 46 w 46"/>
                <a:gd name="T5" fmla="*/ 0 h 4"/>
                <a:gd name="T6" fmla="*/ 0 w 4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6" h="4">
                  <a:moveTo>
                    <a:pt x="0" y="4"/>
                  </a:moveTo>
                  <a:lnTo>
                    <a:pt x="46" y="4"/>
                  </a:lnTo>
                  <a:lnTo>
                    <a:pt x="46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4" name="Rectangle 60"/>
            <p:cNvSpPr>
              <a:spLocks noChangeArrowheads="1"/>
            </p:cNvSpPr>
            <p:nvPr userDrawn="1"/>
          </p:nvSpPr>
          <p:spPr bwMode="auto">
            <a:xfrm>
              <a:off x="9336089" y="2967673"/>
              <a:ext cx="73025" cy="63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5" name="Freeform 61"/>
            <p:cNvSpPr>
              <a:spLocks/>
            </p:cNvSpPr>
            <p:nvPr userDrawn="1"/>
          </p:nvSpPr>
          <p:spPr bwMode="auto">
            <a:xfrm>
              <a:off x="9336089" y="2967673"/>
              <a:ext cx="73025" cy="6350"/>
            </a:xfrm>
            <a:custGeom>
              <a:avLst/>
              <a:gdLst>
                <a:gd name="T0" fmla="*/ 0 w 46"/>
                <a:gd name="T1" fmla="*/ 4 h 4"/>
                <a:gd name="T2" fmla="*/ 46 w 46"/>
                <a:gd name="T3" fmla="*/ 4 h 4"/>
                <a:gd name="T4" fmla="*/ 46 w 46"/>
                <a:gd name="T5" fmla="*/ 0 h 4"/>
                <a:gd name="T6" fmla="*/ 0 w 4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6" h="4">
                  <a:moveTo>
                    <a:pt x="0" y="4"/>
                  </a:moveTo>
                  <a:lnTo>
                    <a:pt x="46" y="4"/>
                  </a:lnTo>
                  <a:lnTo>
                    <a:pt x="46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6" name="Rectangle 62"/>
            <p:cNvSpPr>
              <a:spLocks noChangeArrowheads="1"/>
            </p:cNvSpPr>
            <p:nvPr userDrawn="1"/>
          </p:nvSpPr>
          <p:spPr bwMode="auto">
            <a:xfrm>
              <a:off x="9336089" y="2988310"/>
              <a:ext cx="73025" cy="63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7" name="Freeform 63"/>
            <p:cNvSpPr>
              <a:spLocks/>
            </p:cNvSpPr>
            <p:nvPr userDrawn="1"/>
          </p:nvSpPr>
          <p:spPr bwMode="auto">
            <a:xfrm>
              <a:off x="9336089" y="2988310"/>
              <a:ext cx="73025" cy="6350"/>
            </a:xfrm>
            <a:custGeom>
              <a:avLst/>
              <a:gdLst>
                <a:gd name="T0" fmla="*/ 0 w 46"/>
                <a:gd name="T1" fmla="*/ 4 h 4"/>
                <a:gd name="T2" fmla="*/ 46 w 46"/>
                <a:gd name="T3" fmla="*/ 4 h 4"/>
                <a:gd name="T4" fmla="*/ 46 w 46"/>
                <a:gd name="T5" fmla="*/ 0 h 4"/>
                <a:gd name="T6" fmla="*/ 0 w 46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6" h="4">
                  <a:moveTo>
                    <a:pt x="0" y="4"/>
                  </a:moveTo>
                  <a:lnTo>
                    <a:pt x="46" y="4"/>
                  </a:lnTo>
                  <a:lnTo>
                    <a:pt x="46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8" name="Freeform 64"/>
            <p:cNvSpPr>
              <a:spLocks/>
            </p:cNvSpPr>
            <p:nvPr userDrawn="1"/>
          </p:nvSpPr>
          <p:spPr bwMode="auto">
            <a:xfrm>
              <a:off x="8853489" y="3704273"/>
              <a:ext cx="141288" cy="214313"/>
            </a:xfrm>
            <a:custGeom>
              <a:avLst/>
              <a:gdLst>
                <a:gd name="T0" fmla="*/ 95 w 95"/>
                <a:gd name="T1" fmla="*/ 69 h 145"/>
                <a:gd name="T2" fmla="*/ 93 w 95"/>
                <a:gd name="T3" fmla="*/ 63 h 145"/>
                <a:gd name="T4" fmla="*/ 93 w 95"/>
                <a:gd name="T5" fmla="*/ 45 h 145"/>
                <a:gd name="T6" fmla="*/ 48 w 95"/>
                <a:gd name="T7" fmla="*/ 0 h 145"/>
                <a:gd name="T8" fmla="*/ 47 w 95"/>
                <a:gd name="T9" fmla="*/ 0 h 145"/>
                <a:gd name="T10" fmla="*/ 3 w 95"/>
                <a:gd name="T11" fmla="*/ 45 h 145"/>
                <a:gd name="T12" fmla="*/ 3 w 95"/>
                <a:gd name="T13" fmla="*/ 63 h 145"/>
                <a:gd name="T14" fmla="*/ 0 w 95"/>
                <a:gd name="T15" fmla="*/ 69 h 145"/>
                <a:gd name="T16" fmla="*/ 9 w 95"/>
                <a:gd name="T17" fmla="*/ 78 h 145"/>
                <a:gd name="T18" fmla="*/ 9 w 95"/>
                <a:gd name="T19" fmla="*/ 80 h 145"/>
                <a:gd name="T20" fmla="*/ 24 w 95"/>
                <a:gd name="T21" fmla="*/ 112 h 145"/>
                <a:gd name="T22" fmla="*/ 24 w 95"/>
                <a:gd name="T23" fmla="*/ 121 h 145"/>
                <a:gd name="T24" fmla="*/ 48 w 95"/>
                <a:gd name="T25" fmla="*/ 145 h 145"/>
                <a:gd name="T26" fmla="*/ 48 w 95"/>
                <a:gd name="T27" fmla="*/ 145 h 145"/>
                <a:gd name="T28" fmla="*/ 72 w 95"/>
                <a:gd name="T29" fmla="*/ 121 h 145"/>
                <a:gd name="T30" fmla="*/ 72 w 95"/>
                <a:gd name="T31" fmla="*/ 112 h 145"/>
                <a:gd name="T32" fmla="*/ 87 w 95"/>
                <a:gd name="T33" fmla="*/ 80 h 145"/>
                <a:gd name="T34" fmla="*/ 87 w 95"/>
                <a:gd name="T35" fmla="*/ 78 h 145"/>
                <a:gd name="T36" fmla="*/ 95 w 95"/>
                <a:gd name="T37" fmla="*/ 69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5" h="145">
                  <a:moveTo>
                    <a:pt x="95" y="69"/>
                  </a:moveTo>
                  <a:cubicBezTo>
                    <a:pt x="95" y="67"/>
                    <a:pt x="94" y="65"/>
                    <a:pt x="93" y="63"/>
                  </a:cubicBezTo>
                  <a:cubicBezTo>
                    <a:pt x="93" y="45"/>
                    <a:pt x="93" y="45"/>
                    <a:pt x="93" y="45"/>
                  </a:cubicBezTo>
                  <a:cubicBezTo>
                    <a:pt x="93" y="20"/>
                    <a:pt x="73" y="0"/>
                    <a:pt x="48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23" y="0"/>
                    <a:pt x="3" y="20"/>
                    <a:pt x="3" y="45"/>
                  </a:cubicBezTo>
                  <a:cubicBezTo>
                    <a:pt x="3" y="63"/>
                    <a:pt x="3" y="63"/>
                    <a:pt x="3" y="63"/>
                  </a:cubicBezTo>
                  <a:cubicBezTo>
                    <a:pt x="1" y="65"/>
                    <a:pt x="0" y="67"/>
                    <a:pt x="0" y="69"/>
                  </a:cubicBezTo>
                  <a:cubicBezTo>
                    <a:pt x="0" y="74"/>
                    <a:pt x="4" y="78"/>
                    <a:pt x="9" y="78"/>
                  </a:cubicBezTo>
                  <a:cubicBezTo>
                    <a:pt x="9" y="80"/>
                    <a:pt x="9" y="80"/>
                    <a:pt x="9" y="80"/>
                  </a:cubicBezTo>
                  <a:cubicBezTo>
                    <a:pt x="8" y="93"/>
                    <a:pt x="14" y="105"/>
                    <a:pt x="24" y="112"/>
                  </a:cubicBezTo>
                  <a:cubicBezTo>
                    <a:pt x="24" y="121"/>
                    <a:pt x="24" y="121"/>
                    <a:pt x="24" y="121"/>
                  </a:cubicBezTo>
                  <a:cubicBezTo>
                    <a:pt x="24" y="134"/>
                    <a:pt x="34" y="145"/>
                    <a:pt x="48" y="145"/>
                  </a:cubicBezTo>
                  <a:cubicBezTo>
                    <a:pt x="48" y="145"/>
                    <a:pt x="48" y="145"/>
                    <a:pt x="48" y="145"/>
                  </a:cubicBezTo>
                  <a:cubicBezTo>
                    <a:pt x="61" y="145"/>
                    <a:pt x="72" y="134"/>
                    <a:pt x="72" y="121"/>
                  </a:cubicBezTo>
                  <a:cubicBezTo>
                    <a:pt x="72" y="112"/>
                    <a:pt x="72" y="112"/>
                    <a:pt x="72" y="112"/>
                  </a:cubicBezTo>
                  <a:cubicBezTo>
                    <a:pt x="82" y="105"/>
                    <a:pt x="88" y="93"/>
                    <a:pt x="87" y="80"/>
                  </a:cubicBezTo>
                  <a:cubicBezTo>
                    <a:pt x="87" y="78"/>
                    <a:pt x="87" y="78"/>
                    <a:pt x="87" y="78"/>
                  </a:cubicBezTo>
                  <a:cubicBezTo>
                    <a:pt x="92" y="78"/>
                    <a:pt x="95" y="74"/>
                    <a:pt x="95" y="6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69" name="Freeform 65"/>
            <p:cNvSpPr>
              <a:spLocks/>
            </p:cNvSpPr>
            <p:nvPr userDrawn="1"/>
          </p:nvSpPr>
          <p:spPr bwMode="auto">
            <a:xfrm>
              <a:off x="9769477" y="3401060"/>
              <a:ext cx="741363" cy="511175"/>
            </a:xfrm>
            <a:custGeom>
              <a:avLst/>
              <a:gdLst>
                <a:gd name="T0" fmla="*/ 497 w 498"/>
                <a:gd name="T1" fmla="*/ 298 h 345"/>
                <a:gd name="T2" fmla="*/ 466 w 498"/>
                <a:gd name="T3" fmla="*/ 81 h 345"/>
                <a:gd name="T4" fmla="*/ 371 w 498"/>
                <a:gd name="T5" fmla="*/ 0 h 345"/>
                <a:gd name="T6" fmla="*/ 127 w 498"/>
                <a:gd name="T7" fmla="*/ 0 h 345"/>
                <a:gd name="T8" fmla="*/ 33 w 498"/>
                <a:gd name="T9" fmla="*/ 81 h 345"/>
                <a:gd name="T10" fmla="*/ 0 w 498"/>
                <a:gd name="T11" fmla="*/ 304 h 345"/>
                <a:gd name="T12" fmla="*/ 71 w 498"/>
                <a:gd name="T13" fmla="*/ 345 h 345"/>
                <a:gd name="T14" fmla="*/ 490 w 498"/>
                <a:gd name="T15" fmla="*/ 306 h 345"/>
                <a:gd name="T16" fmla="*/ 497 w 498"/>
                <a:gd name="T17" fmla="*/ 298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8" h="345">
                  <a:moveTo>
                    <a:pt x="497" y="298"/>
                  </a:moveTo>
                  <a:cubicBezTo>
                    <a:pt x="466" y="81"/>
                    <a:pt x="466" y="81"/>
                    <a:pt x="466" y="81"/>
                  </a:cubicBezTo>
                  <a:cubicBezTo>
                    <a:pt x="459" y="34"/>
                    <a:pt x="419" y="0"/>
                    <a:pt x="371" y="0"/>
                  </a:cubicBezTo>
                  <a:cubicBezTo>
                    <a:pt x="127" y="0"/>
                    <a:pt x="127" y="0"/>
                    <a:pt x="127" y="0"/>
                  </a:cubicBezTo>
                  <a:cubicBezTo>
                    <a:pt x="80" y="0"/>
                    <a:pt x="40" y="34"/>
                    <a:pt x="33" y="81"/>
                  </a:cubicBezTo>
                  <a:cubicBezTo>
                    <a:pt x="0" y="304"/>
                    <a:pt x="0" y="304"/>
                    <a:pt x="0" y="304"/>
                  </a:cubicBezTo>
                  <a:cubicBezTo>
                    <a:pt x="71" y="345"/>
                    <a:pt x="71" y="345"/>
                    <a:pt x="71" y="345"/>
                  </a:cubicBezTo>
                  <a:cubicBezTo>
                    <a:pt x="490" y="306"/>
                    <a:pt x="490" y="306"/>
                    <a:pt x="490" y="306"/>
                  </a:cubicBezTo>
                  <a:cubicBezTo>
                    <a:pt x="494" y="306"/>
                    <a:pt x="498" y="302"/>
                    <a:pt x="497" y="298"/>
                  </a:cubicBezTo>
                </a:path>
              </a:pathLst>
            </a:custGeom>
            <a:solidFill>
              <a:srgbClr val="C498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0" name="Freeform 66"/>
            <p:cNvSpPr>
              <a:spLocks/>
            </p:cNvSpPr>
            <p:nvPr userDrawn="1"/>
          </p:nvSpPr>
          <p:spPr bwMode="auto">
            <a:xfrm>
              <a:off x="9786939" y="3401060"/>
              <a:ext cx="708025" cy="334963"/>
            </a:xfrm>
            <a:custGeom>
              <a:avLst/>
              <a:gdLst>
                <a:gd name="T0" fmla="*/ 475 w 475"/>
                <a:gd name="T1" fmla="*/ 226 h 226"/>
                <a:gd name="T2" fmla="*/ 454 w 475"/>
                <a:gd name="T3" fmla="*/ 81 h 226"/>
                <a:gd name="T4" fmla="*/ 359 w 475"/>
                <a:gd name="T5" fmla="*/ 0 h 226"/>
                <a:gd name="T6" fmla="*/ 115 w 475"/>
                <a:gd name="T7" fmla="*/ 0 h 226"/>
                <a:gd name="T8" fmla="*/ 21 w 475"/>
                <a:gd name="T9" fmla="*/ 81 h 226"/>
                <a:gd name="T10" fmla="*/ 0 w 475"/>
                <a:gd name="T11" fmla="*/ 226 h 226"/>
                <a:gd name="T12" fmla="*/ 475 w 475"/>
                <a:gd name="T13" fmla="*/ 226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5" h="226">
                  <a:moveTo>
                    <a:pt x="475" y="226"/>
                  </a:moveTo>
                  <a:cubicBezTo>
                    <a:pt x="454" y="81"/>
                    <a:pt x="454" y="81"/>
                    <a:pt x="454" y="81"/>
                  </a:cubicBezTo>
                  <a:cubicBezTo>
                    <a:pt x="447" y="34"/>
                    <a:pt x="407" y="0"/>
                    <a:pt x="359" y="0"/>
                  </a:cubicBezTo>
                  <a:cubicBezTo>
                    <a:pt x="115" y="0"/>
                    <a:pt x="115" y="0"/>
                    <a:pt x="115" y="0"/>
                  </a:cubicBezTo>
                  <a:cubicBezTo>
                    <a:pt x="68" y="0"/>
                    <a:pt x="28" y="34"/>
                    <a:pt x="21" y="81"/>
                  </a:cubicBezTo>
                  <a:cubicBezTo>
                    <a:pt x="0" y="226"/>
                    <a:pt x="0" y="226"/>
                    <a:pt x="0" y="226"/>
                  </a:cubicBezTo>
                  <a:cubicBezTo>
                    <a:pt x="475" y="226"/>
                    <a:pt x="475" y="226"/>
                    <a:pt x="475" y="226"/>
                  </a:cubicBezTo>
                </a:path>
              </a:pathLst>
            </a:custGeom>
            <a:solidFill>
              <a:srgbClr val="5C2D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1" name="Freeform 67"/>
            <p:cNvSpPr>
              <a:spLocks/>
            </p:cNvSpPr>
            <p:nvPr userDrawn="1"/>
          </p:nvSpPr>
          <p:spPr bwMode="auto">
            <a:xfrm>
              <a:off x="9988552" y="3264535"/>
              <a:ext cx="306388" cy="288925"/>
            </a:xfrm>
            <a:custGeom>
              <a:avLst/>
              <a:gdLst>
                <a:gd name="T0" fmla="*/ 172 w 206"/>
                <a:gd name="T1" fmla="*/ 73 h 195"/>
                <a:gd name="T2" fmla="*/ 172 w 206"/>
                <a:gd name="T3" fmla="*/ 0 h 195"/>
                <a:gd name="T4" fmla="*/ 33 w 206"/>
                <a:gd name="T5" fmla="*/ 0 h 195"/>
                <a:gd name="T6" fmla="*/ 33 w 206"/>
                <a:gd name="T7" fmla="*/ 73 h 195"/>
                <a:gd name="T8" fmla="*/ 14 w 206"/>
                <a:gd name="T9" fmla="*/ 92 h 195"/>
                <a:gd name="T10" fmla="*/ 0 w 206"/>
                <a:gd name="T11" fmla="*/ 92 h 195"/>
                <a:gd name="T12" fmla="*/ 103 w 206"/>
                <a:gd name="T13" fmla="*/ 195 h 195"/>
                <a:gd name="T14" fmla="*/ 206 w 206"/>
                <a:gd name="T15" fmla="*/ 92 h 195"/>
                <a:gd name="T16" fmla="*/ 191 w 206"/>
                <a:gd name="T17" fmla="*/ 92 h 195"/>
                <a:gd name="T18" fmla="*/ 172 w 206"/>
                <a:gd name="T19" fmla="*/ 73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6" h="195">
                  <a:moveTo>
                    <a:pt x="172" y="73"/>
                  </a:moveTo>
                  <a:cubicBezTo>
                    <a:pt x="172" y="0"/>
                    <a:pt x="172" y="0"/>
                    <a:pt x="172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73"/>
                    <a:pt x="33" y="73"/>
                    <a:pt x="33" y="73"/>
                  </a:cubicBezTo>
                  <a:cubicBezTo>
                    <a:pt x="33" y="83"/>
                    <a:pt x="25" y="92"/>
                    <a:pt x="14" y="92"/>
                  </a:cubicBezTo>
                  <a:cubicBezTo>
                    <a:pt x="0" y="92"/>
                    <a:pt x="0" y="92"/>
                    <a:pt x="0" y="92"/>
                  </a:cubicBezTo>
                  <a:cubicBezTo>
                    <a:pt x="0" y="148"/>
                    <a:pt x="46" y="195"/>
                    <a:pt x="103" y="195"/>
                  </a:cubicBezTo>
                  <a:cubicBezTo>
                    <a:pt x="159" y="195"/>
                    <a:pt x="206" y="148"/>
                    <a:pt x="206" y="92"/>
                  </a:cubicBezTo>
                  <a:cubicBezTo>
                    <a:pt x="191" y="92"/>
                    <a:pt x="191" y="92"/>
                    <a:pt x="191" y="92"/>
                  </a:cubicBezTo>
                  <a:cubicBezTo>
                    <a:pt x="180" y="92"/>
                    <a:pt x="172" y="83"/>
                    <a:pt x="172" y="73"/>
                  </a:cubicBezTo>
                </a:path>
              </a:pathLst>
            </a:custGeom>
            <a:solidFill>
              <a:srgbClr val="C498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2" name="Freeform 68"/>
            <p:cNvSpPr>
              <a:spLocks/>
            </p:cNvSpPr>
            <p:nvPr userDrawn="1"/>
          </p:nvSpPr>
          <p:spPr bwMode="auto">
            <a:xfrm>
              <a:off x="10037764" y="3261360"/>
              <a:ext cx="206375" cy="123825"/>
            </a:xfrm>
            <a:custGeom>
              <a:avLst/>
              <a:gdLst>
                <a:gd name="T0" fmla="*/ 139 w 139"/>
                <a:gd name="T1" fmla="*/ 21 h 84"/>
                <a:gd name="T2" fmla="*/ 139 w 139"/>
                <a:gd name="T3" fmla="*/ 0 h 84"/>
                <a:gd name="T4" fmla="*/ 0 w 139"/>
                <a:gd name="T5" fmla="*/ 0 h 84"/>
                <a:gd name="T6" fmla="*/ 0 w 139"/>
                <a:gd name="T7" fmla="*/ 82 h 84"/>
                <a:gd name="T8" fmla="*/ 139 w 139"/>
                <a:gd name="T9" fmla="*/ 2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9" h="84">
                  <a:moveTo>
                    <a:pt x="139" y="21"/>
                  </a:moveTo>
                  <a:cubicBezTo>
                    <a:pt x="139" y="0"/>
                    <a:pt x="139" y="0"/>
                    <a:pt x="13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95" y="84"/>
                    <a:pt x="139" y="21"/>
                    <a:pt x="139" y="21"/>
                  </a:cubicBezTo>
                  <a:close/>
                </a:path>
              </a:pathLst>
            </a:custGeom>
            <a:solidFill>
              <a:srgbClr val="B38A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3" name="Freeform 69"/>
            <p:cNvSpPr>
              <a:spLocks/>
            </p:cNvSpPr>
            <p:nvPr userDrawn="1"/>
          </p:nvSpPr>
          <p:spPr bwMode="auto">
            <a:xfrm>
              <a:off x="9907589" y="2824798"/>
              <a:ext cx="501650" cy="496888"/>
            </a:xfrm>
            <a:custGeom>
              <a:avLst/>
              <a:gdLst>
                <a:gd name="T0" fmla="*/ 329 w 336"/>
                <a:gd name="T1" fmla="*/ 179 h 335"/>
                <a:gd name="T2" fmla="*/ 156 w 336"/>
                <a:gd name="T3" fmla="*/ 328 h 335"/>
                <a:gd name="T4" fmla="*/ 7 w 336"/>
                <a:gd name="T5" fmla="*/ 155 h 335"/>
                <a:gd name="T6" fmla="*/ 180 w 336"/>
                <a:gd name="T7" fmla="*/ 6 h 335"/>
                <a:gd name="T8" fmla="*/ 329 w 336"/>
                <a:gd name="T9" fmla="*/ 179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6" h="335">
                  <a:moveTo>
                    <a:pt x="329" y="179"/>
                  </a:moveTo>
                  <a:cubicBezTo>
                    <a:pt x="322" y="268"/>
                    <a:pt x="245" y="335"/>
                    <a:pt x="156" y="328"/>
                  </a:cubicBezTo>
                  <a:cubicBezTo>
                    <a:pt x="67" y="321"/>
                    <a:pt x="0" y="244"/>
                    <a:pt x="7" y="155"/>
                  </a:cubicBezTo>
                  <a:cubicBezTo>
                    <a:pt x="14" y="66"/>
                    <a:pt x="91" y="0"/>
                    <a:pt x="180" y="6"/>
                  </a:cubicBezTo>
                  <a:cubicBezTo>
                    <a:pt x="269" y="13"/>
                    <a:pt x="336" y="91"/>
                    <a:pt x="329" y="179"/>
                  </a:cubicBezTo>
                  <a:close/>
                </a:path>
              </a:pathLst>
            </a:custGeom>
            <a:solidFill>
              <a:srgbClr val="BD36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4" name="Freeform 70"/>
            <p:cNvSpPr>
              <a:spLocks/>
            </p:cNvSpPr>
            <p:nvPr userDrawn="1"/>
          </p:nvSpPr>
          <p:spPr bwMode="auto">
            <a:xfrm>
              <a:off x="9934577" y="2959735"/>
              <a:ext cx="357188" cy="393700"/>
            </a:xfrm>
            <a:custGeom>
              <a:avLst/>
              <a:gdLst>
                <a:gd name="T0" fmla="*/ 99 w 239"/>
                <a:gd name="T1" fmla="*/ 261 h 265"/>
                <a:gd name="T2" fmla="*/ 99 w 239"/>
                <a:gd name="T3" fmla="*/ 261 h 265"/>
                <a:gd name="T4" fmla="*/ 4 w 239"/>
                <a:gd name="T5" fmla="*/ 137 h 265"/>
                <a:gd name="T6" fmla="*/ 14 w 239"/>
                <a:gd name="T7" fmla="*/ 0 h 265"/>
                <a:gd name="T8" fmla="*/ 239 w 239"/>
                <a:gd name="T9" fmla="*/ 17 h 265"/>
                <a:gd name="T10" fmla="*/ 229 w 239"/>
                <a:gd name="T11" fmla="*/ 154 h 265"/>
                <a:gd name="T12" fmla="*/ 99 w 239"/>
                <a:gd name="T13" fmla="*/ 261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9" h="265">
                  <a:moveTo>
                    <a:pt x="99" y="261"/>
                  </a:moveTo>
                  <a:cubicBezTo>
                    <a:pt x="99" y="261"/>
                    <a:pt x="99" y="261"/>
                    <a:pt x="99" y="261"/>
                  </a:cubicBezTo>
                  <a:cubicBezTo>
                    <a:pt x="42" y="256"/>
                    <a:pt x="0" y="195"/>
                    <a:pt x="4" y="137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239" y="17"/>
                    <a:pt x="239" y="17"/>
                    <a:pt x="239" y="17"/>
                  </a:cubicBezTo>
                  <a:cubicBezTo>
                    <a:pt x="229" y="154"/>
                    <a:pt x="229" y="154"/>
                    <a:pt x="229" y="154"/>
                  </a:cubicBezTo>
                  <a:cubicBezTo>
                    <a:pt x="224" y="227"/>
                    <a:pt x="156" y="265"/>
                    <a:pt x="99" y="261"/>
                  </a:cubicBezTo>
                  <a:close/>
                </a:path>
              </a:pathLst>
            </a:custGeom>
            <a:solidFill>
              <a:srgbClr val="C498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5" name="Freeform 71"/>
            <p:cNvSpPr>
              <a:spLocks/>
            </p:cNvSpPr>
            <p:nvPr userDrawn="1"/>
          </p:nvSpPr>
          <p:spPr bwMode="auto">
            <a:xfrm>
              <a:off x="9936164" y="3043873"/>
              <a:ext cx="193675" cy="290513"/>
            </a:xfrm>
            <a:custGeom>
              <a:avLst/>
              <a:gdLst>
                <a:gd name="T0" fmla="*/ 87 w 130"/>
                <a:gd name="T1" fmla="*/ 98 h 196"/>
                <a:gd name="T2" fmla="*/ 80 w 130"/>
                <a:gd name="T3" fmla="*/ 89 h 196"/>
                <a:gd name="T4" fmla="*/ 83 w 130"/>
                <a:gd name="T5" fmla="*/ 83 h 196"/>
                <a:gd name="T6" fmla="*/ 99 w 130"/>
                <a:gd name="T7" fmla="*/ 43 h 196"/>
                <a:gd name="T8" fmla="*/ 100 w 130"/>
                <a:gd name="T9" fmla="*/ 36 h 196"/>
                <a:gd name="T10" fmla="*/ 76 w 130"/>
                <a:gd name="T11" fmla="*/ 5 h 196"/>
                <a:gd name="T12" fmla="*/ 9 w 130"/>
                <a:gd name="T13" fmla="*/ 0 h 196"/>
                <a:gd name="T14" fmla="*/ 8 w 130"/>
                <a:gd name="T15" fmla="*/ 20 h 196"/>
                <a:gd name="T16" fmla="*/ 5 w 130"/>
                <a:gd name="T17" fmla="*/ 60 h 196"/>
                <a:gd name="T18" fmla="*/ 3 w 130"/>
                <a:gd name="T19" fmla="*/ 81 h 196"/>
                <a:gd name="T20" fmla="*/ 59 w 130"/>
                <a:gd name="T21" fmla="*/ 192 h 196"/>
                <a:gd name="T22" fmla="*/ 67 w 130"/>
                <a:gd name="T23" fmla="*/ 196 h 196"/>
                <a:gd name="T24" fmla="*/ 92 w 130"/>
                <a:gd name="T25" fmla="*/ 130 h 196"/>
                <a:gd name="T26" fmla="*/ 108 w 130"/>
                <a:gd name="T27" fmla="*/ 113 h 196"/>
                <a:gd name="T28" fmla="*/ 130 w 130"/>
                <a:gd name="T29" fmla="*/ 101 h 196"/>
                <a:gd name="T30" fmla="*/ 87 w 130"/>
                <a:gd name="T31" fmla="*/ 98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0" h="196">
                  <a:moveTo>
                    <a:pt x="87" y="98"/>
                  </a:moveTo>
                  <a:cubicBezTo>
                    <a:pt x="82" y="98"/>
                    <a:pt x="79" y="94"/>
                    <a:pt x="80" y="89"/>
                  </a:cubicBezTo>
                  <a:cubicBezTo>
                    <a:pt x="80" y="87"/>
                    <a:pt x="81" y="85"/>
                    <a:pt x="83" y="83"/>
                  </a:cubicBezTo>
                  <a:cubicBezTo>
                    <a:pt x="90" y="71"/>
                    <a:pt x="96" y="57"/>
                    <a:pt x="99" y="43"/>
                  </a:cubicBezTo>
                  <a:cubicBezTo>
                    <a:pt x="100" y="36"/>
                    <a:pt x="100" y="36"/>
                    <a:pt x="100" y="36"/>
                  </a:cubicBezTo>
                  <a:cubicBezTo>
                    <a:pt x="103" y="21"/>
                    <a:pt x="92" y="7"/>
                    <a:pt x="76" y="5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5" y="60"/>
                    <a:pt x="5" y="60"/>
                    <a:pt x="5" y="60"/>
                  </a:cubicBezTo>
                  <a:cubicBezTo>
                    <a:pt x="3" y="81"/>
                    <a:pt x="3" y="81"/>
                    <a:pt x="3" y="81"/>
                  </a:cubicBezTo>
                  <a:cubicBezTo>
                    <a:pt x="0" y="125"/>
                    <a:pt x="23" y="170"/>
                    <a:pt x="59" y="192"/>
                  </a:cubicBezTo>
                  <a:cubicBezTo>
                    <a:pt x="61" y="193"/>
                    <a:pt x="64" y="195"/>
                    <a:pt x="67" y="196"/>
                  </a:cubicBezTo>
                  <a:cubicBezTo>
                    <a:pt x="92" y="130"/>
                    <a:pt x="92" y="130"/>
                    <a:pt x="92" y="130"/>
                  </a:cubicBezTo>
                  <a:cubicBezTo>
                    <a:pt x="95" y="123"/>
                    <a:pt x="101" y="117"/>
                    <a:pt x="108" y="113"/>
                  </a:cubicBezTo>
                  <a:cubicBezTo>
                    <a:pt x="130" y="101"/>
                    <a:pt x="130" y="101"/>
                    <a:pt x="130" y="101"/>
                  </a:cubicBezTo>
                  <a:lnTo>
                    <a:pt x="87" y="98"/>
                  </a:lnTo>
                  <a:close/>
                </a:path>
              </a:pathLst>
            </a:custGeom>
            <a:solidFill>
              <a:srgbClr val="B38A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6" name="Freeform 72"/>
            <p:cNvSpPr>
              <a:spLocks/>
            </p:cNvSpPr>
            <p:nvPr userDrawn="1"/>
          </p:nvSpPr>
          <p:spPr bwMode="auto">
            <a:xfrm>
              <a:off x="10015539" y="3235960"/>
              <a:ext cx="133350" cy="58738"/>
            </a:xfrm>
            <a:custGeom>
              <a:avLst/>
              <a:gdLst>
                <a:gd name="T0" fmla="*/ 90 w 90"/>
                <a:gd name="T1" fmla="*/ 7 h 40"/>
                <a:gd name="T2" fmla="*/ 42 w 90"/>
                <a:gd name="T3" fmla="*/ 39 h 40"/>
                <a:gd name="T4" fmla="*/ 0 w 90"/>
                <a:gd name="T5" fmla="*/ 0 h 40"/>
                <a:gd name="T6" fmla="*/ 90 w 90"/>
                <a:gd name="T7" fmla="*/ 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" h="40">
                  <a:moveTo>
                    <a:pt x="90" y="7"/>
                  </a:moveTo>
                  <a:cubicBezTo>
                    <a:pt x="79" y="27"/>
                    <a:pt x="61" y="40"/>
                    <a:pt x="42" y="39"/>
                  </a:cubicBezTo>
                  <a:cubicBezTo>
                    <a:pt x="23" y="37"/>
                    <a:pt x="7" y="22"/>
                    <a:pt x="0" y="0"/>
                  </a:cubicBezTo>
                  <a:lnTo>
                    <a:pt x="90" y="7"/>
                  </a:lnTo>
                  <a:close/>
                </a:path>
              </a:pathLst>
            </a:custGeom>
            <a:solidFill>
              <a:srgbClr val="EE4D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7" name="Freeform 73"/>
            <p:cNvSpPr>
              <a:spLocks/>
            </p:cNvSpPr>
            <p:nvPr userDrawn="1"/>
          </p:nvSpPr>
          <p:spPr bwMode="auto">
            <a:xfrm>
              <a:off x="10015539" y="3235960"/>
              <a:ext cx="133350" cy="47625"/>
            </a:xfrm>
            <a:custGeom>
              <a:avLst/>
              <a:gdLst>
                <a:gd name="T0" fmla="*/ 90 w 90"/>
                <a:gd name="T1" fmla="*/ 7 h 32"/>
                <a:gd name="T2" fmla="*/ 43 w 90"/>
                <a:gd name="T3" fmla="*/ 30 h 32"/>
                <a:gd name="T4" fmla="*/ 0 w 90"/>
                <a:gd name="T5" fmla="*/ 0 h 32"/>
                <a:gd name="T6" fmla="*/ 90 w 90"/>
                <a:gd name="T7" fmla="*/ 7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" h="32">
                  <a:moveTo>
                    <a:pt x="90" y="7"/>
                  </a:moveTo>
                  <a:cubicBezTo>
                    <a:pt x="79" y="27"/>
                    <a:pt x="62" y="32"/>
                    <a:pt x="43" y="30"/>
                  </a:cubicBezTo>
                  <a:cubicBezTo>
                    <a:pt x="23" y="29"/>
                    <a:pt x="7" y="22"/>
                    <a:pt x="0" y="0"/>
                  </a:cubicBezTo>
                  <a:lnTo>
                    <a:pt x="90" y="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8" name="Freeform 74"/>
            <p:cNvSpPr>
              <a:spLocks/>
            </p:cNvSpPr>
            <p:nvPr userDrawn="1"/>
          </p:nvSpPr>
          <p:spPr bwMode="auto">
            <a:xfrm>
              <a:off x="10161589" y="3107373"/>
              <a:ext cx="38100" cy="33338"/>
            </a:xfrm>
            <a:custGeom>
              <a:avLst/>
              <a:gdLst>
                <a:gd name="T0" fmla="*/ 1 w 26"/>
                <a:gd name="T1" fmla="*/ 12 h 23"/>
                <a:gd name="T2" fmla="*/ 14 w 26"/>
                <a:gd name="T3" fmla="*/ 1 h 23"/>
                <a:gd name="T4" fmla="*/ 25 w 26"/>
                <a:gd name="T5" fmla="*/ 14 h 23"/>
                <a:gd name="T6" fmla="*/ 20 w 26"/>
                <a:gd name="T7" fmla="*/ 23 h 23"/>
                <a:gd name="T8" fmla="*/ 4 w 26"/>
                <a:gd name="T9" fmla="*/ 22 h 23"/>
                <a:gd name="T10" fmla="*/ 1 w 26"/>
                <a:gd name="T11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23">
                  <a:moveTo>
                    <a:pt x="1" y="12"/>
                  </a:moveTo>
                  <a:cubicBezTo>
                    <a:pt x="1" y="5"/>
                    <a:pt x="7" y="0"/>
                    <a:pt x="14" y="1"/>
                  </a:cubicBezTo>
                  <a:cubicBezTo>
                    <a:pt x="21" y="1"/>
                    <a:pt x="26" y="7"/>
                    <a:pt x="25" y="14"/>
                  </a:cubicBezTo>
                  <a:cubicBezTo>
                    <a:pt x="25" y="18"/>
                    <a:pt x="23" y="21"/>
                    <a:pt x="20" y="23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2" y="19"/>
                    <a:pt x="0" y="16"/>
                    <a:pt x="1" y="1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9" name="Freeform 75"/>
            <p:cNvSpPr>
              <a:spLocks/>
            </p:cNvSpPr>
            <p:nvPr userDrawn="1"/>
          </p:nvSpPr>
          <p:spPr bwMode="auto">
            <a:xfrm>
              <a:off x="9980614" y="3093085"/>
              <a:ext cx="38100" cy="34925"/>
            </a:xfrm>
            <a:custGeom>
              <a:avLst/>
              <a:gdLst>
                <a:gd name="T0" fmla="*/ 0 w 25"/>
                <a:gd name="T1" fmla="*/ 12 h 23"/>
                <a:gd name="T2" fmla="*/ 14 w 25"/>
                <a:gd name="T3" fmla="*/ 1 h 23"/>
                <a:gd name="T4" fmla="*/ 25 w 25"/>
                <a:gd name="T5" fmla="*/ 14 h 23"/>
                <a:gd name="T6" fmla="*/ 20 w 25"/>
                <a:gd name="T7" fmla="*/ 23 h 23"/>
                <a:gd name="T8" fmla="*/ 4 w 25"/>
                <a:gd name="T9" fmla="*/ 21 h 23"/>
                <a:gd name="T10" fmla="*/ 0 w 25"/>
                <a:gd name="T11" fmla="*/ 12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23">
                  <a:moveTo>
                    <a:pt x="0" y="12"/>
                  </a:moveTo>
                  <a:cubicBezTo>
                    <a:pt x="1" y="5"/>
                    <a:pt x="7" y="0"/>
                    <a:pt x="14" y="1"/>
                  </a:cubicBezTo>
                  <a:cubicBezTo>
                    <a:pt x="20" y="1"/>
                    <a:pt x="25" y="7"/>
                    <a:pt x="25" y="14"/>
                  </a:cubicBezTo>
                  <a:cubicBezTo>
                    <a:pt x="25" y="17"/>
                    <a:pt x="23" y="21"/>
                    <a:pt x="20" y="23"/>
                  </a:cubicBezTo>
                  <a:cubicBezTo>
                    <a:pt x="4" y="21"/>
                    <a:pt x="4" y="21"/>
                    <a:pt x="4" y="21"/>
                  </a:cubicBezTo>
                  <a:cubicBezTo>
                    <a:pt x="1" y="19"/>
                    <a:pt x="0" y="16"/>
                    <a:pt x="0" y="1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0" name="Freeform 76"/>
            <p:cNvSpPr>
              <a:spLocks/>
            </p:cNvSpPr>
            <p:nvPr userDrawn="1"/>
          </p:nvSpPr>
          <p:spPr bwMode="auto">
            <a:xfrm>
              <a:off x="10328277" y="3067685"/>
              <a:ext cx="38100" cy="101600"/>
            </a:xfrm>
            <a:custGeom>
              <a:avLst/>
              <a:gdLst>
                <a:gd name="T0" fmla="*/ 6 w 25"/>
                <a:gd name="T1" fmla="*/ 0 h 69"/>
                <a:gd name="T2" fmla="*/ 24 w 25"/>
                <a:gd name="T3" fmla="*/ 36 h 69"/>
                <a:gd name="T4" fmla="*/ 0 w 25"/>
                <a:gd name="T5" fmla="*/ 69 h 69"/>
                <a:gd name="T6" fmla="*/ 6 w 25"/>
                <a:gd name="T7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69">
                  <a:moveTo>
                    <a:pt x="6" y="0"/>
                  </a:moveTo>
                  <a:cubicBezTo>
                    <a:pt x="18" y="7"/>
                    <a:pt x="25" y="21"/>
                    <a:pt x="24" y="36"/>
                  </a:cubicBezTo>
                  <a:cubicBezTo>
                    <a:pt x="23" y="51"/>
                    <a:pt x="13" y="64"/>
                    <a:pt x="0" y="69"/>
                  </a:cubicBezTo>
                  <a:lnTo>
                    <a:pt x="6" y="0"/>
                  </a:lnTo>
                  <a:close/>
                </a:path>
              </a:pathLst>
            </a:custGeom>
            <a:solidFill>
              <a:srgbClr val="C498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1" name="Freeform 77"/>
            <p:cNvSpPr>
              <a:spLocks/>
            </p:cNvSpPr>
            <p:nvPr userDrawn="1"/>
          </p:nvSpPr>
          <p:spPr bwMode="auto">
            <a:xfrm>
              <a:off x="10328277" y="3143885"/>
              <a:ext cx="33338" cy="38100"/>
            </a:xfrm>
            <a:custGeom>
              <a:avLst/>
              <a:gdLst>
                <a:gd name="T0" fmla="*/ 21 w 22"/>
                <a:gd name="T1" fmla="*/ 14 h 26"/>
                <a:gd name="T2" fmla="*/ 8 w 22"/>
                <a:gd name="T3" fmla="*/ 25 h 26"/>
                <a:gd name="T4" fmla="*/ 0 w 22"/>
                <a:gd name="T5" fmla="*/ 21 h 26"/>
                <a:gd name="T6" fmla="*/ 1 w 22"/>
                <a:gd name="T7" fmla="*/ 3 h 26"/>
                <a:gd name="T8" fmla="*/ 10 w 22"/>
                <a:gd name="T9" fmla="*/ 0 h 26"/>
                <a:gd name="T10" fmla="*/ 18 w 22"/>
                <a:gd name="T11" fmla="*/ 4 h 26"/>
                <a:gd name="T12" fmla="*/ 21 w 22"/>
                <a:gd name="T13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26">
                  <a:moveTo>
                    <a:pt x="21" y="14"/>
                  </a:moveTo>
                  <a:cubicBezTo>
                    <a:pt x="21" y="20"/>
                    <a:pt x="15" y="26"/>
                    <a:pt x="8" y="25"/>
                  </a:cubicBezTo>
                  <a:cubicBezTo>
                    <a:pt x="5" y="25"/>
                    <a:pt x="2" y="23"/>
                    <a:pt x="0" y="2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4" y="1"/>
                    <a:pt x="7" y="0"/>
                    <a:pt x="10" y="0"/>
                  </a:cubicBezTo>
                  <a:cubicBezTo>
                    <a:pt x="13" y="0"/>
                    <a:pt x="16" y="2"/>
                    <a:pt x="18" y="4"/>
                  </a:cubicBezTo>
                  <a:cubicBezTo>
                    <a:pt x="20" y="6"/>
                    <a:pt x="22" y="10"/>
                    <a:pt x="21" y="14"/>
                  </a:cubicBezTo>
                  <a:close/>
                </a:path>
              </a:pathLst>
            </a:custGeom>
            <a:solidFill>
              <a:srgbClr val="FBB61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2" name="Freeform 78"/>
            <p:cNvSpPr>
              <a:spLocks/>
            </p:cNvSpPr>
            <p:nvPr userDrawn="1"/>
          </p:nvSpPr>
          <p:spPr bwMode="auto">
            <a:xfrm>
              <a:off x="10031414" y="2942273"/>
              <a:ext cx="273050" cy="152400"/>
            </a:xfrm>
            <a:custGeom>
              <a:avLst/>
              <a:gdLst>
                <a:gd name="T0" fmla="*/ 0 w 183"/>
                <a:gd name="T1" fmla="*/ 0 h 103"/>
                <a:gd name="T2" fmla="*/ 169 w 183"/>
                <a:gd name="T3" fmla="*/ 103 h 103"/>
                <a:gd name="T4" fmla="*/ 183 w 183"/>
                <a:gd name="T5" fmla="*/ 14 h 103"/>
                <a:gd name="T6" fmla="*/ 0 w 183"/>
                <a:gd name="T7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3" h="103">
                  <a:moveTo>
                    <a:pt x="0" y="0"/>
                  </a:moveTo>
                  <a:cubicBezTo>
                    <a:pt x="0" y="0"/>
                    <a:pt x="40" y="95"/>
                    <a:pt x="169" y="103"/>
                  </a:cubicBezTo>
                  <a:cubicBezTo>
                    <a:pt x="183" y="14"/>
                    <a:pt x="183" y="14"/>
                    <a:pt x="183" y="1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BD36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3" name="Freeform 79"/>
            <p:cNvSpPr>
              <a:spLocks/>
            </p:cNvSpPr>
            <p:nvPr userDrawn="1"/>
          </p:nvSpPr>
          <p:spPr bwMode="auto">
            <a:xfrm>
              <a:off x="9940927" y="2937510"/>
              <a:ext cx="127000" cy="131763"/>
            </a:xfrm>
            <a:custGeom>
              <a:avLst/>
              <a:gdLst>
                <a:gd name="T0" fmla="*/ 80 w 85"/>
                <a:gd name="T1" fmla="*/ 5 h 89"/>
                <a:gd name="T2" fmla="*/ 22 w 85"/>
                <a:gd name="T3" fmla="*/ 0 h 89"/>
                <a:gd name="T4" fmla="*/ 8 w 85"/>
                <a:gd name="T5" fmla="*/ 15 h 89"/>
                <a:gd name="T6" fmla="*/ 5 w 85"/>
                <a:gd name="T7" fmla="*/ 28 h 89"/>
                <a:gd name="T8" fmla="*/ 0 w 85"/>
                <a:gd name="T9" fmla="*/ 89 h 89"/>
                <a:gd name="T10" fmla="*/ 80 w 85"/>
                <a:gd name="T11" fmla="*/ 5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89">
                  <a:moveTo>
                    <a:pt x="80" y="5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85" y="66"/>
                    <a:pt x="80" y="5"/>
                    <a:pt x="80" y="5"/>
                  </a:cubicBezTo>
                  <a:close/>
                </a:path>
              </a:pathLst>
            </a:custGeom>
            <a:solidFill>
              <a:srgbClr val="BD36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4" name="Freeform 80"/>
            <p:cNvSpPr>
              <a:spLocks/>
            </p:cNvSpPr>
            <p:nvPr userDrawn="1"/>
          </p:nvSpPr>
          <p:spPr bwMode="auto">
            <a:xfrm>
              <a:off x="10212389" y="2783523"/>
              <a:ext cx="227013" cy="225425"/>
            </a:xfrm>
            <a:custGeom>
              <a:avLst/>
              <a:gdLst>
                <a:gd name="T0" fmla="*/ 150 w 153"/>
                <a:gd name="T1" fmla="*/ 82 h 152"/>
                <a:gd name="T2" fmla="*/ 71 w 153"/>
                <a:gd name="T3" fmla="*/ 149 h 152"/>
                <a:gd name="T4" fmla="*/ 3 w 153"/>
                <a:gd name="T5" fmla="*/ 71 h 152"/>
                <a:gd name="T6" fmla="*/ 82 w 153"/>
                <a:gd name="T7" fmla="*/ 3 h 152"/>
                <a:gd name="T8" fmla="*/ 150 w 153"/>
                <a:gd name="T9" fmla="*/ 8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" h="152">
                  <a:moveTo>
                    <a:pt x="150" y="82"/>
                  </a:moveTo>
                  <a:cubicBezTo>
                    <a:pt x="147" y="122"/>
                    <a:pt x="111" y="152"/>
                    <a:pt x="71" y="149"/>
                  </a:cubicBezTo>
                  <a:cubicBezTo>
                    <a:pt x="31" y="146"/>
                    <a:pt x="0" y="111"/>
                    <a:pt x="3" y="71"/>
                  </a:cubicBezTo>
                  <a:cubicBezTo>
                    <a:pt x="6" y="30"/>
                    <a:pt x="42" y="0"/>
                    <a:pt x="82" y="3"/>
                  </a:cubicBezTo>
                  <a:cubicBezTo>
                    <a:pt x="123" y="6"/>
                    <a:pt x="153" y="41"/>
                    <a:pt x="150" y="82"/>
                  </a:cubicBezTo>
                  <a:close/>
                </a:path>
              </a:pathLst>
            </a:custGeom>
            <a:solidFill>
              <a:srgbClr val="BD360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5" name="Rectangle 81"/>
            <p:cNvSpPr>
              <a:spLocks noChangeArrowheads="1"/>
            </p:cNvSpPr>
            <p:nvPr userDrawn="1"/>
          </p:nvSpPr>
          <p:spPr bwMode="auto">
            <a:xfrm>
              <a:off x="9898064" y="3707448"/>
              <a:ext cx="485775" cy="146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6" name="Rectangle 82"/>
            <p:cNvSpPr>
              <a:spLocks noChangeArrowheads="1"/>
            </p:cNvSpPr>
            <p:nvPr userDrawn="1"/>
          </p:nvSpPr>
          <p:spPr bwMode="auto">
            <a:xfrm>
              <a:off x="9898064" y="3707448"/>
              <a:ext cx="485775" cy="146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7" name="Freeform 83"/>
            <p:cNvSpPr>
              <a:spLocks/>
            </p:cNvSpPr>
            <p:nvPr userDrawn="1"/>
          </p:nvSpPr>
          <p:spPr bwMode="auto">
            <a:xfrm>
              <a:off x="10204452" y="3401060"/>
              <a:ext cx="290513" cy="334963"/>
            </a:xfrm>
            <a:custGeom>
              <a:avLst/>
              <a:gdLst>
                <a:gd name="T0" fmla="*/ 89 w 195"/>
                <a:gd name="T1" fmla="*/ 0 h 226"/>
                <a:gd name="T2" fmla="*/ 61 w 195"/>
                <a:gd name="T3" fmla="*/ 0 h 226"/>
                <a:gd name="T4" fmla="*/ 0 w 195"/>
                <a:gd name="T5" fmla="*/ 93 h 226"/>
                <a:gd name="T6" fmla="*/ 20 w 195"/>
                <a:gd name="T7" fmla="*/ 207 h 226"/>
                <a:gd name="T8" fmla="*/ 120 w 195"/>
                <a:gd name="T9" fmla="*/ 207 h 226"/>
                <a:gd name="T10" fmla="*/ 120 w 195"/>
                <a:gd name="T11" fmla="*/ 226 h 226"/>
                <a:gd name="T12" fmla="*/ 195 w 195"/>
                <a:gd name="T13" fmla="*/ 226 h 226"/>
                <a:gd name="T14" fmla="*/ 174 w 195"/>
                <a:gd name="T15" fmla="*/ 81 h 226"/>
                <a:gd name="T16" fmla="*/ 89 w 195"/>
                <a:gd name="T17" fmla="*/ 0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5" h="226">
                  <a:moveTo>
                    <a:pt x="89" y="0"/>
                  </a:moveTo>
                  <a:cubicBezTo>
                    <a:pt x="61" y="0"/>
                    <a:pt x="61" y="0"/>
                    <a:pt x="61" y="0"/>
                  </a:cubicBezTo>
                  <a:cubicBezTo>
                    <a:pt x="60" y="42"/>
                    <a:pt x="36" y="77"/>
                    <a:pt x="0" y="93"/>
                  </a:cubicBezTo>
                  <a:cubicBezTo>
                    <a:pt x="20" y="207"/>
                    <a:pt x="20" y="207"/>
                    <a:pt x="20" y="207"/>
                  </a:cubicBezTo>
                  <a:cubicBezTo>
                    <a:pt x="120" y="207"/>
                    <a:pt x="120" y="207"/>
                    <a:pt x="120" y="207"/>
                  </a:cubicBezTo>
                  <a:cubicBezTo>
                    <a:pt x="120" y="226"/>
                    <a:pt x="120" y="226"/>
                    <a:pt x="120" y="226"/>
                  </a:cubicBezTo>
                  <a:cubicBezTo>
                    <a:pt x="195" y="226"/>
                    <a:pt x="195" y="226"/>
                    <a:pt x="195" y="226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67" y="38"/>
                    <a:pt x="132" y="5"/>
                    <a:pt x="89" y="0"/>
                  </a:cubicBezTo>
                </a:path>
              </a:pathLst>
            </a:custGeom>
            <a:solidFill>
              <a:srgbClr val="5328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8" name="Freeform 84"/>
            <p:cNvSpPr>
              <a:spLocks/>
            </p:cNvSpPr>
            <p:nvPr userDrawn="1"/>
          </p:nvSpPr>
          <p:spPr bwMode="auto">
            <a:xfrm>
              <a:off x="10204452" y="3401060"/>
              <a:ext cx="90488" cy="136525"/>
            </a:xfrm>
            <a:custGeom>
              <a:avLst/>
              <a:gdLst>
                <a:gd name="T0" fmla="*/ 61 w 61"/>
                <a:gd name="T1" fmla="*/ 0 h 93"/>
                <a:gd name="T2" fmla="*/ 60 w 61"/>
                <a:gd name="T3" fmla="*/ 0 h 93"/>
                <a:gd name="T4" fmla="*/ 0 w 61"/>
                <a:gd name="T5" fmla="*/ 93 h 93"/>
                <a:gd name="T6" fmla="*/ 0 w 61"/>
                <a:gd name="T7" fmla="*/ 93 h 93"/>
                <a:gd name="T8" fmla="*/ 61 w 61"/>
                <a:gd name="T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93">
                  <a:moveTo>
                    <a:pt x="61" y="0"/>
                  </a:moveTo>
                  <a:cubicBezTo>
                    <a:pt x="60" y="0"/>
                    <a:pt x="60" y="0"/>
                    <a:pt x="60" y="0"/>
                  </a:cubicBezTo>
                  <a:cubicBezTo>
                    <a:pt x="60" y="41"/>
                    <a:pt x="35" y="77"/>
                    <a:pt x="0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36" y="77"/>
                    <a:pt x="60" y="42"/>
                    <a:pt x="61" y="0"/>
                  </a:cubicBezTo>
                </a:path>
              </a:pathLst>
            </a:custGeom>
            <a:solidFill>
              <a:srgbClr val="B089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89" name="Freeform 85"/>
            <p:cNvSpPr>
              <a:spLocks/>
            </p:cNvSpPr>
            <p:nvPr userDrawn="1"/>
          </p:nvSpPr>
          <p:spPr bwMode="auto">
            <a:xfrm>
              <a:off x="10234614" y="3707448"/>
              <a:ext cx="149225" cy="28575"/>
            </a:xfrm>
            <a:custGeom>
              <a:avLst/>
              <a:gdLst>
                <a:gd name="T0" fmla="*/ 94 w 94"/>
                <a:gd name="T1" fmla="*/ 0 h 18"/>
                <a:gd name="T2" fmla="*/ 0 w 94"/>
                <a:gd name="T3" fmla="*/ 0 h 18"/>
                <a:gd name="T4" fmla="*/ 4 w 94"/>
                <a:gd name="T5" fmla="*/ 18 h 18"/>
                <a:gd name="T6" fmla="*/ 94 w 94"/>
                <a:gd name="T7" fmla="*/ 18 h 18"/>
                <a:gd name="T8" fmla="*/ 94 w 94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18">
                  <a:moveTo>
                    <a:pt x="94" y="0"/>
                  </a:moveTo>
                  <a:lnTo>
                    <a:pt x="0" y="0"/>
                  </a:lnTo>
                  <a:lnTo>
                    <a:pt x="4" y="18"/>
                  </a:lnTo>
                  <a:lnTo>
                    <a:pt x="94" y="18"/>
                  </a:lnTo>
                  <a:lnTo>
                    <a:pt x="94" y="0"/>
                  </a:lnTo>
                  <a:close/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0" name="Freeform 86"/>
            <p:cNvSpPr>
              <a:spLocks/>
            </p:cNvSpPr>
            <p:nvPr userDrawn="1"/>
          </p:nvSpPr>
          <p:spPr bwMode="auto">
            <a:xfrm>
              <a:off x="10234614" y="3707448"/>
              <a:ext cx="149225" cy="28575"/>
            </a:xfrm>
            <a:custGeom>
              <a:avLst/>
              <a:gdLst>
                <a:gd name="T0" fmla="*/ 94 w 94"/>
                <a:gd name="T1" fmla="*/ 0 h 18"/>
                <a:gd name="T2" fmla="*/ 0 w 94"/>
                <a:gd name="T3" fmla="*/ 0 h 18"/>
                <a:gd name="T4" fmla="*/ 4 w 94"/>
                <a:gd name="T5" fmla="*/ 18 h 18"/>
                <a:gd name="T6" fmla="*/ 94 w 94"/>
                <a:gd name="T7" fmla="*/ 18 h 18"/>
                <a:gd name="T8" fmla="*/ 94 w 94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18">
                  <a:moveTo>
                    <a:pt x="94" y="0"/>
                  </a:moveTo>
                  <a:lnTo>
                    <a:pt x="0" y="0"/>
                  </a:lnTo>
                  <a:lnTo>
                    <a:pt x="4" y="18"/>
                  </a:lnTo>
                  <a:lnTo>
                    <a:pt x="94" y="18"/>
                  </a:lnTo>
                  <a:lnTo>
                    <a:pt x="9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1" name="Freeform 87"/>
            <p:cNvSpPr>
              <a:spLocks/>
            </p:cNvSpPr>
            <p:nvPr userDrawn="1"/>
          </p:nvSpPr>
          <p:spPr bwMode="auto">
            <a:xfrm>
              <a:off x="8232777" y="2988310"/>
              <a:ext cx="125413" cy="319088"/>
            </a:xfrm>
            <a:custGeom>
              <a:avLst/>
              <a:gdLst>
                <a:gd name="T0" fmla="*/ 72 w 85"/>
                <a:gd name="T1" fmla="*/ 0 h 215"/>
                <a:gd name="T2" fmla="*/ 14 w 85"/>
                <a:gd name="T3" fmla="*/ 0 h 215"/>
                <a:gd name="T4" fmla="*/ 27 w 85"/>
                <a:gd name="T5" fmla="*/ 121 h 215"/>
                <a:gd name="T6" fmla="*/ 27 w 85"/>
                <a:gd name="T7" fmla="*/ 121 h 215"/>
                <a:gd name="T8" fmla="*/ 0 w 85"/>
                <a:gd name="T9" fmla="*/ 215 h 215"/>
                <a:gd name="T10" fmla="*/ 70 w 85"/>
                <a:gd name="T11" fmla="*/ 174 h 215"/>
                <a:gd name="T12" fmla="*/ 83 w 85"/>
                <a:gd name="T13" fmla="*/ 134 h 215"/>
                <a:gd name="T14" fmla="*/ 85 w 85"/>
                <a:gd name="T15" fmla="*/ 112 h 215"/>
                <a:gd name="T16" fmla="*/ 72 w 85"/>
                <a:gd name="T17" fmla="*/ 0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5" h="215">
                  <a:moveTo>
                    <a:pt x="72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27" y="121"/>
                    <a:pt x="27" y="121"/>
                    <a:pt x="27" y="121"/>
                  </a:cubicBezTo>
                  <a:cubicBezTo>
                    <a:pt x="27" y="121"/>
                    <a:pt x="27" y="121"/>
                    <a:pt x="27" y="121"/>
                  </a:cubicBezTo>
                  <a:cubicBezTo>
                    <a:pt x="0" y="215"/>
                    <a:pt x="0" y="215"/>
                    <a:pt x="0" y="215"/>
                  </a:cubicBezTo>
                  <a:cubicBezTo>
                    <a:pt x="70" y="174"/>
                    <a:pt x="70" y="174"/>
                    <a:pt x="70" y="174"/>
                  </a:cubicBezTo>
                  <a:cubicBezTo>
                    <a:pt x="83" y="134"/>
                    <a:pt x="83" y="134"/>
                    <a:pt x="83" y="134"/>
                  </a:cubicBezTo>
                  <a:cubicBezTo>
                    <a:pt x="85" y="127"/>
                    <a:pt x="85" y="119"/>
                    <a:pt x="85" y="112"/>
                  </a:cubicBezTo>
                  <a:cubicBezTo>
                    <a:pt x="72" y="0"/>
                    <a:pt x="72" y="0"/>
                    <a:pt x="72" y="0"/>
                  </a:cubicBezTo>
                </a:path>
              </a:pathLst>
            </a:custGeom>
            <a:solidFill>
              <a:srgbClr val="F7D7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2" name="Freeform 88"/>
            <p:cNvSpPr>
              <a:spLocks/>
            </p:cNvSpPr>
            <p:nvPr userDrawn="1"/>
          </p:nvSpPr>
          <p:spPr bwMode="auto">
            <a:xfrm>
              <a:off x="7862889" y="2840673"/>
              <a:ext cx="485775" cy="227013"/>
            </a:xfrm>
            <a:custGeom>
              <a:avLst/>
              <a:gdLst>
                <a:gd name="T0" fmla="*/ 326 w 326"/>
                <a:gd name="T1" fmla="*/ 153 h 153"/>
                <a:gd name="T2" fmla="*/ 316 w 326"/>
                <a:gd name="T3" fmla="*/ 57 h 153"/>
                <a:gd name="T4" fmla="*/ 250 w 326"/>
                <a:gd name="T5" fmla="*/ 0 h 153"/>
                <a:gd name="T6" fmla="*/ 80 w 326"/>
                <a:gd name="T7" fmla="*/ 0 h 153"/>
                <a:gd name="T8" fmla="*/ 14 w 326"/>
                <a:gd name="T9" fmla="*/ 57 h 153"/>
                <a:gd name="T10" fmla="*/ 0 w 326"/>
                <a:gd name="T11" fmla="*/ 153 h 153"/>
                <a:gd name="T12" fmla="*/ 326 w 326"/>
                <a:gd name="T13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6" h="153">
                  <a:moveTo>
                    <a:pt x="326" y="153"/>
                  </a:moveTo>
                  <a:cubicBezTo>
                    <a:pt x="316" y="57"/>
                    <a:pt x="316" y="57"/>
                    <a:pt x="316" y="57"/>
                  </a:cubicBezTo>
                  <a:cubicBezTo>
                    <a:pt x="311" y="24"/>
                    <a:pt x="283" y="0"/>
                    <a:pt x="250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47" y="0"/>
                    <a:pt x="19" y="24"/>
                    <a:pt x="14" y="57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326" y="153"/>
                    <a:pt x="326" y="153"/>
                    <a:pt x="326" y="153"/>
                  </a:cubicBezTo>
                </a:path>
              </a:pathLst>
            </a:custGeom>
            <a:solidFill>
              <a:srgbClr val="F7D7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3" name="Freeform 89"/>
            <p:cNvSpPr>
              <a:spLocks/>
            </p:cNvSpPr>
            <p:nvPr userDrawn="1"/>
          </p:nvSpPr>
          <p:spPr bwMode="auto">
            <a:xfrm>
              <a:off x="7862889" y="2840673"/>
              <a:ext cx="485775" cy="230188"/>
            </a:xfrm>
            <a:custGeom>
              <a:avLst/>
              <a:gdLst>
                <a:gd name="T0" fmla="*/ 326 w 326"/>
                <a:gd name="T1" fmla="*/ 156 h 156"/>
                <a:gd name="T2" fmla="*/ 316 w 326"/>
                <a:gd name="T3" fmla="*/ 57 h 156"/>
                <a:gd name="T4" fmla="*/ 250 w 326"/>
                <a:gd name="T5" fmla="*/ 0 h 156"/>
                <a:gd name="T6" fmla="*/ 80 w 326"/>
                <a:gd name="T7" fmla="*/ 0 h 156"/>
                <a:gd name="T8" fmla="*/ 14 w 326"/>
                <a:gd name="T9" fmla="*/ 57 h 156"/>
                <a:gd name="T10" fmla="*/ 0 w 326"/>
                <a:gd name="T11" fmla="*/ 153 h 156"/>
                <a:gd name="T12" fmla="*/ 326 w 326"/>
                <a:gd name="T13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6" h="156">
                  <a:moveTo>
                    <a:pt x="326" y="156"/>
                  </a:moveTo>
                  <a:cubicBezTo>
                    <a:pt x="316" y="57"/>
                    <a:pt x="316" y="57"/>
                    <a:pt x="316" y="57"/>
                  </a:cubicBezTo>
                  <a:cubicBezTo>
                    <a:pt x="311" y="24"/>
                    <a:pt x="283" y="0"/>
                    <a:pt x="250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47" y="0"/>
                    <a:pt x="19" y="24"/>
                    <a:pt x="14" y="57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326" y="156"/>
                    <a:pt x="326" y="156"/>
                    <a:pt x="326" y="156"/>
                  </a:cubicBezTo>
                </a:path>
              </a:pathLst>
            </a:custGeom>
            <a:solidFill>
              <a:srgbClr val="FFF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4" name="Freeform 90"/>
            <p:cNvSpPr>
              <a:spLocks/>
            </p:cNvSpPr>
            <p:nvPr userDrawn="1"/>
          </p:nvSpPr>
          <p:spPr bwMode="auto">
            <a:xfrm>
              <a:off x="7942264" y="2443798"/>
              <a:ext cx="350838" cy="357188"/>
            </a:xfrm>
            <a:custGeom>
              <a:avLst/>
              <a:gdLst>
                <a:gd name="T0" fmla="*/ 230 w 235"/>
                <a:gd name="T1" fmla="*/ 128 h 242"/>
                <a:gd name="T2" fmla="*/ 128 w 235"/>
                <a:gd name="T3" fmla="*/ 5 h 242"/>
                <a:gd name="T4" fmla="*/ 6 w 235"/>
                <a:gd name="T5" fmla="*/ 107 h 242"/>
                <a:gd name="T6" fmla="*/ 0 w 235"/>
                <a:gd name="T7" fmla="*/ 238 h 242"/>
                <a:gd name="T8" fmla="*/ 61 w 235"/>
                <a:gd name="T9" fmla="*/ 212 h 242"/>
                <a:gd name="T10" fmla="*/ 73 w 235"/>
                <a:gd name="T11" fmla="*/ 190 h 242"/>
                <a:gd name="T12" fmla="*/ 157 w 235"/>
                <a:gd name="T13" fmla="*/ 162 h 242"/>
                <a:gd name="T14" fmla="*/ 167 w 235"/>
                <a:gd name="T15" fmla="*/ 185 h 242"/>
                <a:gd name="T16" fmla="*/ 222 w 235"/>
                <a:gd name="T17" fmla="*/ 242 h 242"/>
                <a:gd name="T18" fmla="*/ 230 w 235"/>
                <a:gd name="T19" fmla="*/ 128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5" h="242">
                  <a:moveTo>
                    <a:pt x="230" y="128"/>
                  </a:moveTo>
                  <a:cubicBezTo>
                    <a:pt x="235" y="66"/>
                    <a:pt x="190" y="11"/>
                    <a:pt x="128" y="5"/>
                  </a:cubicBezTo>
                  <a:cubicBezTo>
                    <a:pt x="66" y="0"/>
                    <a:pt x="11" y="45"/>
                    <a:pt x="6" y="107"/>
                  </a:cubicBezTo>
                  <a:cubicBezTo>
                    <a:pt x="0" y="238"/>
                    <a:pt x="0" y="238"/>
                    <a:pt x="0" y="238"/>
                  </a:cubicBezTo>
                  <a:cubicBezTo>
                    <a:pt x="40" y="235"/>
                    <a:pt x="61" y="212"/>
                    <a:pt x="61" y="212"/>
                  </a:cubicBezTo>
                  <a:cubicBezTo>
                    <a:pt x="73" y="190"/>
                    <a:pt x="73" y="190"/>
                    <a:pt x="73" y="190"/>
                  </a:cubicBezTo>
                  <a:cubicBezTo>
                    <a:pt x="157" y="162"/>
                    <a:pt x="157" y="162"/>
                    <a:pt x="157" y="162"/>
                  </a:cubicBezTo>
                  <a:cubicBezTo>
                    <a:pt x="167" y="185"/>
                    <a:pt x="167" y="185"/>
                    <a:pt x="167" y="185"/>
                  </a:cubicBezTo>
                  <a:cubicBezTo>
                    <a:pt x="178" y="230"/>
                    <a:pt x="222" y="242"/>
                    <a:pt x="222" y="242"/>
                  </a:cubicBezTo>
                  <a:lnTo>
                    <a:pt x="230" y="128"/>
                  </a:ln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5" name="Freeform 91"/>
            <p:cNvSpPr>
              <a:spLocks/>
            </p:cNvSpPr>
            <p:nvPr userDrawn="1"/>
          </p:nvSpPr>
          <p:spPr bwMode="auto">
            <a:xfrm>
              <a:off x="8001002" y="2745423"/>
              <a:ext cx="214313" cy="201613"/>
            </a:xfrm>
            <a:custGeom>
              <a:avLst/>
              <a:gdLst>
                <a:gd name="T0" fmla="*/ 24 w 144"/>
                <a:gd name="T1" fmla="*/ 51 h 136"/>
                <a:gd name="T2" fmla="*/ 24 w 144"/>
                <a:gd name="T3" fmla="*/ 0 h 136"/>
                <a:gd name="T4" fmla="*/ 120 w 144"/>
                <a:gd name="T5" fmla="*/ 0 h 136"/>
                <a:gd name="T6" fmla="*/ 120 w 144"/>
                <a:gd name="T7" fmla="*/ 51 h 136"/>
                <a:gd name="T8" fmla="*/ 133 w 144"/>
                <a:gd name="T9" fmla="*/ 64 h 136"/>
                <a:gd name="T10" fmla="*/ 144 w 144"/>
                <a:gd name="T11" fmla="*/ 64 h 136"/>
                <a:gd name="T12" fmla="*/ 72 w 144"/>
                <a:gd name="T13" fmla="*/ 136 h 136"/>
                <a:gd name="T14" fmla="*/ 0 w 144"/>
                <a:gd name="T15" fmla="*/ 64 h 136"/>
                <a:gd name="T16" fmla="*/ 10 w 144"/>
                <a:gd name="T17" fmla="*/ 64 h 136"/>
                <a:gd name="T18" fmla="*/ 24 w 144"/>
                <a:gd name="T19" fmla="*/ 51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4" h="136">
                  <a:moveTo>
                    <a:pt x="24" y="51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20" y="51"/>
                    <a:pt x="120" y="51"/>
                    <a:pt x="120" y="51"/>
                  </a:cubicBezTo>
                  <a:cubicBezTo>
                    <a:pt x="120" y="58"/>
                    <a:pt x="126" y="64"/>
                    <a:pt x="133" y="64"/>
                  </a:cubicBezTo>
                  <a:cubicBezTo>
                    <a:pt x="144" y="64"/>
                    <a:pt x="144" y="64"/>
                    <a:pt x="144" y="64"/>
                  </a:cubicBezTo>
                  <a:cubicBezTo>
                    <a:pt x="144" y="103"/>
                    <a:pt x="111" y="136"/>
                    <a:pt x="72" y="136"/>
                  </a:cubicBezTo>
                  <a:cubicBezTo>
                    <a:pt x="32" y="136"/>
                    <a:pt x="0" y="103"/>
                    <a:pt x="0" y="64"/>
                  </a:cubicBezTo>
                  <a:cubicBezTo>
                    <a:pt x="10" y="64"/>
                    <a:pt x="10" y="64"/>
                    <a:pt x="10" y="64"/>
                  </a:cubicBezTo>
                  <a:cubicBezTo>
                    <a:pt x="18" y="64"/>
                    <a:pt x="24" y="58"/>
                    <a:pt x="24" y="51"/>
                  </a:cubicBezTo>
                  <a:close/>
                </a:path>
              </a:pathLst>
            </a:custGeom>
            <a:solidFill>
              <a:srgbClr val="F7D7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6" name="Freeform 92"/>
            <p:cNvSpPr>
              <a:spLocks/>
            </p:cNvSpPr>
            <p:nvPr userDrawn="1"/>
          </p:nvSpPr>
          <p:spPr bwMode="auto">
            <a:xfrm>
              <a:off x="8037514" y="2745423"/>
              <a:ext cx="153988" cy="98425"/>
            </a:xfrm>
            <a:custGeom>
              <a:avLst/>
              <a:gdLst>
                <a:gd name="T0" fmla="*/ 104 w 104"/>
                <a:gd name="T1" fmla="*/ 63 h 66"/>
                <a:gd name="T2" fmla="*/ 96 w 104"/>
                <a:gd name="T3" fmla="*/ 51 h 66"/>
                <a:gd name="T4" fmla="*/ 96 w 104"/>
                <a:gd name="T5" fmla="*/ 0 h 66"/>
                <a:gd name="T6" fmla="*/ 0 w 104"/>
                <a:gd name="T7" fmla="*/ 0 h 66"/>
                <a:gd name="T8" fmla="*/ 0 w 104"/>
                <a:gd name="T9" fmla="*/ 22 h 66"/>
                <a:gd name="T10" fmla="*/ 104 w 104"/>
                <a:gd name="T11" fmla="*/ 63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" h="66">
                  <a:moveTo>
                    <a:pt x="104" y="63"/>
                  </a:moveTo>
                  <a:cubicBezTo>
                    <a:pt x="99" y="61"/>
                    <a:pt x="96" y="56"/>
                    <a:pt x="96" y="51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34" y="66"/>
                    <a:pt x="104" y="63"/>
                    <a:pt x="104" y="63"/>
                  </a:cubicBezTo>
                  <a:close/>
                </a:path>
              </a:pathLst>
            </a:custGeom>
            <a:solidFill>
              <a:srgbClr val="E6C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7" name="Freeform 93"/>
            <p:cNvSpPr>
              <a:spLocks/>
            </p:cNvSpPr>
            <p:nvPr userDrawn="1"/>
          </p:nvSpPr>
          <p:spPr bwMode="auto">
            <a:xfrm>
              <a:off x="8007352" y="2540635"/>
              <a:ext cx="252413" cy="279400"/>
            </a:xfrm>
            <a:custGeom>
              <a:avLst/>
              <a:gdLst>
                <a:gd name="T0" fmla="*/ 82 w 170"/>
                <a:gd name="T1" fmla="*/ 184 h 188"/>
                <a:gd name="T2" fmla="*/ 82 w 170"/>
                <a:gd name="T3" fmla="*/ 184 h 188"/>
                <a:gd name="T4" fmla="*/ 161 w 170"/>
                <a:gd name="T5" fmla="*/ 110 h 188"/>
                <a:gd name="T6" fmla="*/ 170 w 170"/>
                <a:gd name="T7" fmla="*/ 15 h 188"/>
                <a:gd name="T8" fmla="*/ 14 w 170"/>
                <a:gd name="T9" fmla="*/ 0 h 188"/>
                <a:gd name="T10" fmla="*/ 5 w 170"/>
                <a:gd name="T11" fmla="*/ 96 h 188"/>
                <a:gd name="T12" fmla="*/ 82 w 170"/>
                <a:gd name="T13" fmla="*/ 18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188">
                  <a:moveTo>
                    <a:pt x="82" y="184"/>
                  </a:moveTo>
                  <a:cubicBezTo>
                    <a:pt x="82" y="184"/>
                    <a:pt x="82" y="184"/>
                    <a:pt x="82" y="184"/>
                  </a:cubicBezTo>
                  <a:cubicBezTo>
                    <a:pt x="122" y="188"/>
                    <a:pt x="158" y="150"/>
                    <a:pt x="161" y="110"/>
                  </a:cubicBezTo>
                  <a:cubicBezTo>
                    <a:pt x="170" y="15"/>
                    <a:pt x="170" y="15"/>
                    <a:pt x="170" y="1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5" y="96"/>
                    <a:pt x="5" y="96"/>
                    <a:pt x="5" y="96"/>
                  </a:cubicBezTo>
                  <a:cubicBezTo>
                    <a:pt x="0" y="146"/>
                    <a:pt x="42" y="180"/>
                    <a:pt x="82" y="184"/>
                  </a:cubicBezTo>
                  <a:close/>
                </a:path>
              </a:pathLst>
            </a:custGeom>
            <a:solidFill>
              <a:srgbClr val="F7D7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8" name="Freeform 94"/>
            <p:cNvSpPr>
              <a:spLocks/>
            </p:cNvSpPr>
            <p:nvPr userDrawn="1"/>
          </p:nvSpPr>
          <p:spPr bwMode="auto">
            <a:xfrm>
              <a:off x="8112127" y="2613660"/>
              <a:ext cx="144463" cy="196850"/>
            </a:xfrm>
            <a:custGeom>
              <a:avLst/>
              <a:gdLst>
                <a:gd name="T0" fmla="*/ 31 w 96"/>
                <a:gd name="T1" fmla="*/ 63 h 133"/>
                <a:gd name="T2" fmla="*/ 36 w 96"/>
                <a:gd name="T3" fmla="*/ 58 h 133"/>
                <a:gd name="T4" fmla="*/ 35 w 96"/>
                <a:gd name="T5" fmla="*/ 53 h 133"/>
                <a:gd name="T6" fmla="*/ 29 w 96"/>
                <a:gd name="T7" fmla="*/ 24 h 133"/>
                <a:gd name="T8" fmla="*/ 29 w 96"/>
                <a:gd name="T9" fmla="*/ 19 h 133"/>
                <a:gd name="T10" fmla="*/ 49 w 96"/>
                <a:gd name="T11" fmla="*/ 1 h 133"/>
                <a:gd name="T12" fmla="*/ 96 w 96"/>
                <a:gd name="T13" fmla="*/ 5 h 133"/>
                <a:gd name="T14" fmla="*/ 94 w 96"/>
                <a:gd name="T15" fmla="*/ 19 h 133"/>
                <a:gd name="T16" fmla="*/ 92 w 96"/>
                <a:gd name="T17" fmla="*/ 47 h 133"/>
                <a:gd name="T18" fmla="*/ 90 w 96"/>
                <a:gd name="T19" fmla="*/ 61 h 133"/>
                <a:gd name="T20" fmla="*/ 39 w 96"/>
                <a:gd name="T21" fmla="*/ 131 h 133"/>
                <a:gd name="T22" fmla="*/ 33 w 96"/>
                <a:gd name="T23" fmla="*/ 133 h 133"/>
                <a:gd name="T24" fmla="*/ 23 w 96"/>
                <a:gd name="T25" fmla="*/ 84 h 133"/>
                <a:gd name="T26" fmla="*/ 15 w 96"/>
                <a:gd name="T27" fmla="*/ 71 h 133"/>
                <a:gd name="T28" fmla="*/ 0 w 96"/>
                <a:gd name="T29" fmla="*/ 60 h 133"/>
                <a:gd name="T30" fmla="*/ 31 w 96"/>
                <a:gd name="T31" fmla="*/ 6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6" h="133">
                  <a:moveTo>
                    <a:pt x="31" y="63"/>
                  </a:moveTo>
                  <a:cubicBezTo>
                    <a:pt x="34" y="63"/>
                    <a:pt x="37" y="61"/>
                    <a:pt x="36" y="58"/>
                  </a:cubicBezTo>
                  <a:cubicBezTo>
                    <a:pt x="36" y="56"/>
                    <a:pt x="36" y="55"/>
                    <a:pt x="35" y="53"/>
                  </a:cubicBezTo>
                  <a:cubicBezTo>
                    <a:pt x="32" y="44"/>
                    <a:pt x="29" y="34"/>
                    <a:pt x="29" y="24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9" y="8"/>
                    <a:pt x="38" y="0"/>
                    <a:pt x="49" y="1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4" y="19"/>
                    <a:pt x="94" y="19"/>
                    <a:pt x="94" y="19"/>
                  </a:cubicBezTo>
                  <a:cubicBezTo>
                    <a:pt x="92" y="47"/>
                    <a:pt x="92" y="47"/>
                    <a:pt x="92" y="47"/>
                  </a:cubicBezTo>
                  <a:cubicBezTo>
                    <a:pt x="90" y="61"/>
                    <a:pt x="90" y="61"/>
                    <a:pt x="90" y="61"/>
                  </a:cubicBezTo>
                  <a:cubicBezTo>
                    <a:pt x="88" y="91"/>
                    <a:pt x="66" y="120"/>
                    <a:pt x="39" y="131"/>
                  </a:cubicBezTo>
                  <a:cubicBezTo>
                    <a:pt x="37" y="132"/>
                    <a:pt x="35" y="132"/>
                    <a:pt x="33" y="133"/>
                  </a:cubicBezTo>
                  <a:cubicBezTo>
                    <a:pt x="23" y="84"/>
                    <a:pt x="23" y="84"/>
                    <a:pt x="23" y="84"/>
                  </a:cubicBezTo>
                  <a:cubicBezTo>
                    <a:pt x="22" y="79"/>
                    <a:pt x="19" y="74"/>
                    <a:pt x="15" y="71"/>
                  </a:cubicBezTo>
                  <a:cubicBezTo>
                    <a:pt x="0" y="60"/>
                    <a:pt x="0" y="60"/>
                    <a:pt x="0" y="60"/>
                  </a:cubicBezTo>
                  <a:lnTo>
                    <a:pt x="31" y="63"/>
                  </a:lnTo>
                  <a:close/>
                </a:path>
              </a:pathLst>
            </a:custGeom>
            <a:solidFill>
              <a:srgbClr val="E6C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9" name="Freeform 95"/>
            <p:cNvSpPr>
              <a:spLocks/>
            </p:cNvSpPr>
            <p:nvPr userDrawn="1"/>
          </p:nvSpPr>
          <p:spPr bwMode="auto">
            <a:xfrm>
              <a:off x="8094664" y="2735898"/>
              <a:ext cx="92075" cy="42863"/>
            </a:xfrm>
            <a:custGeom>
              <a:avLst/>
              <a:gdLst>
                <a:gd name="T0" fmla="*/ 0 w 62"/>
                <a:gd name="T1" fmla="*/ 0 h 29"/>
                <a:gd name="T2" fmla="*/ 29 w 62"/>
                <a:gd name="T3" fmla="*/ 28 h 29"/>
                <a:gd name="T4" fmla="*/ 62 w 62"/>
                <a:gd name="T5" fmla="*/ 6 h 29"/>
                <a:gd name="T6" fmla="*/ 0 w 62"/>
                <a:gd name="T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" h="29">
                  <a:moveTo>
                    <a:pt x="0" y="0"/>
                  </a:moveTo>
                  <a:cubicBezTo>
                    <a:pt x="5" y="16"/>
                    <a:pt x="15" y="26"/>
                    <a:pt x="29" y="28"/>
                  </a:cubicBezTo>
                  <a:cubicBezTo>
                    <a:pt x="42" y="29"/>
                    <a:pt x="55" y="20"/>
                    <a:pt x="62" y="6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E4D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0" name="Freeform 96"/>
            <p:cNvSpPr>
              <a:spLocks/>
            </p:cNvSpPr>
            <p:nvPr userDrawn="1"/>
          </p:nvSpPr>
          <p:spPr bwMode="auto">
            <a:xfrm>
              <a:off x="8094664" y="2735898"/>
              <a:ext cx="92075" cy="34925"/>
            </a:xfrm>
            <a:custGeom>
              <a:avLst/>
              <a:gdLst>
                <a:gd name="T0" fmla="*/ 0 w 62"/>
                <a:gd name="T1" fmla="*/ 0 h 23"/>
                <a:gd name="T2" fmla="*/ 29 w 62"/>
                <a:gd name="T3" fmla="*/ 22 h 23"/>
                <a:gd name="T4" fmla="*/ 62 w 62"/>
                <a:gd name="T5" fmla="*/ 6 h 23"/>
                <a:gd name="T6" fmla="*/ 0 w 62"/>
                <a:gd name="T7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2" h="23">
                  <a:moveTo>
                    <a:pt x="0" y="0"/>
                  </a:moveTo>
                  <a:cubicBezTo>
                    <a:pt x="5" y="16"/>
                    <a:pt x="16" y="21"/>
                    <a:pt x="29" y="22"/>
                  </a:cubicBezTo>
                  <a:cubicBezTo>
                    <a:pt x="43" y="23"/>
                    <a:pt x="55" y="20"/>
                    <a:pt x="62" y="6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1" name="Freeform 97"/>
            <p:cNvSpPr>
              <a:spLocks/>
            </p:cNvSpPr>
            <p:nvPr userDrawn="1"/>
          </p:nvSpPr>
          <p:spPr bwMode="auto">
            <a:xfrm>
              <a:off x="8074027" y="2637473"/>
              <a:ext cx="26988" cy="23813"/>
            </a:xfrm>
            <a:custGeom>
              <a:avLst/>
              <a:gdLst>
                <a:gd name="T0" fmla="*/ 17 w 18"/>
                <a:gd name="T1" fmla="*/ 10 h 16"/>
                <a:gd name="T2" fmla="*/ 10 w 18"/>
                <a:gd name="T3" fmla="*/ 1 h 16"/>
                <a:gd name="T4" fmla="*/ 0 w 18"/>
                <a:gd name="T5" fmla="*/ 8 h 16"/>
                <a:gd name="T6" fmla="*/ 2 w 18"/>
                <a:gd name="T7" fmla="*/ 15 h 16"/>
                <a:gd name="T8" fmla="*/ 14 w 18"/>
                <a:gd name="T9" fmla="*/ 16 h 16"/>
                <a:gd name="T10" fmla="*/ 17 w 18"/>
                <a:gd name="T11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6">
                  <a:moveTo>
                    <a:pt x="17" y="10"/>
                  </a:moveTo>
                  <a:cubicBezTo>
                    <a:pt x="18" y="5"/>
                    <a:pt x="14" y="1"/>
                    <a:pt x="10" y="1"/>
                  </a:cubicBezTo>
                  <a:cubicBezTo>
                    <a:pt x="5" y="0"/>
                    <a:pt x="1" y="4"/>
                    <a:pt x="0" y="8"/>
                  </a:cubicBezTo>
                  <a:cubicBezTo>
                    <a:pt x="0" y="11"/>
                    <a:pt x="1" y="13"/>
                    <a:pt x="2" y="15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6" y="15"/>
                    <a:pt x="17" y="13"/>
                    <a:pt x="17" y="1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2" name="Freeform 98"/>
            <p:cNvSpPr>
              <a:spLocks/>
            </p:cNvSpPr>
            <p:nvPr userDrawn="1"/>
          </p:nvSpPr>
          <p:spPr bwMode="auto">
            <a:xfrm>
              <a:off x="8199439" y="2648585"/>
              <a:ext cx="26988" cy="23813"/>
            </a:xfrm>
            <a:custGeom>
              <a:avLst/>
              <a:gdLst>
                <a:gd name="T0" fmla="*/ 18 w 18"/>
                <a:gd name="T1" fmla="*/ 10 h 16"/>
                <a:gd name="T2" fmla="*/ 10 w 18"/>
                <a:gd name="T3" fmla="*/ 0 h 16"/>
                <a:gd name="T4" fmla="*/ 1 w 18"/>
                <a:gd name="T5" fmla="*/ 8 h 16"/>
                <a:gd name="T6" fmla="*/ 3 w 18"/>
                <a:gd name="T7" fmla="*/ 15 h 16"/>
                <a:gd name="T8" fmla="*/ 14 w 18"/>
                <a:gd name="T9" fmla="*/ 16 h 16"/>
                <a:gd name="T10" fmla="*/ 18 w 18"/>
                <a:gd name="T11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6">
                  <a:moveTo>
                    <a:pt x="18" y="10"/>
                  </a:moveTo>
                  <a:cubicBezTo>
                    <a:pt x="18" y="5"/>
                    <a:pt x="15" y="1"/>
                    <a:pt x="10" y="0"/>
                  </a:cubicBezTo>
                  <a:cubicBezTo>
                    <a:pt x="5" y="0"/>
                    <a:pt x="1" y="4"/>
                    <a:pt x="1" y="8"/>
                  </a:cubicBezTo>
                  <a:cubicBezTo>
                    <a:pt x="0" y="11"/>
                    <a:pt x="1" y="13"/>
                    <a:pt x="3" y="15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6" y="15"/>
                    <a:pt x="17" y="12"/>
                    <a:pt x="18" y="1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3" name="Freeform 99"/>
            <p:cNvSpPr>
              <a:spLocks/>
            </p:cNvSpPr>
            <p:nvPr userDrawn="1"/>
          </p:nvSpPr>
          <p:spPr bwMode="auto">
            <a:xfrm>
              <a:off x="7961314" y="2591435"/>
              <a:ext cx="25400" cy="73025"/>
            </a:xfrm>
            <a:custGeom>
              <a:avLst/>
              <a:gdLst>
                <a:gd name="T0" fmla="*/ 17 w 17"/>
                <a:gd name="T1" fmla="*/ 0 h 49"/>
                <a:gd name="T2" fmla="*/ 1 w 17"/>
                <a:gd name="T3" fmla="*/ 23 h 49"/>
                <a:gd name="T4" fmla="*/ 13 w 17"/>
                <a:gd name="T5" fmla="*/ 49 h 49"/>
                <a:gd name="T6" fmla="*/ 17 w 17"/>
                <a:gd name="T7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49">
                  <a:moveTo>
                    <a:pt x="17" y="0"/>
                  </a:moveTo>
                  <a:cubicBezTo>
                    <a:pt x="8" y="4"/>
                    <a:pt x="2" y="13"/>
                    <a:pt x="1" y="23"/>
                  </a:cubicBezTo>
                  <a:cubicBezTo>
                    <a:pt x="0" y="34"/>
                    <a:pt x="5" y="43"/>
                    <a:pt x="13" y="49"/>
                  </a:cubicBezTo>
                  <a:lnTo>
                    <a:pt x="17" y="0"/>
                  </a:lnTo>
                  <a:close/>
                </a:path>
              </a:pathLst>
            </a:custGeom>
            <a:solidFill>
              <a:srgbClr val="F7D7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4" name="Freeform 100"/>
            <p:cNvSpPr>
              <a:spLocks/>
            </p:cNvSpPr>
            <p:nvPr userDrawn="1"/>
          </p:nvSpPr>
          <p:spPr bwMode="auto">
            <a:xfrm>
              <a:off x="7959727" y="2645410"/>
              <a:ext cx="22225" cy="23813"/>
            </a:xfrm>
            <a:custGeom>
              <a:avLst/>
              <a:gdLst>
                <a:gd name="T0" fmla="*/ 0 w 15"/>
                <a:gd name="T1" fmla="*/ 8 h 17"/>
                <a:gd name="T2" fmla="*/ 8 w 15"/>
                <a:gd name="T3" fmla="*/ 17 h 17"/>
                <a:gd name="T4" fmla="*/ 14 w 15"/>
                <a:gd name="T5" fmla="*/ 15 h 17"/>
                <a:gd name="T6" fmla="*/ 15 w 15"/>
                <a:gd name="T7" fmla="*/ 3 h 17"/>
                <a:gd name="T8" fmla="*/ 9 w 15"/>
                <a:gd name="T9" fmla="*/ 0 h 17"/>
                <a:gd name="T10" fmla="*/ 3 w 15"/>
                <a:gd name="T11" fmla="*/ 2 h 17"/>
                <a:gd name="T12" fmla="*/ 0 w 15"/>
                <a:gd name="T13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17">
                  <a:moveTo>
                    <a:pt x="0" y="8"/>
                  </a:moveTo>
                  <a:cubicBezTo>
                    <a:pt x="0" y="12"/>
                    <a:pt x="3" y="17"/>
                    <a:pt x="8" y="17"/>
                  </a:cubicBezTo>
                  <a:cubicBezTo>
                    <a:pt x="10" y="17"/>
                    <a:pt x="12" y="17"/>
                    <a:pt x="14" y="15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3" y="1"/>
                    <a:pt x="12" y="0"/>
                    <a:pt x="9" y="0"/>
                  </a:cubicBezTo>
                  <a:cubicBezTo>
                    <a:pt x="7" y="0"/>
                    <a:pt x="5" y="0"/>
                    <a:pt x="3" y="2"/>
                  </a:cubicBezTo>
                  <a:cubicBezTo>
                    <a:pt x="2" y="3"/>
                    <a:pt x="0" y="5"/>
                    <a:pt x="0" y="8"/>
                  </a:cubicBezTo>
                  <a:close/>
                </a:path>
              </a:pathLst>
            </a:custGeom>
            <a:solidFill>
              <a:srgbClr val="EE4D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5" name="Freeform 101"/>
            <p:cNvSpPr>
              <a:spLocks/>
            </p:cNvSpPr>
            <p:nvPr userDrawn="1"/>
          </p:nvSpPr>
          <p:spPr bwMode="auto">
            <a:xfrm>
              <a:off x="8013702" y="2529523"/>
              <a:ext cx="249238" cy="92075"/>
            </a:xfrm>
            <a:custGeom>
              <a:avLst/>
              <a:gdLst>
                <a:gd name="T0" fmla="*/ 1 w 157"/>
                <a:gd name="T1" fmla="*/ 48 h 58"/>
                <a:gd name="T2" fmla="*/ 91 w 157"/>
                <a:gd name="T3" fmla="*/ 54 h 58"/>
                <a:gd name="T4" fmla="*/ 111 w 157"/>
                <a:gd name="T5" fmla="*/ 35 h 58"/>
                <a:gd name="T6" fmla="*/ 110 w 157"/>
                <a:gd name="T7" fmla="*/ 55 h 58"/>
                <a:gd name="T8" fmla="*/ 157 w 157"/>
                <a:gd name="T9" fmla="*/ 58 h 58"/>
                <a:gd name="T10" fmla="*/ 155 w 157"/>
                <a:gd name="T11" fmla="*/ 13 h 58"/>
                <a:gd name="T12" fmla="*/ 0 w 157"/>
                <a:gd name="T13" fmla="*/ 0 h 58"/>
                <a:gd name="T14" fmla="*/ 1 w 157"/>
                <a:gd name="T15" fmla="*/ 4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7" h="58">
                  <a:moveTo>
                    <a:pt x="1" y="48"/>
                  </a:moveTo>
                  <a:lnTo>
                    <a:pt x="91" y="54"/>
                  </a:lnTo>
                  <a:lnTo>
                    <a:pt x="111" y="35"/>
                  </a:lnTo>
                  <a:lnTo>
                    <a:pt x="110" y="55"/>
                  </a:lnTo>
                  <a:lnTo>
                    <a:pt x="157" y="58"/>
                  </a:lnTo>
                  <a:lnTo>
                    <a:pt x="155" y="13"/>
                  </a:lnTo>
                  <a:lnTo>
                    <a:pt x="0" y="0"/>
                  </a:lnTo>
                  <a:lnTo>
                    <a:pt x="1" y="48"/>
                  </a:ln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6" name="Freeform 102"/>
            <p:cNvSpPr>
              <a:spLocks/>
            </p:cNvSpPr>
            <p:nvPr userDrawn="1"/>
          </p:nvSpPr>
          <p:spPr bwMode="auto">
            <a:xfrm>
              <a:off x="8332789" y="292481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582C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7" name="Freeform 103"/>
            <p:cNvSpPr>
              <a:spLocks/>
            </p:cNvSpPr>
            <p:nvPr userDrawn="1"/>
          </p:nvSpPr>
          <p:spPr bwMode="auto">
            <a:xfrm>
              <a:off x="8353427" y="3104198"/>
              <a:ext cx="4763" cy="58738"/>
            </a:xfrm>
            <a:custGeom>
              <a:avLst/>
              <a:gdLst>
                <a:gd name="T0" fmla="*/ 0 w 4"/>
                <a:gd name="T1" fmla="*/ 0 h 40"/>
                <a:gd name="T2" fmla="*/ 4 w 4"/>
                <a:gd name="T3" fmla="*/ 34 h 40"/>
                <a:gd name="T4" fmla="*/ 4 w 4"/>
                <a:gd name="T5" fmla="*/ 40 h 40"/>
                <a:gd name="T6" fmla="*/ 4 w 4"/>
                <a:gd name="T7" fmla="*/ 34 h 40"/>
                <a:gd name="T8" fmla="*/ 0 w 4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0">
                  <a:moveTo>
                    <a:pt x="0" y="0"/>
                  </a:moveTo>
                  <a:cubicBezTo>
                    <a:pt x="4" y="34"/>
                    <a:pt x="4" y="34"/>
                    <a:pt x="4" y="34"/>
                  </a:cubicBezTo>
                  <a:cubicBezTo>
                    <a:pt x="4" y="36"/>
                    <a:pt x="4" y="38"/>
                    <a:pt x="4" y="40"/>
                  </a:cubicBezTo>
                  <a:cubicBezTo>
                    <a:pt x="4" y="38"/>
                    <a:pt x="4" y="36"/>
                    <a:pt x="4" y="34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582C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8" name="Freeform 104"/>
            <p:cNvSpPr>
              <a:spLocks/>
            </p:cNvSpPr>
            <p:nvPr userDrawn="1"/>
          </p:nvSpPr>
          <p:spPr bwMode="auto">
            <a:xfrm>
              <a:off x="8301039" y="2991485"/>
              <a:ext cx="57150" cy="277813"/>
            </a:xfrm>
            <a:custGeom>
              <a:avLst/>
              <a:gdLst>
                <a:gd name="T0" fmla="*/ 26 w 39"/>
                <a:gd name="T1" fmla="*/ 0 h 187"/>
                <a:gd name="T2" fmla="*/ 32 w 39"/>
                <a:gd name="T3" fmla="*/ 51 h 187"/>
                <a:gd name="T4" fmla="*/ 32 w 39"/>
                <a:gd name="T5" fmla="*/ 54 h 187"/>
                <a:gd name="T6" fmla="*/ 14 w 39"/>
                <a:gd name="T7" fmla="*/ 54 h 187"/>
                <a:gd name="T8" fmla="*/ 20 w 39"/>
                <a:gd name="T9" fmla="*/ 112 h 187"/>
                <a:gd name="T10" fmla="*/ 18 w 39"/>
                <a:gd name="T11" fmla="*/ 124 h 187"/>
                <a:gd name="T12" fmla="*/ 0 w 39"/>
                <a:gd name="T13" fmla="*/ 187 h 187"/>
                <a:gd name="T14" fmla="*/ 24 w 39"/>
                <a:gd name="T15" fmla="*/ 172 h 187"/>
                <a:gd name="T16" fmla="*/ 37 w 39"/>
                <a:gd name="T17" fmla="*/ 132 h 187"/>
                <a:gd name="T18" fmla="*/ 39 w 39"/>
                <a:gd name="T19" fmla="*/ 116 h 187"/>
                <a:gd name="T20" fmla="*/ 39 w 39"/>
                <a:gd name="T21" fmla="*/ 110 h 187"/>
                <a:gd name="T22" fmla="*/ 35 w 39"/>
                <a:gd name="T23" fmla="*/ 76 h 187"/>
                <a:gd name="T24" fmla="*/ 26 w 39"/>
                <a:gd name="T25" fmla="*/ 0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187">
                  <a:moveTo>
                    <a:pt x="26" y="0"/>
                  </a:moveTo>
                  <a:cubicBezTo>
                    <a:pt x="32" y="51"/>
                    <a:pt x="32" y="51"/>
                    <a:pt x="32" y="51"/>
                  </a:cubicBezTo>
                  <a:cubicBezTo>
                    <a:pt x="32" y="54"/>
                    <a:pt x="32" y="54"/>
                    <a:pt x="32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20" y="112"/>
                    <a:pt x="20" y="112"/>
                    <a:pt x="20" y="112"/>
                  </a:cubicBezTo>
                  <a:cubicBezTo>
                    <a:pt x="20" y="116"/>
                    <a:pt x="20" y="120"/>
                    <a:pt x="18" y="124"/>
                  </a:cubicBezTo>
                  <a:cubicBezTo>
                    <a:pt x="0" y="187"/>
                    <a:pt x="0" y="187"/>
                    <a:pt x="0" y="187"/>
                  </a:cubicBezTo>
                  <a:cubicBezTo>
                    <a:pt x="24" y="172"/>
                    <a:pt x="24" y="172"/>
                    <a:pt x="24" y="172"/>
                  </a:cubicBezTo>
                  <a:cubicBezTo>
                    <a:pt x="37" y="132"/>
                    <a:pt x="37" y="132"/>
                    <a:pt x="37" y="132"/>
                  </a:cubicBezTo>
                  <a:cubicBezTo>
                    <a:pt x="38" y="126"/>
                    <a:pt x="39" y="121"/>
                    <a:pt x="39" y="116"/>
                  </a:cubicBezTo>
                  <a:cubicBezTo>
                    <a:pt x="39" y="114"/>
                    <a:pt x="39" y="112"/>
                    <a:pt x="39" y="110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26" y="0"/>
                    <a:pt x="26" y="0"/>
                    <a:pt x="26" y="0"/>
                  </a:cubicBezTo>
                </a:path>
              </a:pathLst>
            </a:custGeom>
            <a:solidFill>
              <a:srgbClr val="E6C9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9" name="Freeform 105"/>
            <p:cNvSpPr>
              <a:spLocks/>
            </p:cNvSpPr>
            <p:nvPr userDrawn="1"/>
          </p:nvSpPr>
          <p:spPr bwMode="auto">
            <a:xfrm>
              <a:off x="8339139" y="2991485"/>
              <a:ext cx="9525" cy="76200"/>
            </a:xfrm>
            <a:custGeom>
              <a:avLst/>
              <a:gdLst>
                <a:gd name="T0" fmla="*/ 0 w 6"/>
                <a:gd name="T1" fmla="*/ 0 h 48"/>
                <a:gd name="T2" fmla="*/ 6 w 6"/>
                <a:gd name="T3" fmla="*/ 48 h 48"/>
                <a:gd name="T4" fmla="*/ 6 w 6"/>
                <a:gd name="T5" fmla="*/ 48 h 48"/>
                <a:gd name="T6" fmla="*/ 0 w 6"/>
                <a:gd name="T7" fmla="*/ 0 h 48"/>
                <a:gd name="T8" fmla="*/ 0 w 6"/>
                <a:gd name="T9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48">
                  <a:moveTo>
                    <a:pt x="0" y="0"/>
                  </a:moveTo>
                  <a:lnTo>
                    <a:pt x="6" y="48"/>
                  </a:lnTo>
                  <a:lnTo>
                    <a:pt x="6" y="4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6C9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0" name="Freeform 106"/>
            <p:cNvSpPr>
              <a:spLocks/>
            </p:cNvSpPr>
            <p:nvPr userDrawn="1"/>
          </p:nvSpPr>
          <p:spPr bwMode="auto">
            <a:xfrm>
              <a:off x="8339139" y="2991485"/>
              <a:ext cx="9525" cy="76200"/>
            </a:xfrm>
            <a:custGeom>
              <a:avLst/>
              <a:gdLst>
                <a:gd name="T0" fmla="*/ 0 w 6"/>
                <a:gd name="T1" fmla="*/ 0 h 48"/>
                <a:gd name="T2" fmla="*/ 6 w 6"/>
                <a:gd name="T3" fmla="*/ 48 h 48"/>
                <a:gd name="T4" fmla="*/ 6 w 6"/>
                <a:gd name="T5" fmla="*/ 48 h 48"/>
                <a:gd name="T6" fmla="*/ 0 w 6"/>
                <a:gd name="T7" fmla="*/ 0 h 48"/>
                <a:gd name="T8" fmla="*/ 0 w 6"/>
                <a:gd name="T9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48">
                  <a:moveTo>
                    <a:pt x="0" y="0"/>
                  </a:moveTo>
                  <a:lnTo>
                    <a:pt x="6" y="48"/>
                  </a:lnTo>
                  <a:lnTo>
                    <a:pt x="6" y="48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1" name="Freeform 107"/>
            <p:cNvSpPr>
              <a:spLocks/>
            </p:cNvSpPr>
            <p:nvPr userDrawn="1"/>
          </p:nvSpPr>
          <p:spPr bwMode="auto">
            <a:xfrm>
              <a:off x="8302627" y="2867660"/>
              <a:ext cx="46038" cy="203200"/>
            </a:xfrm>
            <a:custGeom>
              <a:avLst/>
              <a:gdLst>
                <a:gd name="T0" fmla="*/ 0 w 31"/>
                <a:gd name="T1" fmla="*/ 0 h 138"/>
                <a:gd name="T2" fmla="*/ 13 w 31"/>
                <a:gd name="T3" fmla="*/ 138 h 138"/>
                <a:gd name="T4" fmla="*/ 31 w 31"/>
                <a:gd name="T5" fmla="*/ 138 h 138"/>
                <a:gd name="T6" fmla="*/ 31 w 31"/>
                <a:gd name="T7" fmla="*/ 135 h 138"/>
                <a:gd name="T8" fmla="*/ 25 w 31"/>
                <a:gd name="T9" fmla="*/ 84 h 138"/>
                <a:gd name="T10" fmla="*/ 25 w 31"/>
                <a:gd name="T11" fmla="*/ 84 h 138"/>
                <a:gd name="T12" fmla="*/ 21 w 31"/>
                <a:gd name="T13" fmla="*/ 39 h 138"/>
                <a:gd name="T14" fmla="*/ 21 w 31"/>
                <a:gd name="T15" fmla="*/ 39 h 138"/>
                <a:gd name="T16" fmla="*/ 0 w 31"/>
                <a:gd name="T17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138">
                  <a:moveTo>
                    <a:pt x="0" y="0"/>
                  </a:moveTo>
                  <a:cubicBezTo>
                    <a:pt x="13" y="138"/>
                    <a:pt x="13" y="138"/>
                    <a:pt x="13" y="138"/>
                  </a:cubicBezTo>
                  <a:cubicBezTo>
                    <a:pt x="31" y="138"/>
                    <a:pt x="31" y="138"/>
                    <a:pt x="31" y="138"/>
                  </a:cubicBezTo>
                  <a:cubicBezTo>
                    <a:pt x="31" y="135"/>
                    <a:pt x="31" y="135"/>
                    <a:pt x="31" y="135"/>
                  </a:cubicBezTo>
                  <a:cubicBezTo>
                    <a:pt x="25" y="84"/>
                    <a:pt x="25" y="84"/>
                    <a:pt x="25" y="84"/>
                  </a:cubicBezTo>
                  <a:cubicBezTo>
                    <a:pt x="25" y="84"/>
                    <a:pt x="25" y="84"/>
                    <a:pt x="25" y="84"/>
                  </a:cubicBezTo>
                  <a:cubicBezTo>
                    <a:pt x="21" y="39"/>
                    <a:pt x="21" y="39"/>
                    <a:pt x="21" y="39"/>
                  </a:cubicBezTo>
                  <a:cubicBezTo>
                    <a:pt x="21" y="39"/>
                    <a:pt x="21" y="39"/>
                    <a:pt x="21" y="39"/>
                  </a:cubicBezTo>
                  <a:cubicBezTo>
                    <a:pt x="18" y="23"/>
                    <a:pt x="11" y="10"/>
                    <a:pt x="0" y="0"/>
                  </a:cubicBezTo>
                </a:path>
              </a:pathLst>
            </a:custGeom>
            <a:solidFill>
              <a:srgbClr val="EEE0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2" name="Freeform 108"/>
            <p:cNvSpPr>
              <a:spLocks/>
            </p:cNvSpPr>
            <p:nvPr userDrawn="1"/>
          </p:nvSpPr>
          <p:spPr bwMode="auto">
            <a:xfrm>
              <a:off x="7881939" y="3918585"/>
              <a:ext cx="458788" cy="196850"/>
            </a:xfrm>
            <a:custGeom>
              <a:avLst/>
              <a:gdLst>
                <a:gd name="T0" fmla="*/ 308 w 308"/>
                <a:gd name="T1" fmla="*/ 132 h 132"/>
                <a:gd name="T2" fmla="*/ 297 w 308"/>
                <a:gd name="T3" fmla="*/ 54 h 132"/>
                <a:gd name="T4" fmla="*/ 234 w 308"/>
                <a:gd name="T5" fmla="*/ 0 h 132"/>
                <a:gd name="T6" fmla="*/ 73 w 308"/>
                <a:gd name="T7" fmla="*/ 0 h 132"/>
                <a:gd name="T8" fmla="*/ 11 w 308"/>
                <a:gd name="T9" fmla="*/ 54 h 132"/>
                <a:gd name="T10" fmla="*/ 0 w 308"/>
                <a:gd name="T11" fmla="*/ 132 h 132"/>
                <a:gd name="T12" fmla="*/ 308 w 308"/>
                <a:gd name="T13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8" h="132">
                  <a:moveTo>
                    <a:pt x="308" y="132"/>
                  </a:moveTo>
                  <a:cubicBezTo>
                    <a:pt x="297" y="54"/>
                    <a:pt x="297" y="54"/>
                    <a:pt x="297" y="54"/>
                  </a:cubicBezTo>
                  <a:cubicBezTo>
                    <a:pt x="292" y="23"/>
                    <a:pt x="266" y="0"/>
                    <a:pt x="234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42" y="0"/>
                    <a:pt x="16" y="23"/>
                    <a:pt x="11" y="54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308" y="132"/>
                    <a:pt x="308" y="132"/>
                    <a:pt x="308" y="132"/>
                  </a:cubicBezTo>
                </a:path>
              </a:pathLst>
            </a:custGeom>
            <a:solidFill>
              <a:srgbClr val="7A45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3" name="Freeform 109"/>
            <p:cNvSpPr>
              <a:spLocks/>
            </p:cNvSpPr>
            <p:nvPr userDrawn="1"/>
          </p:nvSpPr>
          <p:spPr bwMode="auto">
            <a:xfrm>
              <a:off x="7864477" y="3912235"/>
              <a:ext cx="498475" cy="292100"/>
            </a:xfrm>
            <a:custGeom>
              <a:avLst/>
              <a:gdLst>
                <a:gd name="T0" fmla="*/ 335 w 335"/>
                <a:gd name="T1" fmla="*/ 197 h 197"/>
                <a:gd name="T2" fmla="*/ 319 w 335"/>
                <a:gd name="T3" fmla="*/ 58 h 197"/>
                <a:gd name="T4" fmla="*/ 252 w 335"/>
                <a:gd name="T5" fmla="*/ 0 h 197"/>
                <a:gd name="T6" fmla="*/ 80 w 335"/>
                <a:gd name="T7" fmla="*/ 0 h 197"/>
                <a:gd name="T8" fmla="*/ 13 w 335"/>
                <a:gd name="T9" fmla="*/ 58 h 197"/>
                <a:gd name="T10" fmla="*/ 0 w 335"/>
                <a:gd name="T11" fmla="*/ 197 h 197"/>
                <a:gd name="T12" fmla="*/ 335 w 335"/>
                <a:gd name="T13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5" h="197">
                  <a:moveTo>
                    <a:pt x="335" y="197"/>
                  </a:moveTo>
                  <a:cubicBezTo>
                    <a:pt x="319" y="58"/>
                    <a:pt x="319" y="58"/>
                    <a:pt x="319" y="58"/>
                  </a:cubicBezTo>
                  <a:cubicBezTo>
                    <a:pt x="314" y="24"/>
                    <a:pt x="286" y="0"/>
                    <a:pt x="252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46" y="0"/>
                    <a:pt x="18" y="24"/>
                    <a:pt x="13" y="58"/>
                  </a:cubicBezTo>
                  <a:cubicBezTo>
                    <a:pt x="0" y="197"/>
                    <a:pt x="0" y="197"/>
                    <a:pt x="0" y="197"/>
                  </a:cubicBezTo>
                  <a:cubicBezTo>
                    <a:pt x="335" y="197"/>
                    <a:pt x="335" y="197"/>
                    <a:pt x="335" y="19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4" name="Freeform 110"/>
            <p:cNvSpPr>
              <a:spLocks/>
            </p:cNvSpPr>
            <p:nvPr userDrawn="1"/>
          </p:nvSpPr>
          <p:spPr bwMode="auto">
            <a:xfrm>
              <a:off x="8027989" y="3842385"/>
              <a:ext cx="166688" cy="157163"/>
            </a:xfrm>
            <a:custGeom>
              <a:avLst/>
              <a:gdLst>
                <a:gd name="T0" fmla="*/ 112 w 112"/>
                <a:gd name="T1" fmla="*/ 0 h 106"/>
                <a:gd name="T2" fmla="*/ 0 w 112"/>
                <a:gd name="T3" fmla="*/ 0 h 106"/>
                <a:gd name="T4" fmla="*/ 0 w 112"/>
                <a:gd name="T5" fmla="*/ 51 h 106"/>
                <a:gd name="T6" fmla="*/ 55 w 112"/>
                <a:gd name="T7" fmla="*/ 106 h 106"/>
                <a:gd name="T8" fmla="*/ 56 w 112"/>
                <a:gd name="T9" fmla="*/ 106 h 106"/>
                <a:gd name="T10" fmla="*/ 112 w 112"/>
                <a:gd name="T11" fmla="*/ 51 h 106"/>
                <a:gd name="T12" fmla="*/ 112 w 112"/>
                <a:gd name="T13" fmla="*/ 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2" h="106">
                  <a:moveTo>
                    <a:pt x="11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81"/>
                    <a:pt x="25" y="106"/>
                    <a:pt x="55" y="106"/>
                  </a:cubicBezTo>
                  <a:cubicBezTo>
                    <a:pt x="56" y="106"/>
                    <a:pt x="56" y="106"/>
                    <a:pt x="56" y="106"/>
                  </a:cubicBezTo>
                  <a:cubicBezTo>
                    <a:pt x="87" y="106"/>
                    <a:pt x="112" y="81"/>
                    <a:pt x="112" y="51"/>
                  </a:cubicBezTo>
                  <a:lnTo>
                    <a:pt x="112" y="0"/>
                  </a:lnTo>
                  <a:close/>
                </a:path>
              </a:pathLst>
            </a:custGeom>
            <a:solidFill>
              <a:srgbClr val="A067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5" name="Freeform 111"/>
            <p:cNvSpPr>
              <a:spLocks/>
            </p:cNvSpPr>
            <p:nvPr userDrawn="1"/>
          </p:nvSpPr>
          <p:spPr bwMode="auto">
            <a:xfrm>
              <a:off x="8110539" y="3890010"/>
              <a:ext cx="84138" cy="88900"/>
            </a:xfrm>
            <a:custGeom>
              <a:avLst/>
              <a:gdLst>
                <a:gd name="T0" fmla="*/ 27 w 56"/>
                <a:gd name="T1" fmla="*/ 14 h 60"/>
                <a:gd name="T2" fmla="*/ 14 w 56"/>
                <a:gd name="T3" fmla="*/ 18 h 60"/>
                <a:gd name="T4" fmla="*/ 0 w 56"/>
                <a:gd name="T5" fmla="*/ 15 h 60"/>
                <a:gd name="T6" fmla="*/ 0 w 56"/>
                <a:gd name="T7" fmla="*/ 22 h 60"/>
                <a:gd name="T8" fmla="*/ 38 w 56"/>
                <a:gd name="T9" fmla="*/ 60 h 60"/>
                <a:gd name="T10" fmla="*/ 56 w 56"/>
                <a:gd name="T11" fmla="*/ 19 h 60"/>
                <a:gd name="T12" fmla="*/ 56 w 56"/>
                <a:gd name="T13" fmla="*/ 0 h 60"/>
                <a:gd name="T14" fmla="*/ 56 w 56"/>
                <a:gd name="T15" fmla="*/ 0 h 60"/>
                <a:gd name="T16" fmla="*/ 27 w 56"/>
                <a:gd name="T17" fmla="*/ 14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60">
                  <a:moveTo>
                    <a:pt x="27" y="14"/>
                  </a:moveTo>
                  <a:cubicBezTo>
                    <a:pt x="14" y="18"/>
                    <a:pt x="14" y="18"/>
                    <a:pt x="14" y="18"/>
                  </a:cubicBezTo>
                  <a:cubicBezTo>
                    <a:pt x="5" y="21"/>
                    <a:pt x="0" y="15"/>
                    <a:pt x="0" y="15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6" y="42"/>
                    <a:pt x="24" y="53"/>
                    <a:pt x="38" y="60"/>
                  </a:cubicBezTo>
                  <a:cubicBezTo>
                    <a:pt x="49" y="50"/>
                    <a:pt x="56" y="35"/>
                    <a:pt x="56" y="19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47" y="6"/>
                    <a:pt x="38" y="11"/>
                    <a:pt x="27" y="14"/>
                  </a:cubicBezTo>
                  <a:close/>
                </a:path>
              </a:pathLst>
            </a:custGeom>
            <a:solidFill>
              <a:srgbClr val="915E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6" name="Freeform 112"/>
            <p:cNvSpPr>
              <a:spLocks/>
            </p:cNvSpPr>
            <p:nvPr userDrawn="1"/>
          </p:nvSpPr>
          <p:spPr bwMode="auto">
            <a:xfrm>
              <a:off x="7940677" y="3496310"/>
              <a:ext cx="317500" cy="258763"/>
            </a:xfrm>
            <a:custGeom>
              <a:avLst/>
              <a:gdLst>
                <a:gd name="T0" fmla="*/ 101 w 214"/>
                <a:gd name="T1" fmla="*/ 4 h 174"/>
                <a:gd name="T2" fmla="*/ 99 w 214"/>
                <a:gd name="T3" fmla="*/ 4 h 174"/>
                <a:gd name="T4" fmla="*/ 4 w 214"/>
                <a:gd name="T5" fmla="*/ 113 h 174"/>
                <a:gd name="T6" fmla="*/ 8 w 214"/>
                <a:gd name="T7" fmla="*/ 174 h 174"/>
                <a:gd name="T8" fmla="*/ 214 w 214"/>
                <a:gd name="T9" fmla="*/ 160 h 174"/>
                <a:gd name="T10" fmla="*/ 210 w 214"/>
                <a:gd name="T11" fmla="*/ 99 h 174"/>
                <a:gd name="T12" fmla="*/ 101 w 214"/>
                <a:gd name="T13" fmla="*/ 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174">
                  <a:moveTo>
                    <a:pt x="101" y="4"/>
                  </a:moveTo>
                  <a:cubicBezTo>
                    <a:pt x="99" y="4"/>
                    <a:pt x="99" y="4"/>
                    <a:pt x="99" y="4"/>
                  </a:cubicBezTo>
                  <a:cubicBezTo>
                    <a:pt x="42" y="8"/>
                    <a:pt x="0" y="57"/>
                    <a:pt x="4" y="113"/>
                  </a:cubicBezTo>
                  <a:cubicBezTo>
                    <a:pt x="8" y="174"/>
                    <a:pt x="8" y="174"/>
                    <a:pt x="8" y="174"/>
                  </a:cubicBezTo>
                  <a:cubicBezTo>
                    <a:pt x="214" y="160"/>
                    <a:pt x="214" y="160"/>
                    <a:pt x="214" y="160"/>
                  </a:cubicBezTo>
                  <a:cubicBezTo>
                    <a:pt x="210" y="99"/>
                    <a:pt x="210" y="99"/>
                    <a:pt x="210" y="99"/>
                  </a:cubicBezTo>
                  <a:cubicBezTo>
                    <a:pt x="206" y="42"/>
                    <a:pt x="157" y="0"/>
                    <a:pt x="101" y="4"/>
                  </a:cubicBez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7" name="Freeform 113"/>
            <p:cNvSpPr>
              <a:spLocks/>
            </p:cNvSpPr>
            <p:nvPr userDrawn="1"/>
          </p:nvSpPr>
          <p:spPr bwMode="auto">
            <a:xfrm>
              <a:off x="7964489" y="3609023"/>
              <a:ext cx="292100" cy="311150"/>
            </a:xfrm>
            <a:custGeom>
              <a:avLst/>
              <a:gdLst>
                <a:gd name="T0" fmla="*/ 192 w 197"/>
                <a:gd name="T1" fmla="*/ 107 h 210"/>
                <a:gd name="T2" fmla="*/ 130 w 197"/>
                <a:gd name="T3" fmla="*/ 200 h 210"/>
                <a:gd name="T4" fmla="*/ 111 w 197"/>
                <a:gd name="T5" fmla="*/ 210 h 210"/>
                <a:gd name="T6" fmla="*/ 75 w 197"/>
                <a:gd name="T7" fmla="*/ 204 h 210"/>
                <a:gd name="T8" fmla="*/ 6 w 197"/>
                <a:gd name="T9" fmla="*/ 120 h 210"/>
                <a:gd name="T10" fmla="*/ 2 w 197"/>
                <a:gd name="T11" fmla="*/ 52 h 210"/>
                <a:gd name="T12" fmla="*/ 38 w 197"/>
                <a:gd name="T13" fmla="*/ 8 h 210"/>
                <a:gd name="T14" fmla="*/ 146 w 197"/>
                <a:gd name="T15" fmla="*/ 1 h 210"/>
                <a:gd name="T16" fmla="*/ 187 w 197"/>
                <a:gd name="T17" fmla="*/ 40 h 210"/>
                <a:gd name="T18" fmla="*/ 192 w 197"/>
                <a:gd name="T19" fmla="*/ 107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7" h="210">
                  <a:moveTo>
                    <a:pt x="192" y="107"/>
                  </a:moveTo>
                  <a:cubicBezTo>
                    <a:pt x="197" y="148"/>
                    <a:pt x="168" y="186"/>
                    <a:pt x="130" y="200"/>
                  </a:cubicBezTo>
                  <a:cubicBezTo>
                    <a:pt x="111" y="210"/>
                    <a:pt x="111" y="210"/>
                    <a:pt x="111" y="210"/>
                  </a:cubicBezTo>
                  <a:cubicBezTo>
                    <a:pt x="75" y="204"/>
                    <a:pt x="75" y="204"/>
                    <a:pt x="75" y="204"/>
                  </a:cubicBezTo>
                  <a:cubicBezTo>
                    <a:pt x="36" y="195"/>
                    <a:pt x="7" y="160"/>
                    <a:pt x="6" y="120"/>
                  </a:cubicBezTo>
                  <a:cubicBezTo>
                    <a:pt x="2" y="52"/>
                    <a:pt x="2" y="52"/>
                    <a:pt x="2" y="52"/>
                  </a:cubicBezTo>
                  <a:cubicBezTo>
                    <a:pt x="0" y="31"/>
                    <a:pt x="16" y="10"/>
                    <a:pt x="38" y="8"/>
                  </a:cubicBezTo>
                  <a:cubicBezTo>
                    <a:pt x="146" y="1"/>
                    <a:pt x="146" y="1"/>
                    <a:pt x="146" y="1"/>
                  </a:cubicBezTo>
                  <a:cubicBezTo>
                    <a:pt x="167" y="0"/>
                    <a:pt x="186" y="18"/>
                    <a:pt x="187" y="40"/>
                  </a:cubicBezTo>
                  <a:lnTo>
                    <a:pt x="192" y="107"/>
                  </a:lnTo>
                  <a:close/>
                </a:path>
              </a:pathLst>
            </a:custGeom>
            <a:solidFill>
              <a:srgbClr val="A067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8" name="Freeform 114"/>
            <p:cNvSpPr>
              <a:spLocks/>
            </p:cNvSpPr>
            <p:nvPr userDrawn="1"/>
          </p:nvSpPr>
          <p:spPr bwMode="auto">
            <a:xfrm>
              <a:off x="8208964" y="3702685"/>
              <a:ext cx="58738" cy="58738"/>
            </a:xfrm>
            <a:custGeom>
              <a:avLst/>
              <a:gdLst>
                <a:gd name="T0" fmla="*/ 39 w 39"/>
                <a:gd name="T1" fmla="*/ 19 h 40"/>
                <a:gd name="T2" fmla="*/ 18 w 39"/>
                <a:gd name="T3" fmla="*/ 1 h 40"/>
                <a:gd name="T4" fmla="*/ 0 w 39"/>
                <a:gd name="T5" fmla="*/ 21 h 40"/>
                <a:gd name="T6" fmla="*/ 21 w 39"/>
                <a:gd name="T7" fmla="*/ 39 h 40"/>
                <a:gd name="T8" fmla="*/ 39 w 39"/>
                <a:gd name="T9" fmla="*/ 1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40">
                  <a:moveTo>
                    <a:pt x="39" y="19"/>
                  </a:moveTo>
                  <a:cubicBezTo>
                    <a:pt x="38" y="8"/>
                    <a:pt x="29" y="0"/>
                    <a:pt x="18" y="1"/>
                  </a:cubicBezTo>
                  <a:cubicBezTo>
                    <a:pt x="8" y="2"/>
                    <a:pt x="0" y="11"/>
                    <a:pt x="0" y="21"/>
                  </a:cubicBezTo>
                  <a:cubicBezTo>
                    <a:pt x="1" y="32"/>
                    <a:pt x="10" y="40"/>
                    <a:pt x="21" y="39"/>
                  </a:cubicBezTo>
                  <a:cubicBezTo>
                    <a:pt x="31" y="38"/>
                    <a:pt x="39" y="29"/>
                    <a:pt x="39" y="19"/>
                  </a:cubicBezTo>
                  <a:close/>
                </a:path>
              </a:pathLst>
            </a:custGeom>
            <a:solidFill>
              <a:srgbClr val="A067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9" name="Freeform 115"/>
            <p:cNvSpPr>
              <a:spLocks/>
            </p:cNvSpPr>
            <p:nvPr userDrawn="1"/>
          </p:nvSpPr>
          <p:spPr bwMode="auto">
            <a:xfrm>
              <a:off x="8091489" y="3651885"/>
              <a:ext cx="165100" cy="266700"/>
            </a:xfrm>
            <a:custGeom>
              <a:avLst/>
              <a:gdLst>
                <a:gd name="T0" fmla="*/ 106 w 111"/>
                <a:gd name="T1" fmla="*/ 78 h 180"/>
                <a:gd name="T2" fmla="*/ 101 w 111"/>
                <a:gd name="T3" fmla="*/ 17 h 180"/>
                <a:gd name="T4" fmla="*/ 73 w 111"/>
                <a:gd name="T5" fmla="*/ 1 h 180"/>
                <a:gd name="T6" fmla="*/ 44 w 111"/>
                <a:gd name="T7" fmla="*/ 3 h 180"/>
                <a:gd name="T8" fmla="*/ 17 w 111"/>
                <a:gd name="T9" fmla="*/ 34 h 180"/>
                <a:gd name="T10" fmla="*/ 17 w 111"/>
                <a:gd name="T11" fmla="*/ 34 h 180"/>
                <a:gd name="T12" fmla="*/ 17 w 111"/>
                <a:gd name="T13" fmla="*/ 34 h 180"/>
                <a:gd name="T14" fmla="*/ 21 w 111"/>
                <a:gd name="T15" fmla="*/ 51 h 180"/>
                <a:gd name="T16" fmla="*/ 31 w 111"/>
                <a:gd name="T17" fmla="*/ 70 h 180"/>
                <a:gd name="T18" fmla="*/ 27 w 111"/>
                <a:gd name="T19" fmla="*/ 77 h 180"/>
                <a:gd name="T20" fmla="*/ 20 w 111"/>
                <a:gd name="T21" fmla="*/ 77 h 180"/>
                <a:gd name="T22" fmla="*/ 2 w 111"/>
                <a:gd name="T23" fmla="*/ 79 h 180"/>
                <a:gd name="T24" fmla="*/ 0 w 111"/>
                <a:gd name="T25" fmla="*/ 79 h 180"/>
                <a:gd name="T26" fmla="*/ 2 w 111"/>
                <a:gd name="T27" fmla="*/ 80 h 180"/>
                <a:gd name="T28" fmla="*/ 12 w 111"/>
                <a:gd name="T29" fmla="*/ 84 h 180"/>
                <a:gd name="T30" fmla="*/ 38 w 111"/>
                <a:gd name="T31" fmla="*/ 151 h 180"/>
                <a:gd name="T32" fmla="*/ 25 w 111"/>
                <a:gd name="T33" fmla="*/ 147 h 180"/>
                <a:gd name="T34" fmla="*/ 10 w 111"/>
                <a:gd name="T35" fmla="*/ 158 h 180"/>
                <a:gd name="T36" fmla="*/ 25 w 111"/>
                <a:gd name="T37" fmla="*/ 153 h 180"/>
                <a:gd name="T38" fmla="*/ 37 w 111"/>
                <a:gd name="T39" fmla="*/ 154 h 180"/>
                <a:gd name="T40" fmla="*/ 28 w 111"/>
                <a:gd name="T41" fmla="*/ 180 h 180"/>
                <a:gd name="T42" fmla="*/ 51 w 111"/>
                <a:gd name="T43" fmla="*/ 171 h 180"/>
                <a:gd name="T44" fmla="*/ 106 w 111"/>
                <a:gd name="T45" fmla="*/ 78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1" h="180">
                  <a:moveTo>
                    <a:pt x="106" y="78"/>
                  </a:moveTo>
                  <a:cubicBezTo>
                    <a:pt x="101" y="17"/>
                    <a:pt x="101" y="17"/>
                    <a:pt x="101" y="17"/>
                  </a:cubicBezTo>
                  <a:cubicBezTo>
                    <a:pt x="96" y="7"/>
                    <a:pt x="85" y="0"/>
                    <a:pt x="73" y="1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28" y="4"/>
                    <a:pt x="16" y="18"/>
                    <a:pt x="17" y="34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7" y="40"/>
                    <a:pt x="19" y="46"/>
                    <a:pt x="21" y="51"/>
                  </a:cubicBezTo>
                  <a:cubicBezTo>
                    <a:pt x="31" y="70"/>
                    <a:pt x="31" y="70"/>
                    <a:pt x="31" y="70"/>
                  </a:cubicBezTo>
                  <a:cubicBezTo>
                    <a:pt x="33" y="73"/>
                    <a:pt x="31" y="77"/>
                    <a:pt x="27" y="77"/>
                  </a:cubicBezTo>
                  <a:cubicBezTo>
                    <a:pt x="20" y="77"/>
                    <a:pt x="20" y="77"/>
                    <a:pt x="20" y="77"/>
                  </a:cubicBezTo>
                  <a:cubicBezTo>
                    <a:pt x="2" y="79"/>
                    <a:pt x="2" y="79"/>
                    <a:pt x="2" y="79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2" y="80"/>
                    <a:pt x="2" y="80"/>
                    <a:pt x="2" y="80"/>
                  </a:cubicBezTo>
                  <a:cubicBezTo>
                    <a:pt x="5" y="82"/>
                    <a:pt x="9" y="84"/>
                    <a:pt x="12" y="84"/>
                  </a:cubicBezTo>
                  <a:cubicBezTo>
                    <a:pt x="25" y="93"/>
                    <a:pt x="46" y="114"/>
                    <a:pt x="38" y="151"/>
                  </a:cubicBezTo>
                  <a:cubicBezTo>
                    <a:pt x="35" y="148"/>
                    <a:pt x="30" y="146"/>
                    <a:pt x="25" y="147"/>
                  </a:cubicBezTo>
                  <a:cubicBezTo>
                    <a:pt x="16" y="147"/>
                    <a:pt x="10" y="152"/>
                    <a:pt x="10" y="158"/>
                  </a:cubicBezTo>
                  <a:cubicBezTo>
                    <a:pt x="14" y="155"/>
                    <a:pt x="19" y="153"/>
                    <a:pt x="25" y="153"/>
                  </a:cubicBezTo>
                  <a:cubicBezTo>
                    <a:pt x="30" y="152"/>
                    <a:pt x="34" y="153"/>
                    <a:pt x="37" y="154"/>
                  </a:cubicBezTo>
                  <a:cubicBezTo>
                    <a:pt x="35" y="162"/>
                    <a:pt x="32" y="171"/>
                    <a:pt x="28" y="180"/>
                  </a:cubicBezTo>
                  <a:cubicBezTo>
                    <a:pt x="51" y="171"/>
                    <a:pt x="51" y="171"/>
                    <a:pt x="51" y="171"/>
                  </a:cubicBezTo>
                  <a:cubicBezTo>
                    <a:pt x="89" y="157"/>
                    <a:pt x="111" y="119"/>
                    <a:pt x="106" y="78"/>
                  </a:cubicBezTo>
                  <a:close/>
                </a:path>
              </a:pathLst>
            </a:custGeom>
            <a:solidFill>
              <a:srgbClr val="915E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0" name="Freeform 116"/>
            <p:cNvSpPr>
              <a:spLocks/>
            </p:cNvSpPr>
            <p:nvPr userDrawn="1"/>
          </p:nvSpPr>
          <p:spPr bwMode="auto">
            <a:xfrm>
              <a:off x="7940677" y="3721735"/>
              <a:ext cx="60325" cy="58738"/>
            </a:xfrm>
            <a:custGeom>
              <a:avLst/>
              <a:gdLst>
                <a:gd name="T0" fmla="*/ 39 w 40"/>
                <a:gd name="T1" fmla="*/ 18 h 39"/>
                <a:gd name="T2" fmla="*/ 18 w 40"/>
                <a:gd name="T3" fmla="*/ 0 h 39"/>
                <a:gd name="T4" fmla="*/ 0 w 40"/>
                <a:gd name="T5" fmla="*/ 21 h 39"/>
                <a:gd name="T6" fmla="*/ 21 w 40"/>
                <a:gd name="T7" fmla="*/ 39 h 39"/>
                <a:gd name="T8" fmla="*/ 39 w 40"/>
                <a:gd name="T9" fmla="*/ 1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39">
                  <a:moveTo>
                    <a:pt x="39" y="18"/>
                  </a:moveTo>
                  <a:cubicBezTo>
                    <a:pt x="38" y="8"/>
                    <a:pt x="29" y="0"/>
                    <a:pt x="18" y="0"/>
                  </a:cubicBezTo>
                  <a:cubicBezTo>
                    <a:pt x="8" y="1"/>
                    <a:pt x="0" y="10"/>
                    <a:pt x="0" y="21"/>
                  </a:cubicBezTo>
                  <a:cubicBezTo>
                    <a:pt x="1" y="31"/>
                    <a:pt x="10" y="39"/>
                    <a:pt x="21" y="39"/>
                  </a:cubicBezTo>
                  <a:cubicBezTo>
                    <a:pt x="32" y="38"/>
                    <a:pt x="40" y="29"/>
                    <a:pt x="39" y="18"/>
                  </a:cubicBezTo>
                  <a:close/>
                </a:path>
              </a:pathLst>
            </a:custGeom>
            <a:solidFill>
              <a:srgbClr val="A067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1" name="Freeform 117"/>
            <p:cNvSpPr>
              <a:spLocks/>
            </p:cNvSpPr>
            <p:nvPr userDrawn="1"/>
          </p:nvSpPr>
          <p:spPr bwMode="auto">
            <a:xfrm>
              <a:off x="7967664" y="3691573"/>
              <a:ext cx="288925" cy="228600"/>
            </a:xfrm>
            <a:custGeom>
              <a:avLst/>
              <a:gdLst>
                <a:gd name="T0" fmla="*/ 190 w 194"/>
                <a:gd name="T1" fmla="*/ 53 h 155"/>
                <a:gd name="T2" fmla="*/ 186 w 194"/>
                <a:gd name="T3" fmla="*/ 0 h 155"/>
                <a:gd name="T4" fmla="*/ 142 w 194"/>
                <a:gd name="T5" fmla="*/ 81 h 155"/>
                <a:gd name="T6" fmla="*/ 102 w 194"/>
                <a:gd name="T7" fmla="*/ 63 h 155"/>
                <a:gd name="T8" fmla="*/ 101 w 194"/>
                <a:gd name="T9" fmla="*/ 63 h 155"/>
                <a:gd name="T10" fmla="*/ 63 w 194"/>
                <a:gd name="T11" fmla="*/ 86 h 155"/>
                <a:gd name="T12" fmla="*/ 0 w 194"/>
                <a:gd name="T13" fmla="*/ 14 h 155"/>
                <a:gd name="T14" fmla="*/ 3 w 194"/>
                <a:gd name="T15" fmla="*/ 65 h 155"/>
                <a:gd name="T16" fmla="*/ 108 w 194"/>
                <a:gd name="T17" fmla="*/ 155 h 155"/>
                <a:gd name="T18" fmla="*/ 134 w 194"/>
                <a:gd name="T19" fmla="*/ 145 h 155"/>
                <a:gd name="T20" fmla="*/ 190 w 194"/>
                <a:gd name="T21" fmla="*/ 53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4" h="155">
                  <a:moveTo>
                    <a:pt x="190" y="53"/>
                  </a:moveTo>
                  <a:cubicBezTo>
                    <a:pt x="186" y="0"/>
                    <a:pt x="186" y="0"/>
                    <a:pt x="186" y="0"/>
                  </a:cubicBezTo>
                  <a:cubicBezTo>
                    <a:pt x="187" y="34"/>
                    <a:pt x="171" y="65"/>
                    <a:pt x="142" y="81"/>
                  </a:cubicBezTo>
                  <a:cubicBezTo>
                    <a:pt x="133" y="69"/>
                    <a:pt x="118" y="61"/>
                    <a:pt x="102" y="63"/>
                  </a:cubicBezTo>
                  <a:cubicBezTo>
                    <a:pt x="101" y="63"/>
                    <a:pt x="101" y="63"/>
                    <a:pt x="101" y="63"/>
                  </a:cubicBezTo>
                  <a:cubicBezTo>
                    <a:pt x="85" y="64"/>
                    <a:pt x="71" y="73"/>
                    <a:pt x="63" y="86"/>
                  </a:cubicBezTo>
                  <a:cubicBezTo>
                    <a:pt x="33" y="74"/>
                    <a:pt x="4" y="47"/>
                    <a:pt x="0" y="14"/>
                  </a:cubicBezTo>
                  <a:cubicBezTo>
                    <a:pt x="3" y="65"/>
                    <a:pt x="3" y="65"/>
                    <a:pt x="3" y="65"/>
                  </a:cubicBezTo>
                  <a:cubicBezTo>
                    <a:pt x="4" y="154"/>
                    <a:pt x="108" y="155"/>
                    <a:pt x="108" y="155"/>
                  </a:cubicBezTo>
                  <a:cubicBezTo>
                    <a:pt x="134" y="145"/>
                    <a:pt x="134" y="145"/>
                    <a:pt x="134" y="145"/>
                  </a:cubicBezTo>
                  <a:cubicBezTo>
                    <a:pt x="172" y="131"/>
                    <a:pt x="194" y="93"/>
                    <a:pt x="190" y="53"/>
                  </a:cubicBezTo>
                  <a:close/>
                </a:path>
              </a:pathLst>
            </a:custGeom>
            <a:solidFill>
              <a:srgbClr val="002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2" name="Freeform 118"/>
            <p:cNvSpPr>
              <a:spLocks/>
            </p:cNvSpPr>
            <p:nvPr userDrawn="1"/>
          </p:nvSpPr>
          <p:spPr bwMode="auto">
            <a:xfrm>
              <a:off x="8080377" y="3821748"/>
              <a:ext cx="82550" cy="38100"/>
            </a:xfrm>
            <a:custGeom>
              <a:avLst/>
              <a:gdLst>
                <a:gd name="T0" fmla="*/ 0 w 56"/>
                <a:gd name="T1" fmla="*/ 4 h 26"/>
                <a:gd name="T2" fmla="*/ 30 w 56"/>
                <a:gd name="T3" fmla="*/ 25 h 26"/>
                <a:gd name="T4" fmla="*/ 56 w 56"/>
                <a:gd name="T5" fmla="*/ 0 h 26"/>
                <a:gd name="T6" fmla="*/ 0 w 56"/>
                <a:gd name="T7" fmla="*/ 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" h="26">
                  <a:moveTo>
                    <a:pt x="0" y="4"/>
                  </a:moveTo>
                  <a:cubicBezTo>
                    <a:pt x="4" y="17"/>
                    <a:pt x="16" y="26"/>
                    <a:pt x="30" y="25"/>
                  </a:cubicBezTo>
                  <a:cubicBezTo>
                    <a:pt x="44" y="24"/>
                    <a:pt x="55" y="13"/>
                    <a:pt x="56" y="0"/>
                  </a:cubicBezTo>
                  <a:lnTo>
                    <a:pt x="0" y="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3" name="Freeform 119"/>
            <p:cNvSpPr>
              <a:spLocks/>
            </p:cNvSpPr>
            <p:nvPr userDrawn="1"/>
          </p:nvSpPr>
          <p:spPr bwMode="auto">
            <a:xfrm>
              <a:off x="8161339" y="3693160"/>
              <a:ext cx="26988" cy="25400"/>
            </a:xfrm>
            <a:custGeom>
              <a:avLst/>
              <a:gdLst>
                <a:gd name="T0" fmla="*/ 18 w 18"/>
                <a:gd name="T1" fmla="*/ 8 h 18"/>
                <a:gd name="T2" fmla="*/ 9 w 18"/>
                <a:gd name="T3" fmla="*/ 0 h 18"/>
                <a:gd name="T4" fmla="*/ 0 w 18"/>
                <a:gd name="T5" fmla="*/ 9 h 18"/>
                <a:gd name="T6" fmla="*/ 10 w 18"/>
                <a:gd name="T7" fmla="*/ 17 h 18"/>
                <a:gd name="T8" fmla="*/ 18 w 18"/>
                <a:gd name="T9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18" y="8"/>
                  </a:moveTo>
                  <a:cubicBezTo>
                    <a:pt x="18" y="3"/>
                    <a:pt x="13" y="0"/>
                    <a:pt x="9" y="0"/>
                  </a:cubicBezTo>
                  <a:cubicBezTo>
                    <a:pt x="4" y="0"/>
                    <a:pt x="0" y="5"/>
                    <a:pt x="0" y="9"/>
                  </a:cubicBezTo>
                  <a:cubicBezTo>
                    <a:pt x="1" y="14"/>
                    <a:pt x="5" y="18"/>
                    <a:pt x="10" y="17"/>
                  </a:cubicBezTo>
                  <a:cubicBezTo>
                    <a:pt x="15" y="17"/>
                    <a:pt x="18" y="13"/>
                    <a:pt x="18" y="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4" name="Freeform 120"/>
            <p:cNvSpPr>
              <a:spLocks/>
            </p:cNvSpPr>
            <p:nvPr userDrawn="1"/>
          </p:nvSpPr>
          <p:spPr bwMode="auto">
            <a:xfrm>
              <a:off x="8048627" y="3699510"/>
              <a:ext cx="26988" cy="26988"/>
            </a:xfrm>
            <a:custGeom>
              <a:avLst/>
              <a:gdLst>
                <a:gd name="T0" fmla="*/ 18 w 18"/>
                <a:gd name="T1" fmla="*/ 8 h 18"/>
                <a:gd name="T2" fmla="*/ 9 w 18"/>
                <a:gd name="T3" fmla="*/ 0 h 18"/>
                <a:gd name="T4" fmla="*/ 1 w 18"/>
                <a:gd name="T5" fmla="*/ 9 h 18"/>
                <a:gd name="T6" fmla="*/ 10 w 18"/>
                <a:gd name="T7" fmla="*/ 17 h 18"/>
                <a:gd name="T8" fmla="*/ 18 w 18"/>
                <a:gd name="T9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18" y="8"/>
                  </a:moveTo>
                  <a:cubicBezTo>
                    <a:pt x="18" y="3"/>
                    <a:pt x="14" y="0"/>
                    <a:pt x="9" y="0"/>
                  </a:cubicBezTo>
                  <a:cubicBezTo>
                    <a:pt x="4" y="0"/>
                    <a:pt x="0" y="5"/>
                    <a:pt x="1" y="9"/>
                  </a:cubicBezTo>
                  <a:cubicBezTo>
                    <a:pt x="1" y="14"/>
                    <a:pt x="5" y="18"/>
                    <a:pt x="10" y="17"/>
                  </a:cubicBezTo>
                  <a:cubicBezTo>
                    <a:pt x="15" y="17"/>
                    <a:pt x="18" y="13"/>
                    <a:pt x="18" y="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5" name="Freeform 121"/>
            <p:cNvSpPr>
              <a:spLocks/>
            </p:cNvSpPr>
            <p:nvPr userDrawn="1"/>
          </p:nvSpPr>
          <p:spPr bwMode="auto">
            <a:xfrm>
              <a:off x="8283577" y="3934460"/>
              <a:ext cx="268288" cy="390525"/>
            </a:xfrm>
            <a:custGeom>
              <a:avLst/>
              <a:gdLst>
                <a:gd name="T0" fmla="*/ 126 w 180"/>
                <a:gd name="T1" fmla="*/ 9 h 264"/>
                <a:gd name="T2" fmla="*/ 118 w 180"/>
                <a:gd name="T3" fmla="*/ 23 h 264"/>
                <a:gd name="T4" fmla="*/ 103 w 180"/>
                <a:gd name="T5" fmla="*/ 42 h 264"/>
                <a:gd name="T6" fmla="*/ 103 w 180"/>
                <a:gd name="T7" fmla="*/ 16 h 264"/>
                <a:gd name="T8" fmla="*/ 83 w 180"/>
                <a:gd name="T9" fmla="*/ 7 h 264"/>
                <a:gd name="T10" fmla="*/ 82 w 180"/>
                <a:gd name="T11" fmla="*/ 64 h 264"/>
                <a:gd name="T12" fmla="*/ 88 w 180"/>
                <a:gd name="T13" fmla="*/ 75 h 264"/>
                <a:gd name="T14" fmla="*/ 87 w 180"/>
                <a:gd name="T15" fmla="*/ 75 h 264"/>
                <a:gd name="T16" fmla="*/ 0 w 180"/>
                <a:gd name="T17" fmla="*/ 182 h 264"/>
                <a:gd name="T18" fmla="*/ 0 w 180"/>
                <a:gd name="T19" fmla="*/ 263 h 264"/>
                <a:gd name="T20" fmla="*/ 7 w 180"/>
                <a:gd name="T21" fmla="*/ 263 h 264"/>
                <a:gd name="T22" fmla="*/ 12 w 180"/>
                <a:gd name="T23" fmla="*/ 263 h 264"/>
                <a:gd name="T24" fmla="*/ 61 w 180"/>
                <a:gd name="T25" fmla="*/ 238 h 264"/>
                <a:gd name="T26" fmla="*/ 135 w 180"/>
                <a:gd name="T27" fmla="*/ 106 h 264"/>
                <a:gd name="T28" fmla="*/ 165 w 180"/>
                <a:gd name="T29" fmla="*/ 73 h 264"/>
                <a:gd name="T30" fmla="*/ 177 w 180"/>
                <a:gd name="T31" fmla="*/ 53 h 264"/>
                <a:gd name="T32" fmla="*/ 173 w 180"/>
                <a:gd name="T33" fmla="*/ 40 h 264"/>
                <a:gd name="T34" fmla="*/ 168 w 180"/>
                <a:gd name="T35" fmla="*/ 38 h 264"/>
                <a:gd name="T36" fmla="*/ 164 w 180"/>
                <a:gd name="T37" fmla="*/ 26 h 264"/>
                <a:gd name="T38" fmla="*/ 158 w 180"/>
                <a:gd name="T39" fmla="*/ 24 h 264"/>
                <a:gd name="T40" fmla="*/ 158 w 180"/>
                <a:gd name="T41" fmla="*/ 24 h 264"/>
                <a:gd name="T42" fmla="*/ 154 w 180"/>
                <a:gd name="T43" fmla="*/ 10 h 264"/>
                <a:gd name="T44" fmla="*/ 144 w 180"/>
                <a:gd name="T45" fmla="*/ 11 h 264"/>
                <a:gd name="T46" fmla="*/ 140 w 180"/>
                <a:gd name="T47" fmla="*/ 6 h 264"/>
                <a:gd name="T48" fmla="*/ 126 w 180"/>
                <a:gd name="T49" fmla="*/ 9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80" h="264">
                  <a:moveTo>
                    <a:pt x="126" y="9"/>
                  </a:moveTo>
                  <a:cubicBezTo>
                    <a:pt x="118" y="23"/>
                    <a:pt x="118" y="23"/>
                    <a:pt x="118" y="23"/>
                  </a:cubicBezTo>
                  <a:cubicBezTo>
                    <a:pt x="103" y="42"/>
                    <a:pt x="103" y="42"/>
                    <a:pt x="103" y="42"/>
                  </a:cubicBezTo>
                  <a:cubicBezTo>
                    <a:pt x="103" y="16"/>
                    <a:pt x="103" y="16"/>
                    <a:pt x="103" y="16"/>
                  </a:cubicBezTo>
                  <a:cubicBezTo>
                    <a:pt x="103" y="16"/>
                    <a:pt x="96" y="0"/>
                    <a:pt x="83" y="7"/>
                  </a:cubicBezTo>
                  <a:cubicBezTo>
                    <a:pt x="85" y="52"/>
                    <a:pt x="79" y="49"/>
                    <a:pt x="82" y="64"/>
                  </a:cubicBezTo>
                  <a:cubicBezTo>
                    <a:pt x="82" y="66"/>
                    <a:pt x="87" y="74"/>
                    <a:pt x="88" y="75"/>
                  </a:cubicBezTo>
                  <a:cubicBezTo>
                    <a:pt x="87" y="75"/>
                    <a:pt x="87" y="75"/>
                    <a:pt x="87" y="75"/>
                  </a:cubicBezTo>
                  <a:cubicBezTo>
                    <a:pt x="0" y="182"/>
                    <a:pt x="0" y="182"/>
                    <a:pt x="0" y="182"/>
                  </a:cubicBezTo>
                  <a:cubicBezTo>
                    <a:pt x="0" y="263"/>
                    <a:pt x="0" y="263"/>
                    <a:pt x="0" y="263"/>
                  </a:cubicBezTo>
                  <a:cubicBezTo>
                    <a:pt x="0" y="263"/>
                    <a:pt x="4" y="263"/>
                    <a:pt x="7" y="263"/>
                  </a:cubicBezTo>
                  <a:cubicBezTo>
                    <a:pt x="9" y="263"/>
                    <a:pt x="12" y="263"/>
                    <a:pt x="12" y="263"/>
                  </a:cubicBezTo>
                  <a:cubicBezTo>
                    <a:pt x="31" y="264"/>
                    <a:pt x="50" y="255"/>
                    <a:pt x="61" y="238"/>
                  </a:cubicBezTo>
                  <a:cubicBezTo>
                    <a:pt x="135" y="106"/>
                    <a:pt x="135" y="106"/>
                    <a:pt x="135" y="106"/>
                  </a:cubicBezTo>
                  <a:cubicBezTo>
                    <a:pt x="165" y="73"/>
                    <a:pt x="165" y="73"/>
                    <a:pt x="165" y="73"/>
                  </a:cubicBezTo>
                  <a:cubicBezTo>
                    <a:pt x="177" y="53"/>
                    <a:pt x="177" y="53"/>
                    <a:pt x="177" y="53"/>
                  </a:cubicBezTo>
                  <a:cubicBezTo>
                    <a:pt x="180" y="49"/>
                    <a:pt x="178" y="43"/>
                    <a:pt x="173" y="40"/>
                  </a:cubicBezTo>
                  <a:cubicBezTo>
                    <a:pt x="172" y="39"/>
                    <a:pt x="170" y="38"/>
                    <a:pt x="168" y="38"/>
                  </a:cubicBezTo>
                  <a:cubicBezTo>
                    <a:pt x="170" y="34"/>
                    <a:pt x="168" y="28"/>
                    <a:pt x="164" y="26"/>
                  </a:cubicBezTo>
                  <a:cubicBezTo>
                    <a:pt x="162" y="25"/>
                    <a:pt x="160" y="24"/>
                    <a:pt x="158" y="24"/>
                  </a:cubicBezTo>
                  <a:cubicBezTo>
                    <a:pt x="158" y="24"/>
                    <a:pt x="158" y="24"/>
                    <a:pt x="158" y="24"/>
                  </a:cubicBezTo>
                  <a:cubicBezTo>
                    <a:pt x="161" y="19"/>
                    <a:pt x="159" y="13"/>
                    <a:pt x="154" y="10"/>
                  </a:cubicBezTo>
                  <a:cubicBezTo>
                    <a:pt x="151" y="8"/>
                    <a:pt x="147" y="9"/>
                    <a:pt x="144" y="11"/>
                  </a:cubicBezTo>
                  <a:cubicBezTo>
                    <a:pt x="143" y="9"/>
                    <a:pt x="142" y="7"/>
                    <a:pt x="140" y="6"/>
                  </a:cubicBezTo>
                  <a:cubicBezTo>
                    <a:pt x="135" y="3"/>
                    <a:pt x="129" y="5"/>
                    <a:pt x="126" y="9"/>
                  </a:cubicBezTo>
                </a:path>
              </a:pathLst>
            </a:custGeom>
            <a:solidFill>
              <a:srgbClr val="A067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6" name="Freeform 122"/>
            <p:cNvSpPr>
              <a:spLocks/>
            </p:cNvSpPr>
            <p:nvPr userDrawn="1"/>
          </p:nvSpPr>
          <p:spPr bwMode="auto">
            <a:xfrm>
              <a:off x="8283577" y="3934460"/>
              <a:ext cx="250825" cy="301625"/>
            </a:xfrm>
            <a:custGeom>
              <a:avLst/>
              <a:gdLst>
                <a:gd name="T0" fmla="*/ 154 w 168"/>
                <a:gd name="T1" fmla="*/ 50 h 204"/>
                <a:gd name="T2" fmla="*/ 131 w 168"/>
                <a:gd name="T3" fmla="*/ 37 h 204"/>
                <a:gd name="T4" fmla="*/ 107 w 168"/>
                <a:gd name="T5" fmla="*/ 37 h 204"/>
                <a:gd name="T6" fmla="*/ 103 w 168"/>
                <a:gd name="T7" fmla="*/ 42 h 204"/>
                <a:gd name="T8" fmla="*/ 103 w 168"/>
                <a:gd name="T9" fmla="*/ 16 h 204"/>
                <a:gd name="T10" fmla="*/ 83 w 168"/>
                <a:gd name="T11" fmla="*/ 7 h 204"/>
                <a:gd name="T12" fmla="*/ 82 w 168"/>
                <a:gd name="T13" fmla="*/ 64 h 204"/>
                <a:gd name="T14" fmla="*/ 88 w 168"/>
                <a:gd name="T15" fmla="*/ 75 h 204"/>
                <a:gd name="T16" fmla="*/ 87 w 168"/>
                <a:gd name="T17" fmla="*/ 75 h 204"/>
                <a:gd name="T18" fmla="*/ 65 w 168"/>
                <a:gd name="T19" fmla="*/ 102 h 204"/>
                <a:gd name="T20" fmla="*/ 0 w 168"/>
                <a:gd name="T21" fmla="*/ 182 h 204"/>
                <a:gd name="T22" fmla="*/ 0 w 168"/>
                <a:gd name="T23" fmla="*/ 204 h 204"/>
                <a:gd name="T24" fmla="*/ 89 w 168"/>
                <a:gd name="T25" fmla="*/ 95 h 204"/>
                <a:gd name="T26" fmla="*/ 132 w 168"/>
                <a:gd name="T27" fmla="*/ 87 h 204"/>
                <a:gd name="T28" fmla="*/ 159 w 168"/>
                <a:gd name="T29" fmla="*/ 75 h 204"/>
                <a:gd name="T30" fmla="*/ 164 w 168"/>
                <a:gd name="T31" fmla="*/ 67 h 204"/>
                <a:gd name="T32" fmla="*/ 168 w 168"/>
                <a:gd name="T33" fmla="*/ 60 h 204"/>
                <a:gd name="T34" fmla="*/ 154 w 168"/>
                <a:gd name="T35" fmla="*/ 5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8" h="204">
                  <a:moveTo>
                    <a:pt x="154" y="50"/>
                  </a:moveTo>
                  <a:cubicBezTo>
                    <a:pt x="147" y="46"/>
                    <a:pt x="139" y="41"/>
                    <a:pt x="131" y="37"/>
                  </a:cubicBezTo>
                  <a:cubicBezTo>
                    <a:pt x="107" y="37"/>
                    <a:pt x="107" y="37"/>
                    <a:pt x="107" y="37"/>
                  </a:cubicBezTo>
                  <a:cubicBezTo>
                    <a:pt x="103" y="42"/>
                    <a:pt x="103" y="42"/>
                    <a:pt x="103" y="42"/>
                  </a:cubicBezTo>
                  <a:cubicBezTo>
                    <a:pt x="103" y="16"/>
                    <a:pt x="103" y="16"/>
                    <a:pt x="103" y="16"/>
                  </a:cubicBezTo>
                  <a:cubicBezTo>
                    <a:pt x="103" y="16"/>
                    <a:pt x="96" y="0"/>
                    <a:pt x="83" y="7"/>
                  </a:cubicBezTo>
                  <a:cubicBezTo>
                    <a:pt x="85" y="52"/>
                    <a:pt x="79" y="49"/>
                    <a:pt x="82" y="64"/>
                  </a:cubicBezTo>
                  <a:cubicBezTo>
                    <a:pt x="82" y="66"/>
                    <a:pt x="87" y="74"/>
                    <a:pt x="88" y="75"/>
                  </a:cubicBezTo>
                  <a:cubicBezTo>
                    <a:pt x="87" y="75"/>
                    <a:pt x="87" y="75"/>
                    <a:pt x="87" y="75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0" y="182"/>
                    <a:pt x="0" y="182"/>
                    <a:pt x="0" y="182"/>
                  </a:cubicBezTo>
                  <a:cubicBezTo>
                    <a:pt x="0" y="204"/>
                    <a:pt x="0" y="204"/>
                    <a:pt x="0" y="204"/>
                  </a:cubicBezTo>
                  <a:cubicBezTo>
                    <a:pt x="89" y="95"/>
                    <a:pt x="89" y="95"/>
                    <a:pt x="89" y="95"/>
                  </a:cubicBezTo>
                  <a:cubicBezTo>
                    <a:pt x="102" y="90"/>
                    <a:pt x="118" y="90"/>
                    <a:pt x="132" y="87"/>
                  </a:cubicBezTo>
                  <a:cubicBezTo>
                    <a:pt x="142" y="85"/>
                    <a:pt x="152" y="82"/>
                    <a:pt x="159" y="75"/>
                  </a:cubicBezTo>
                  <a:cubicBezTo>
                    <a:pt x="161" y="73"/>
                    <a:pt x="162" y="70"/>
                    <a:pt x="164" y="67"/>
                  </a:cubicBezTo>
                  <a:cubicBezTo>
                    <a:pt x="165" y="65"/>
                    <a:pt x="167" y="62"/>
                    <a:pt x="168" y="60"/>
                  </a:cubicBezTo>
                  <a:cubicBezTo>
                    <a:pt x="163" y="57"/>
                    <a:pt x="158" y="53"/>
                    <a:pt x="154" y="50"/>
                  </a:cubicBezTo>
                </a:path>
              </a:pathLst>
            </a:custGeom>
            <a:solidFill>
              <a:srgbClr val="915E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7" name="Freeform 123"/>
            <p:cNvSpPr>
              <a:spLocks/>
            </p:cNvSpPr>
            <p:nvPr userDrawn="1"/>
          </p:nvSpPr>
          <p:spPr bwMode="auto">
            <a:xfrm>
              <a:off x="8578852" y="4082098"/>
              <a:ext cx="11113" cy="9525"/>
            </a:xfrm>
            <a:custGeom>
              <a:avLst/>
              <a:gdLst>
                <a:gd name="T0" fmla="*/ 4 w 7"/>
                <a:gd name="T1" fmla="*/ 6 h 6"/>
                <a:gd name="T2" fmla="*/ 0 w 7"/>
                <a:gd name="T3" fmla="*/ 3 h 6"/>
                <a:gd name="T4" fmla="*/ 2 w 7"/>
                <a:gd name="T5" fmla="*/ 0 h 6"/>
                <a:gd name="T6" fmla="*/ 6 w 7"/>
                <a:gd name="T7" fmla="*/ 3 h 6"/>
                <a:gd name="T8" fmla="*/ 6 w 7"/>
                <a:gd name="T9" fmla="*/ 5 h 6"/>
                <a:gd name="T10" fmla="*/ 4 w 7"/>
                <a:gd name="T11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6">
                  <a:moveTo>
                    <a:pt x="4" y="6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4"/>
                    <a:pt x="7" y="5"/>
                    <a:pt x="6" y="5"/>
                  </a:cubicBezTo>
                  <a:cubicBezTo>
                    <a:pt x="5" y="6"/>
                    <a:pt x="4" y="6"/>
                    <a:pt x="4" y="6"/>
                  </a:cubicBezTo>
                  <a:close/>
                </a:path>
              </a:pathLst>
            </a:custGeom>
            <a:solidFill>
              <a:srgbClr val="E71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8" name="Freeform 124"/>
            <p:cNvSpPr>
              <a:spLocks/>
            </p:cNvSpPr>
            <p:nvPr userDrawn="1"/>
          </p:nvSpPr>
          <p:spPr bwMode="auto">
            <a:xfrm>
              <a:off x="8377239" y="3937635"/>
              <a:ext cx="184150" cy="144463"/>
            </a:xfrm>
            <a:custGeom>
              <a:avLst/>
              <a:gdLst>
                <a:gd name="T0" fmla="*/ 0 w 116"/>
                <a:gd name="T1" fmla="*/ 4 h 91"/>
                <a:gd name="T2" fmla="*/ 113 w 116"/>
                <a:gd name="T3" fmla="*/ 91 h 91"/>
                <a:gd name="T4" fmla="*/ 116 w 116"/>
                <a:gd name="T5" fmla="*/ 87 h 91"/>
                <a:gd name="T6" fmla="*/ 4 w 116"/>
                <a:gd name="T7" fmla="*/ 0 h 91"/>
                <a:gd name="T8" fmla="*/ 0 w 116"/>
                <a:gd name="T9" fmla="*/ 4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" h="91">
                  <a:moveTo>
                    <a:pt x="0" y="4"/>
                  </a:moveTo>
                  <a:lnTo>
                    <a:pt x="113" y="91"/>
                  </a:lnTo>
                  <a:lnTo>
                    <a:pt x="116" y="87"/>
                  </a:lnTo>
                  <a:lnTo>
                    <a:pt x="4" y="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5C00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29" name="Freeform 125"/>
            <p:cNvSpPr>
              <a:spLocks/>
            </p:cNvSpPr>
            <p:nvPr userDrawn="1"/>
          </p:nvSpPr>
          <p:spPr bwMode="auto">
            <a:xfrm>
              <a:off x="8377239" y="3937635"/>
              <a:ext cx="184150" cy="144463"/>
            </a:xfrm>
            <a:custGeom>
              <a:avLst/>
              <a:gdLst>
                <a:gd name="T0" fmla="*/ 0 w 116"/>
                <a:gd name="T1" fmla="*/ 4 h 91"/>
                <a:gd name="T2" fmla="*/ 113 w 116"/>
                <a:gd name="T3" fmla="*/ 91 h 91"/>
                <a:gd name="T4" fmla="*/ 116 w 116"/>
                <a:gd name="T5" fmla="*/ 87 h 91"/>
                <a:gd name="T6" fmla="*/ 4 w 116"/>
                <a:gd name="T7" fmla="*/ 0 h 91"/>
                <a:gd name="T8" fmla="*/ 0 w 116"/>
                <a:gd name="T9" fmla="*/ 4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" h="91">
                  <a:moveTo>
                    <a:pt x="0" y="4"/>
                  </a:moveTo>
                  <a:lnTo>
                    <a:pt x="113" y="91"/>
                  </a:lnTo>
                  <a:lnTo>
                    <a:pt x="116" y="87"/>
                  </a:lnTo>
                  <a:lnTo>
                    <a:pt x="4" y="0"/>
                  </a:lnTo>
                  <a:lnTo>
                    <a:pt x="0" y="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0" name="Freeform 126"/>
            <p:cNvSpPr>
              <a:spLocks/>
            </p:cNvSpPr>
            <p:nvPr userDrawn="1"/>
          </p:nvSpPr>
          <p:spPr bwMode="auto">
            <a:xfrm>
              <a:off x="8377239" y="3923348"/>
              <a:ext cx="195263" cy="158750"/>
            </a:xfrm>
            <a:custGeom>
              <a:avLst/>
              <a:gdLst>
                <a:gd name="T0" fmla="*/ 11 w 123"/>
                <a:gd name="T1" fmla="*/ 0 h 100"/>
                <a:gd name="T2" fmla="*/ 4 w 123"/>
                <a:gd name="T3" fmla="*/ 9 h 100"/>
                <a:gd name="T4" fmla="*/ 0 w 123"/>
                <a:gd name="T5" fmla="*/ 13 h 100"/>
                <a:gd name="T6" fmla="*/ 113 w 123"/>
                <a:gd name="T7" fmla="*/ 100 h 100"/>
                <a:gd name="T8" fmla="*/ 116 w 123"/>
                <a:gd name="T9" fmla="*/ 96 h 100"/>
                <a:gd name="T10" fmla="*/ 123 w 123"/>
                <a:gd name="T11" fmla="*/ 87 h 100"/>
                <a:gd name="T12" fmla="*/ 11 w 123"/>
                <a:gd name="T13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100">
                  <a:moveTo>
                    <a:pt x="11" y="0"/>
                  </a:moveTo>
                  <a:lnTo>
                    <a:pt x="4" y="9"/>
                  </a:lnTo>
                  <a:lnTo>
                    <a:pt x="0" y="13"/>
                  </a:lnTo>
                  <a:lnTo>
                    <a:pt x="113" y="100"/>
                  </a:lnTo>
                  <a:lnTo>
                    <a:pt x="116" y="96"/>
                  </a:lnTo>
                  <a:lnTo>
                    <a:pt x="123" y="87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5C2D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1" name="Freeform 127"/>
            <p:cNvSpPr>
              <a:spLocks/>
            </p:cNvSpPr>
            <p:nvPr userDrawn="1"/>
          </p:nvSpPr>
          <p:spPr bwMode="auto">
            <a:xfrm>
              <a:off x="8377239" y="3923348"/>
              <a:ext cx="195263" cy="158750"/>
            </a:xfrm>
            <a:custGeom>
              <a:avLst/>
              <a:gdLst>
                <a:gd name="T0" fmla="*/ 11 w 123"/>
                <a:gd name="T1" fmla="*/ 0 h 100"/>
                <a:gd name="T2" fmla="*/ 4 w 123"/>
                <a:gd name="T3" fmla="*/ 9 h 100"/>
                <a:gd name="T4" fmla="*/ 0 w 123"/>
                <a:gd name="T5" fmla="*/ 13 h 100"/>
                <a:gd name="T6" fmla="*/ 113 w 123"/>
                <a:gd name="T7" fmla="*/ 100 h 100"/>
                <a:gd name="T8" fmla="*/ 116 w 123"/>
                <a:gd name="T9" fmla="*/ 96 h 100"/>
                <a:gd name="T10" fmla="*/ 123 w 123"/>
                <a:gd name="T11" fmla="*/ 87 h 100"/>
                <a:gd name="T12" fmla="*/ 11 w 123"/>
                <a:gd name="T13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100">
                  <a:moveTo>
                    <a:pt x="11" y="0"/>
                  </a:moveTo>
                  <a:lnTo>
                    <a:pt x="4" y="9"/>
                  </a:lnTo>
                  <a:lnTo>
                    <a:pt x="0" y="13"/>
                  </a:lnTo>
                  <a:lnTo>
                    <a:pt x="113" y="100"/>
                  </a:lnTo>
                  <a:lnTo>
                    <a:pt x="116" y="96"/>
                  </a:lnTo>
                  <a:lnTo>
                    <a:pt x="123" y="87"/>
                  </a:lnTo>
                  <a:lnTo>
                    <a:pt x="1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2" name="Freeform 128"/>
            <p:cNvSpPr>
              <a:spLocks/>
            </p:cNvSpPr>
            <p:nvPr userDrawn="1"/>
          </p:nvSpPr>
          <p:spPr bwMode="auto">
            <a:xfrm>
              <a:off x="8374064" y="3920173"/>
              <a:ext cx="19050" cy="22225"/>
            </a:xfrm>
            <a:custGeom>
              <a:avLst/>
              <a:gdLst>
                <a:gd name="T0" fmla="*/ 0 w 12"/>
                <a:gd name="T1" fmla="*/ 11 h 14"/>
                <a:gd name="T2" fmla="*/ 3 w 12"/>
                <a:gd name="T3" fmla="*/ 14 h 14"/>
                <a:gd name="T4" fmla="*/ 12 w 12"/>
                <a:gd name="T5" fmla="*/ 3 h 14"/>
                <a:gd name="T6" fmla="*/ 8 w 12"/>
                <a:gd name="T7" fmla="*/ 0 h 14"/>
                <a:gd name="T8" fmla="*/ 0 w 12"/>
                <a:gd name="T9" fmla="*/ 1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4">
                  <a:moveTo>
                    <a:pt x="0" y="11"/>
                  </a:moveTo>
                  <a:lnTo>
                    <a:pt x="3" y="14"/>
                  </a:lnTo>
                  <a:lnTo>
                    <a:pt x="12" y="3"/>
                  </a:lnTo>
                  <a:lnTo>
                    <a:pt x="8" y="0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3214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3" name="Freeform 129"/>
            <p:cNvSpPr>
              <a:spLocks/>
            </p:cNvSpPr>
            <p:nvPr userDrawn="1"/>
          </p:nvSpPr>
          <p:spPr bwMode="auto">
            <a:xfrm>
              <a:off x="8374064" y="3920173"/>
              <a:ext cx="19050" cy="22225"/>
            </a:xfrm>
            <a:custGeom>
              <a:avLst/>
              <a:gdLst>
                <a:gd name="T0" fmla="*/ 0 w 12"/>
                <a:gd name="T1" fmla="*/ 11 h 14"/>
                <a:gd name="T2" fmla="*/ 3 w 12"/>
                <a:gd name="T3" fmla="*/ 14 h 14"/>
                <a:gd name="T4" fmla="*/ 12 w 12"/>
                <a:gd name="T5" fmla="*/ 3 h 14"/>
                <a:gd name="T6" fmla="*/ 8 w 12"/>
                <a:gd name="T7" fmla="*/ 0 h 14"/>
                <a:gd name="T8" fmla="*/ 0 w 12"/>
                <a:gd name="T9" fmla="*/ 1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4">
                  <a:moveTo>
                    <a:pt x="0" y="11"/>
                  </a:moveTo>
                  <a:lnTo>
                    <a:pt x="3" y="14"/>
                  </a:lnTo>
                  <a:lnTo>
                    <a:pt x="12" y="3"/>
                  </a:lnTo>
                  <a:lnTo>
                    <a:pt x="8" y="0"/>
                  </a:lnTo>
                  <a:lnTo>
                    <a:pt x="0" y="1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4" name="Rectangle 130"/>
            <p:cNvSpPr>
              <a:spLocks noChangeArrowheads="1"/>
            </p:cNvSpPr>
            <p:nvPr userDrawn="1"/>
          </p:nvSpPr>
          <p:spPr bwMode="auto">
            <a:xfrm>
              <a:off x="8374064" y="3931285"/>
              <a:ext cx="9525" cy="11113"/>
            </a:xfrm>
            <a:prstGeom prst="rect">
              <a:avLst/>
            </a:prstGeom>
            <a:solidFill>
              <a:srgbClr val="2D125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5" name="Freeform 131"/>
            <p:cNvSpPr>
              <a:spLocks/>
            </p:cNvSpPr>
            <p:nvPr userDrawn="1"/>
          </p:nvSpPr>
          <p:spPr bwMode="auto">
            <a:xfrm>
              <a:off x="8556627" y="4061460"/>
              <a:ext cx="30163" cy="28575"/>
            </a:xfrm>
            <a:custGeom>
              <a:avLst/>
              <a:gdLst>
                <a:gd name="T0" fmla="*/ 19 w 19"/>
                <a:gd name="T1" fmla="*/ 14 h 18"/>
                <a:gd name="T2" fmla="*/ 10 w 19"/>
                <a:gd name="T3" fmla="*/ 0 h 18"/>
                <a:gd name="T4" fmla="*/ 0 w 19"/>
                <a:gd name="T5" fmla="*/ 13 h 18"/>
                <a:gd name="T6" fmla="*/ 15 w 19"/>
                <a:gd name="T7" fmla="*/ 18 h 18"/>
                <a:gd name="T8" fmla="*/ 19 w 19"/>
                <a:gd name="T9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8">
                  <a:moveTo>
                    <a:pt x="19" y="14"/>
                  </a:moveTo>
                  <a:lnTo>
                    <a:pt x="10" y="0"/>
                  </a:lnTo>
                  <a:lnTo>
                    <a:pt x="0" y="13"/>
                  </a:lnTo>
                  <a:lnTo>
                    <a:pt x="15" y="18"/>
                  </a:lnTo>
                  <a:lnTo>
                    <a:pt x="19" y="14"/>
                  </a:lnTo>
                  <a:close/>
                </a:path>
              </a:pathLst>
            </a:custGeom>
            <a:solidFill>
              <a:srgbClr val="5C2D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6" name="Freeform 132"/>
            <p:cNvSpPr>
              <a:spLocks/>
            </p:cNvSpPr>
            <p:nvPr userDrawn="1"/>
          </p:nvSpPr>
          <p:spPr bwMode="auto">
            <a:xfrm>
              <a:off x="8556627" y="4061460"/>
              <a:ext cx="30163" cy="28575"/>
            </a:xfrm>
            <a:custGeom>
              <a:avLst/>
              <a:gdLst>
                <a:gd name="T0" fmla="*/ 19 w 19"/>
                <a:gd name="T1" fmla="*/ 14 h 18"/>
                <a:gd name="T2" fmla="*/ 10 w 19"/>
                <a:gd name="T3" fmla="*/ 0 h 18"/>
                <a:gd name="T4" fmla="*/ 0 w 19"/>
                <a:gd name="T5" fmla="*/ 13 h 18"/>
                <a:gd name="T6" fmla="*/ 15 w 19"/>
                <a:gd name="T7" fmla="*/ 18 h 18"/>
                <a:gd name="T8" fmla="*/ 19 w 19"/>
                <a:gd name="T9" fmla="*/ 1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8">
                  <a:moveTo>
                    <a:pt x="19" y="14"/>
                  </a:moveTo>
                  <a:lnTo>
                    <a:pt x="10" y="0"/>
                  </a:lnTo>
                  <a:lnTo>
                    <a:pt x="0" y="13"/>
                  </a:lnTo>
                  <a:lnTo>
                    <a:pt x="15" y="18"/>
                  </a:lnTo>
                  <a:lnTo>
                    <a:pt x="19" y="1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7" name="Freeform 133"/>
            <p:cNvSpPr>
              <a:spLocks/>
            </p:cNvSpPr>
            <p:nvPr userDrawn="1"/>
          </p:nvSpPr>
          <p:spPr bwMode="auto">
            <a:xfrm>
              <a:off x="8356602" y="3907473"/>
              <a:ext cx="31750" cy="31750"/>
            </a:xfrm>
            <a:custGeom>
              <a:avLst/>
              <a:gdLst>
                <a:gd name="T0" fmla="*/ 12 w 21"/>
                <a:gd name="T1" fmla="*/ 1 h 22"/>
                <a:gd name="T2" fmla="*/ 9 w 21"/>
                <a:gd name="T3" fmla="*/ 1 h 22"/>
                <a:gd name="T4" fmla="*/ 5 w 21"/>
                <a:gd name="T5" fmla="*/ 7 h 22"/>
                <a:gd name="T6" fmla="*/ 3 w 21"/>
                <a:gd name="T7" fmla="*/ 9 h 22"/>
                <a:gd name="T8" fmla="*/ 1 w 21"/>
                <a:gd name="T9" fmla="*/ 11 h 22"/>
                <a:gd name="T10" fmla="*/ 1 w 21"/>
                <a:gd name="T11" fmla="*/ 11 h 22"/>
                <a:gd name="T12" fmla="*/ 1 w 21"/>
                <a:gd name="T13" fmla="*/ 15 h 22"/>
                <a:gd name="T14" fmla="*/ 10 w 21"/>
                <a:gd name="T15" fmla="*/ 22 h 22"/>
                <a:gd name="T16" fmla="*/ 13 w 21"/>
                <a:gd name="T17" fmla="*/ 17 h 22"/>
                <a:gd name="T18" fmla="*/ 21 w 21"/>
                <a:gd name="T19" fmla="*/ 7 h 22"/>
                <a:gd name="T20" fmla="*/ 12 w 21"/>
                <a:gd name="T21" fmla="*/ 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22">
                  <a:moveTo>
                    <a:pt x="12" y="1"/>
                  </a:moveTo>
                  <a:cubicBezTo>
                    <a:pt x="11" y="0"/>
                    <a:pt x="10" y="0"/>
                    <a:pt x="9" y="1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4" y="7"/>
                    <a:pt x="3" y="8"/>
                    <a:pt x="3" y="9"/>
                  </a:cubicBezTo>
                  <a:cubicBezTo>
                    <a:pt x="2" y="9"/>
                    <a:pt x="2" y="10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13"/>
                    <a:pt x="0" y="14"/>
                    <a:pt x="1" y="15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3" y="17"/>
                    <a:pt x="13" y="17"/>
                    <a:pt x="13" y="17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12" y="1"/>
                    <a:pt x="12" y="1"/>
                    <a:pt x="12" y="1"/>
                  </a:cubicBezTo>
                </a:path>
              </a:pathLst>
            </a:custGeom>
            <a:solidFill>
              <a:srgbClr val="5C2D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8" name="Freeform 134"/>
            <p:cNvSpPr>
              <a:spLocks/>
            </p:cNvSpPr>
            <p:nvPr userDrawn="1"/>
          </p:nvSpPr>
          <p:spPr bwMode="auto">
            <a:xfrm>
              <a:off x="8356602" y="3920173"/>
              <a:ext cx="4763" cy="6350"/>
            </a:xfrm>
            <a:custGeom>
              <a:avLst/>
              <a:gdLst>
                <a:gd name="T0" fmla="*/ 3 w 3"/>
                <a:gd name="T1" fmla="*/ 0 h 4"/>
                <a:gd name="T2" fmla="*/ 1 w 3"/>
                <a:gd name="T3" fmla="*/ 2 h 4"/>
                <a:gd name="T4" fmla="*/ 1 w 3"/>
                <a:gd name="T5" fmla="*/ 2 h 4"/>
                <a:gd name="T6" fmla="*/ 0 w 3"/>
                <a:gd name="T7" fmla="*/ 4 h 4"/>
                <a:gd name="T8" fmla="*/ 1 w 3"/>
                <a:gd name="T9" fmla="*/ 2 h 4"/>
                <a:gd name="T10" fmla="*/ 1 w 3"/>
                <a:gd name="T11" fmla="*/ 2 h 4"/>
                <a:gd name="T12" fmla="*/ 3 w 3"/>
                <a:gd name="T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4">
                  <a:moveTo>
                    <a:pt x="3" y="0"/>
                  </a:moveTo>
                  <a:cubicBezTo>
                    <a:pt x="2" y="1"/>
                    <a:pt x="2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0" y="3"/>
                    <a:pt x="0" y="3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3" y="0"/>
                  </a:cubicBezTo>
                </a:path>
              </a:pathLst>
            </a:custGeom>
            <a:solidFill>
              <a:srgbClr val="006C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9" name="Freeform 135"/>
            <p:cNvSpPr>
              <a:spLocks/>
            </p:cNvSpPr>
            <p:nvPr userDrawn="1"/>
          </p:nvSpPr>
          <p:spPr bwMode="auto">
            <a:xfrm>
              <a:off x="8356602" y="3920173"/>
              <a:ext cx="20638" cy="19050"/>
            </a:xfrm>
            <a:custGeom>
              <a:avLst/>
              <a:gdLst>
                <a:gd name="T0" fmla="*/ 3 w 13"/>
                <a:gd name="T1" fmla="*/ 0 h 13"/>
                <a:gd name="T2" fmla="*/ 3 w 13"/>
                <a:gd name="T3" fmla="*/ 0 h 13"/>
                <a:gd name="T4" fmla="*/ 3 w 13"/>
                <a:gd name="T5" fmla="*/ 0 h 13"/>
                <a:gd name="T6" fmla="*/ 3 w 13"/>
                <a:gd name="T7" fmla="*/ 0 h 13"/>
                <a:gd name="T8" fmla="*/ 1 w 13"/>
                <a:gd name="T9" fmla="*/ 2 h 13"/>
                <a:gd name="T10" fmla="*/ 1 w 13"/>
                <a:gd name="T11" fmla="*/ 2 h 13"/>
                <a:gd name="T12" fmla="*/ 0 w 13"/>
                <a:gd name="T13" fmla="*/ 4 h 13"/>
                <a:gd name="T14" fmla="*/ 1 w 13"/>
                <a:gd name="T15" fmla="*/ 6 h 13"/>
                <a:gd name="T16" fmla="*/ 10 w 13"/>
                <a:gd name="T17" fmla="*/ 13 h 13"/>
                <a:gd name="T18" fmla="*/ 13 w 13"/>
                <a:gd name="T19" fmla="*/ 8 h 13"/>
                <a:gd name="T20" fmla="*/ 3 w 13"/>
                <a:gd name="T2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13">
                  <a:moveTo>
                    <a:pt x="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0" y="5"/>
                    <a:pt x="1" y="6"/>
                    <a:pt x="1" y="6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5328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40" name="Freeform 136"/>
            <p:cNvSpPr>
              <a:spLocks/>
            </p:cNvSpPr>
            <p:nvPr userDrawn="1"/>
          </p:nvSpPr>
          <p:spPr bwMode="auto">
            <a:xfrm>
              <a:off x="8377239" y="3937635"/>
              <a:ext cx="184150" cy="144463"/>
            </a:xfrm>
            <a:custGeom>
              <a:avLst/>
              <a:gdLst>
                <a:gd name="T0" fmla="*/ 4 w 116"/>
                <a:gd name="T1" fmla="*/ 0 h 91"/>
                <a:gd name="T2" fmla="*/ 1 w 116"/>
                <a:gd name="T3" fmla="*/ 3 h 91"/>
                <a:gd name="T4" fmla="*/ 1 w 116"/>
                <a:gd name="T5" fmla="*/ 3 h 91"/>
                <a:gd name="T6" fmla="*/ 0 w 116"/>
                <a:gd name="T7" fmla="*/ 4 h 91"/>
                <a:gd name="T8" fmla="*/ 113 w 116"/>
                <a:gd name="T9" fmla="*/ 91 h 91"/>
                <a:gd name="T10" fmla="*/ 116 w 116"/>
                <a:gd name="T11" fmla="*/ 87 h 91"/>
                <a:gd name="T12" fmla="*/ 4 w 116"/>
                <a:gd name="T13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91">
                  <a:moveTo>
                    <a:pt x="4" y="0"/>
                  </a:moveTo>
                  <a:lnTo>
                    <a:pt x="1" y="3"/>
                  </a:lnTo>
                  <a:lnTo>
                    <a:pt x="1" y="3"/>
                  </a:lnTo>
                  <a:lnTo>
                    <a:pt x="0" y="4"/>
                  </a:lnTo>
                  <a:lnTo>
                    <a:pt x="113" y="91"/>
                  </a:lnTo>
                  <a:lnTo>
                    <a:pt x="116" y="87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5328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41" name="Freeform 137"/>
            <p:cNvSpPr>
              <a:spLocks/>
            </p:cNvSpPr>
            <p:nvPr userDrawn="1"/>
          </p:nvSpPr>
          <p:spPr bwMode="auto">
            <a:xfrm>
              <a:off x="8377239" y="3937635"/>
              <a:ext cx="184150" cy="144463"/>
            </a:xfrm>
            <a:custGeom>
              <a:avLst/>
              <a:gdLst>
                <a:gd name="T0" fmla="*/ 4 w 116"/>
                <a:gd name="T1" fmla="*/ 0 h 91"/>
                <a:gd name="T2" fmla="*/ 1 w 116"/>
                <a:gd name="T3" fmla="*/ 3 h 91"/>
                <a:gd name="T4" fmla="*/ 1 w 116"/>
                <a:gd name="T5" fmla="*/ 3 h 91"/>
                <a:gd name="T6" fmla="*/ 0 w 116"/>
                <a:gd name="T7" fmla="*/ 4 h 91"/>
                <a:gd name="T8" fmla="*/ 113 w 116"/>
                <a:gd name="T9" fmla="*/ 91 h 91"/>
                <a:gd name="T10" fmla="*/ 116 w 116"/>
                <a:gd name="T11" fmla="*/ 87 h 91"/>
                <a:gd name="T12" fmla="*/ 4 w 116"/>
                <a:gd name="T13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" h="91">
                  <a:moveTo>
                    <a:pt x="4" y="0"/>
                  </a:moveTo>
                  <a:lnTo>
                    <a:pt x="1" y="3"/>
                  </a:lnTo>
                  <a:lnTo>
                    <a:pt x="1" y="3"/>
                  </a:lnTo>
                  <a:lnTo>
                    <a:pt x="0" y="4"/>
                  </a:lnTo>
                  <a:lnTo>
                    <a:pt x="113" y="91"/>
                  </a:lnTo>
                  <a:lnTo>
                    <a:pt x="116" y="87"/>
                  </a:lnTo>
                  <a:lnTo>
                    <a:pt x="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42" name="Freeform 138"/>
            <p:cNvSpPr>
              <a:spLocks/>
            </p:cNvSpPr>
            <p:nvPr userDrawn="1"/>
          </p:nvSpPr>
          <p:spPr bwMode="auto">
            <a:xfrm>
              <a:off x="8378827" y="3937635"/>
              <a:ext cx="4763" cy="4763"/>
            </a:xfrm>
            <a:custGeom>
              <a:avLst/>
              <a:gdLst>
                <a:gd name="T0" fmla="*/ 3 w 3"/>
                <a:gd name="T1" fmla="*/ 0 h 3"/>
                <a:gd name="T2" fmla="*/ 0 w 3"/>
                <a:gd name="T3" fmla="*/ 3 h 3"/>
                <a:gd name="T4" fmla="*/ 0 w 3"/>
                <a:gd name="T5" fmla="*/ 3 h 3"/>
                <a:gd name="T6" fmla="*/ 3 w 3"/>
                <a:gd name="T7" fmla="*/ 0 h 3"/>
                <a:gd name="T8" fmla="*/ 3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0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2810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43" name="Freeform 139"/>
            <p:cNvSpPr>
              <a:spLocks/>
            </p:cNvSpPr>
            <p:nvPr userDrawn="1"/>
          </p:nvSpPr>
          <p:spPr bwMode="auto">
            <a:xfrm>
              <a:off x="8378827" y="3937635"/>
              <a:ext cx="4763" cy="4763"/>
            </a:xfrm>
            <a:custGeom>
              <a:avLst/>
              <a:gdLst>
                <a:gd name="T0" fmla="*/ 3 w 3"/>
                <a:gd name="T1" fmla="*/ 0 h 3"/>
                <a:gd name="T2" fmla="*/ 0 w 3"/>
                <a:gd name="T3" fmla="*/ 3 h 3"/>
                <a:gd name="T4" fmla="*/ 0 w 3"/>
                <a:gd name="T5" fmla="*/ 3 h 3"/>
                <a:gd name="T6" fmla="*/ 3 w 3"/>
                <a:gd name="T7" fmla="*/ 0 h 3"/>
                <a:gd name="T8" fmla="*/ 3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0"/>
                  </a:moveTo>
                  <a:lnTo>
                    <a:pt x="0" y="3"/>
                  </a:lnTo>
                  <a:lnTo>
                    <a:pt x="0" y="3"/>
                  </a:lnTo>
                  <a:lnTo>
                    <a:pt x="3" y="0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44" name="Freeform 140"/>
            <p:cNvSpPr>
              <a:spLocks/>
            </p:cNvSpPr>
            <p:nvPr userDrawn="1"/>
          </p:nvSpPr>
          <p:spPr bwMode="auto">
            <a:xfrm>
              <a:off x="8556627" y="4075748"/>
              <a:ext cx="4763" cy="6350"/>
            </a:xfrm>
            <a:custGeom>
              <a:avLst/>
              <a:gdLst>
                <a:gd name="T0" fmla="*/ 3 w 3"/>
                <a:gd name="T1" fmla="*/ 0 h 4"/>
                <a:gd name="T2" fmla="*/ 0 w 3"/>
                <a:gd name="T3" fmla="*/ 4 h 4"/>
                <a:gd name="T4" fmla="*/ 3 w 3"/>
                <a:gd name="T5" fmla="*/ 0 h 4"/>
                <a:gd name="T6" fmla="*/ 3 w 3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4">
                  <a:moveTo>
                    <a:pt x="3" y="0"/>
                  </a:moveTo>
                  <a:lnTo>
                    <a:pt x="0" y="4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5328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45" name="Freeform 141"/>
            <p:cNvSpPr>
              <a:spLocks/>
            </p:cNvSpPr>
            <p:nvPr userDrawn="1"/>
          </p:nvSpPr>
          <p:spPr bwMode="auto">
            <a:xfrm>
              <a:off x="8556627" y="4075748"/>
              <a:ext cx="4763" cy="6350"/>
            </a:xfrm>
            <a:custGeom>
              <a:avLst/>
              <a:gdLst>
                <a:gd name="T0" fmla="*/ 3 w 3"/>
                <a:gd name="T1" fmla="*/ 0 h 4"/>
                <a:gd name="T2" fmla="*/ 0 w 3"/>
                <a:gd name="T3" fmla="*/ 4 h 4"/>
                <a:gd name="T4" fmla="*/ 3 w 3"/>
                <a:gd name="T5" fmla="*/ 0 h 4"/>
                <a:gd name="T6" fmla="*/ 3 w 3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4">
                  <a:moveTo>
                    <a:pt x="3" y="0"/>
                  </a:moveTo>
                  <a:lnTo>
                    <a:pt x="0" y="4"/>
                  </a:lnTo>
                  <a:lnTo>
                    <a:pt x="3" y="0"/>
                  </a:lnTo>
                  <a:lnTo>
                    <a:pt x="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46" name="Freeform 142"/>
            <p:cNvSpPr>
              <a:spLocks/>
            </p:cNvSpPr>
            <p:nvPr userDrawn="1"/>
          </p:nvSpPr>
          <p:spPr bwMode="auto">
            <a:xfrm>
              <a:off x="8513764" y="4012248"/>
              <a:ext cx="28575" cy="23813"/>
            </a:xfrm>
            <a:custGeom>
              <a:avLst/>
              <a:gdLst>
                <a:gd name="T0" fmla="*/ 16 w 18"/>
                <a:gd name="T1" fmla="*/ 15 h 15"/>
                <a:gd name="T2" fmla="*/ 0 w 18"/>
                <a:gd name="T3" fmla="*/ 2 h 15"/>
                <a:gd name="T4" fmla="*/ 2 w 18"/>
                <a:gd name="T5" fmla="*/ 0 h 15"/>
                <a:gd name="T6" fmla="*/ 18 w 18"/>
                <a:gd name="T7" fmla="*/ 13 h 15"/>
                <a:gd name="T8" fmla="*/ 16 w 18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5">
                  <a:moveTo>
                    <a:pt x="16" y="15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18" y="13"/>
                  </a:lnTo>
                  <a:lnTo>
                    <a:pt x="16" y="15"/>
                  </a:lnTo>
                  <a:close/>
                </a:path>
              </a:pathLst>
            </a:custGeom>
            <a:solidFill>
              <a:srgbClr val="5C2D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47" name="Freeform 143"/>
            <p:cNvSpPr>
              <a:spLocks/>
            </p:cNvSpPr>
            <p:nvPr userDrawn="1"/>
          </p:nvSpPr>
          <p:spPr bwMode="auto">
            <a:xfrm>
              <a:off x="8513764" y="4012248"/>
              <a:ext cx="28575" cy="23813"/>
            </a:xfrm>
            <a:custGeom>
              <a:avLst/>
              <a:gdLst>
                <a:gd name="T0" fmla="*/ 16 w 18"/>
                <a:gd name="T1" fmla="*/ 15 h 15"/>
                <a:gd name="T2" fmla="*/ 0 w 18"/>
                <a:gd name="T3" fmla="*/ 2 h 15"/>
                <a:gd name="T4" fmla="*/ 2 w 18"/>
                <a:gd name="T5" fmla="*/ 0 h 15"/>
                <a:gd name="T6" fmla="*/ 18 w 18"/>
                <a:gd name="T7" fmla="*/ 13 h 15"/>
                <a:gd name="T8" fmla="*/ 16 w 18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5">
                  <a:moveTo>
                    <a:pt x="16" y="15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18" y="13"/>
                  </a:lnTo>
                  <a:lnTo>
                    <a:pt x="16" y="1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48" name="Freeform 144"/>
            <p:cNvSpPr>
              <a:spLocks/>
            </p:cNvSpPr>
            <p:nvPr userDrawn="1"/>
          </p:nvSpPr>
          <p:spPr bwMode="auto">
            <a:xfrm>
              <a:off x="8539164" y="4034473"/>
              <a:ext cx="1588" cy="1588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1 h 1"/>
                <a:gd name="T4" fmla="*/ 1 w 1"/>
                <a:gd name="T5" fmla="*/ 0 h 1"/>
                <a:gd name="T6" fmla="*/ 1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lnTo>
                    <a:pt x="0" y="1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E5A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49" name="Freeform 145"/>
            <p:cNvSpPr>
              <a:spLocks/>
            </p:cNvSpPr>
            <p:nvPr userDrawn="1"/>
          </p:nvSpPr>
          <p:spPr bwMode="auto">
            <a:xfrm>
              <a:off x="8539164" y="4034473"/>
              <a:ext cx="1588" cy="1588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1 h 1"/>
                <a:gd name="T4" fmla="*/ 1 w 1"/>
                <a:gd name="T5" fmla="*/ 0 h 1"/>
                <a:gd name="T6" fmla="*/ 1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lnTo>
                    <a:pt x="0" y="1"/>
                  </a:lnTo>
                  <a:lnTo>
                    <a:pt x="1" y="0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50" name="Rectangle 146"/>
            <p:cNvSpPr>
              <a:spLocks noChangeArrowheads="1"/>
            </p:cNvSpPr>
            <p:nvPr userDrawn="1"/>
          </p:nvSpPr>
          <p:spPr bwMode="auto">
            <a:xfrm>
              <a:off x="8540752" y="4032885"/>
              <a:ext cx="1588" cy="1588"/>
            </a:xfrm>
            <a:prstGeom prst="rect">
              <a:avLst/>
            </a:pr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51" name="Freeform 147"/>
            <p:cNvSpPr>
              <a:spLocks/>
            </p:cNvSpPr>
            <p:nvPr userDrawn="1"/>
          </p:nvSpPr>
          <p:spPr bwMode="auto">
            <a:xfrm>
              <a:off x="8540752" y="4032885"/>
              <a:ext cx="0" cy="1588"/>
            </a:xfrm>
            <a:custGeom>
              <a:avLst/>
              <a:gdLst>
                <a:gd name="T0" fmla="*/ 0 h 1"/>
                <a:gd name="T1" fmla="*/ 1 h 1"/>
                <a:gd name="T2" fmla="*/ 1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52" name="Freeform 148"/>
            <p:cNvSpPr>
              <a:spLocks/>
            </p:cNvSpPr>
            <p:nvPr userDrawn="1"/>
          </p:nvSpPr>
          <p:spPr bwMode="auto">
            <a:xfrm>
              <a:off x="8513764" y="4013835"/>
              <a:ext cx="26988" cy="22225"/>
            </a:xfrm>
            <a:custGeom>
              <a:avLst/>
              <a:gdLst>
                <a:gd name="T0" fmla="*/ 1 w 17"/>
                <a:gd name="T1" fmla="*/ 0 h 14"/>
                <a:gd name="T2" fmla="*/ 0 w 17"/>
                <a:gd name="T3" fmla="*/ 1 h 14"/>
                <a:gd name="T4" fmla="*/ 16 w 17"/>
                <a:gd name="T5" fmla="*/ 14 h 14"/>
                <a:gd name="T6" fmla="*/ 17 w 17"/>
                <a:gd name="T7" fmla="*/ 13 h 14"/>
                <a:gd name="T8" fmla="*/ 17 w 17"/>
                <a:gd name="T9" fmla="*/ 12 h 14"/>
                <a:gd name="T10" fmla="*/ 1 w 17"/>
                <a:gd name="T11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4">
                  <a:moveTo>
                    <a:pt x="1" y="0"/>
                  </a:moveTo>
                  <a:lnTo>
                    <a:pt x="0" y="1"/>
                  </a:lnTo>
                  <a:lnTo>
                    <a:pt x="16" y="14"/>
                  </a:lnTo>
                  <a:lnTo>
                    <a:pt x="17" y="13"/>
                  </a:lnTo>
                  <a:lnTo>
                    <a:pt x="17" y="12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5328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53" name="Freeform 149"/>
            <p:cNvSpPr>
              <a:spLocks/>
            </p:cNvSpPr>
            <p:nvPr userDrawn="1"/>
          </p:nvSpPr>
          <p:spPr bwMode="auto">
            <a:xfrm>
              <a:off x="8513764" y="4013835"/>
              <a:ext cx="26988" cy="22225"/>
            </a:xfrm>
            <a:custGeom>
              <a:avLst/>
              <a:gdLst>
                <a:gd name="T0" fmla="*/ 1 w 17"/>
                <a:gd name="T1" fmla="*/ 0 h 14"/>
                <a:gd name="T2" fmla="*/ 0 w 17"/>
                <a:gd name="T3" fmla="*/ 1 h 14"/>
                <a:gd name="T4" fmla="*/ 16 w 17"/>
                <a:gd name="T5" fmla="*/ 14 h 14"/>
                <a:gd name="T6" fmla="*/ 17 w 17"/>
                <a:gd name="T7" fmla="*/ 13 h 14"/>
                <a:gd name="T8" fmla="*/ 17 w 17"/>
                <a:gd name="T9" fmla="*/ 12 h 14"/>
                <a:gd name="T10" fmla="*/ 1 w 17"/>
                <a:gd name="T11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4">
                  <a:moveTo>
                    <a:pt x="1" y="0"/>
                  </a:moveTo>
                  <a:lnTo>
                    <a:pt x="0" y="1"/>
                  </a:lnTo>
                  <a:lnTo>
                    <a:pt x="16" y="14"/>
                  </a:lnTo>
                  <a:lnTo>
                    <a:pt x="17" y="13"/>
                  </a:lnTo>
                  <a:lnTo>
                    <a:pt x="17" y="12"/>
                  </a:lnTo>
                  <a:lnTo>
                    <a:pt x="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54" name="Freeform 150"/>
            <p:cNvSpPr>
              <a:spLocks/>
            </p:cNvSpPr>
            <p:nvPr userDrawn="1"/>
          </p:nvSpPr>
          <p:spPr bwMode="auto">
            <a:xfrm>
              <a:off x="9875839" y="3561398"/>
              <a:ext cx="695325" cy="436563"/>
            </a:xfrm>
            <a:custGeom>
              <a:avLst/>
              <a:gdLst>
                <a:gd name="T0" fmla="*/ 445 w 467"/>
                <a:gd name="T1" fmla="*/ 0 h 294"/>
                <a:gd name="T2" fmla="*/ 22 w 467"/>
                <a:gd name="T3" fmla="*/ 0 h 294"/>
                <a:gd name="T4" fmla="*/ 0 w 467"/>
                <a:gd name="T5" fmla="*/ 22 h 294"/>
                <a:gd name="T6" fmla="*/ 0 w 467"/>
                <a:gd name="T7" fmla="*/ 272 h 294"/>
                <a:gd name="T8" fmla="*/ 22 w 467"/>
                <a:gd name="T9" fmla="*/ 294 h 294"/>
                <a:gd name="T10" fmla="*/ 445 w 467"/>
                <a:gd name="T11" fmla="*/ 294 h 294"/>
                <a:gd name="T12" fmla="*/ 467 w 467"/>
                <a:gd name="T13" fmla="*/ 272 h 294"/>
                <a:gd name="T14" fmla="*/ 467 w 467"/>
                <a:gd name="T15" fmla="*/ 22 h 294"/>
                <a:gd name="T16" fmla="*/ 445 w 467"/>
                <a:gd name="T17" fmla="*/ 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7" h="294">
                  <a:moveTo>
                    <a:pt x="445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272"/>
                    <a:pt x="0" y="272"/>
                    <a:pt x="0" y="272"/>
                  </a:cubicBezTo>
                  <a:cubicBezTo>
                    <a:pt x="0" y="284"/>
                    <a:pt x="10" y="294"/>
                    <a:pt x="22" y="294"/>
                  </a:cubicBezTo>
                  <a:cubicBezTo>
                    <a:pt x="445" y="294"/>
                    <a:pt x="445" y="294"/>
                    <a:pt x="445" y="294"/>
                  </a:cubicBezTo>
                  <a:cubicBezTo>
                    <a:pt x="458" y="294"/>
                    <a:pt x="467" y="284"/>
                    <a:pt x="467" y="272"/>
                  </a:cubicBezTo>
                  <a:cubicBezTo>
                    <a:pt x="467" y="22"/>
                    <a:pt x="467" y="22"/>
                    <a:pt x="467" y="22"/>
                  </a:cubicBezTo>
                  <a:cubicBezTo>
                    <a:pt x="467" y="10"/>
                    <a:pt x="458" y="0"/>
                    <a:pt x="445" y="0"/>
                  </a:cubicBezTo>
                  <a:close/>
                </a:path>
              </a:pathLst>
            </a:custGeom>
            <a:solidFill>
              <a:srgbClr val="D6D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55" name="Freeform 151"/>
            <p:cNvSpPr>
              <a:spLocks/>
            </p:cNvSpPr>
            <p:nvPr userDrawn="1"/>
          </p:nvSpPr>
          <p:spPr bwMode="auto">
            <a:xfrm>
              <a:off x="10510839" y="3561398"/>
              <a:ext cx="60325" cy="436563"/>
            </a:xfrm>
            <a:custGeom>
              <a:avLst/>
              <a:gdLst>
                <a:gd name="T0" fmla="*/ 22 w 41"/>
                <a:gd name="T1" fmla="*/ 272 h 294"/>
                <a:gd name="T2" fmla="*/ 22 w 41"/>
                <a:gd name="T3" fmla="*/ 22 h 294"/>
                <a:gd name="T4" fmla="*/ 0 w 41"/>
                <a:gd name="T5" fmla="*/ 0 h 294"/>
                <a:gd name="T6" fmla="*/ 19 w 41"/>
                <a:gd name="T7" fmla="*/ 0 h 294"/>
                <a:gd name="T8" fmla="*/ 41 w 41"/>
                <a:gd name="T9" fmla="*/ 22 h 294"/>
                <a:gd name="T10" fmla="*/ 41 w 41"/>
                <a:gd name="T11" fmla="*/ 272 h 294"/>
                <a:gd name="T12" fmla="*/ 19 w 41"/>
                <a:gd name="T13" fmla="*/ 294 h 294"/>
                <a:gd name="T14" fmla="*/ 0 w 41"/>
                <a:gd name="T15" fmla="*/ 294 h 294"/>
                <a:gd name="T16" fmla="*/ 22 w 41"/>
                <a:gd name="T17" fmla="*/ 272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" h="294">
                  <a:moveTo>
                    <a:pt x="22" y="272"/>
                  </a:moveTo>
                  <a:cubicBezTo>
                    <a:pt x="22" y="22"/>
                    <a:pt x="22" y="22"/>
                    <a:pt x="22" y="22"/>
                  </a:cubicBezTo>
                  <a:cubicBezTo>
                    <a:pt x="22" y="10"/>
                    <a:pt x="12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32" y="0"/>
                    <a:pt x="41" y="10"/>
                    <a:pt x="41" y="22"/>
                  </a:cubicBezTo>
                  <a:cubicBezTo>
                    <a:pt x="41" y="272"/>
                    <a:pt x="41" y="272"/>
                    <a:pt x="41" y="272"/>
                  </a:cubicBezTo>
                  <a:cubicBezTo>
                    <a:pt x="41" y="284"/>
                    <a:pt x="32" y="294"/>
                    <a:pt x="19" y="294"/>
                  </a:cubicBezTo>
                  <a:cubicBezTo>
                    <a:pt x="0" y="294"/>
                    <a:pt x="0" y="294"/>
                    <a:pt x="0" y="294"/>
                  </a:cubicBezTo>
                  <a:cubicBezTo>
                    <a:pt x="12" y="294"/>
                    <a:pt x="22" y="284"/>
                    <a:pt x="22" y="272"/>
                  </a:cubicBezTo>
                  <a:close/>
                </a:path>
              </a:pathLst>
            </a:custGeom>
            <a:solidFill>
              <a:srgbClr val="B5B5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56" name="Rectangle 152"/>
            <p:cNvSpPr>
              <a:spLocks noChangeArrowheads="1"/>
            </p:cNvSpPr>
            <p:nvPr userDrawn="1"/>
          </p:nvSpPr>
          <p:spPr bwMode="auto">
            <a:xfrm>
              <a:off x="9875839" y="3961448"/>
              <a:ext cx="695325" cy="36513"/>
            </a:xfrm>
            <a:prstGeom prst="rect">
              <a:avLst/>
            </a:prstGeom>
            <a:solidFill>
              <a:srgbClr val="70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57" name="Rectangle 153"/>
            <p:cNvSpPr>
              <a:spLocks noChangeArrowheads="1"/>
            </p:cNvSpPr>
            <p:nvPr userDrawn="1"/>
          </p:nvSpPr>
          <p:spPr bwMode="auto">
            <a:xfrm>
              <a:off x="10196514" y="3753485"/>
              <a:ext cx="25400" cy="25400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58" name="Rectangle 154"/>
            <p:cNvSpPr>
              <a:spLocks noChangeArrowheads="1"/>
            </p:cNvSpPr>
            <p:nvPr userDrawn="1"/>
          </p:nvSpPr>
          <p:spPr bwMode="auto">
            <a:xfrm>
              <a:off x="10225089" y="3753485"/>
              <a:ext cx="23813" cy="25400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59" name="Rectangle 155"/>
            <p:cNvSpPr>
              <a:spLocks noChangeArrowheads="1"/>
            </p:cNvSpPr>
            <p:nvPr userDrawn="1"/>
          </p:nvSpPr>
          <p:spPr bwMode="auto">
            <a:xfrm>
              <a:off x="10196514" y="3782060"/>
              <a:ext cx="25400" cy="23813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60" name="Rectangle 156"/>
            <p:cNvSpPr>
              <a:spLocks noChangeArrowheads="1"/>
            </p:cNvSpPr>
            <p:nvPr userDrawn="1"/>
          </p:nvSpPr>
          <p:spPr bwMode="auto">
            <a:xfrm>
              <a:off x="10225089" y="3782060"/>
              <a:ext cx="23813" cy="23813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61" name="Freeform 157"/>
            <p:cNvSpPr>
              <a:spLocks/>
            </p:cNvSpPr>
            <p:nvPr userDrawn="1"/>
          </p:nvSpPr>
          <p:spPr bwMode="auto">
            <a:xfrm>
              <a:off x="7820027" y="2935923"/>
              <a:ext cx="514350" cy="350838"/>
            </a:xfrm>
            <a:custGeom>
              <a:avLst/>
              <a:gdLst>
                <a:gd name="T0" fmla="*/ 331 w 345"/>
                <a:gd name="T1" fmla="*/ 31 h 236"/>
                <a:gd name="T2" fmla="*/ 35 w 345"/>
                <a:gd name="T3" fmla="*/ 1 h 236"/>
                <a:gd name="T4" fmla="*/ 18 w 345"/>
                <a:gd name="T5" fmla="*/ 15 h 236"/>
                <a:gd name="T6" fmla="*/ 1 w 345"/>
                <a:gd name="T7" fmla="*/ 189 h 236"/>
                <a:gd name="T8" fmla="*/ 15 w 345"/>
                <a:gd name="T9" fmla="*/ 206 h 236"/>
                <a:gd name="T10" fmla="*/ 310 w 345"/>
                <a:gd name="T11" fmla="*/ 235 h 236"/>
                <a:gd name="T12" fmla="*/ 327 w 345"/>
                <a:gd name="T13" fmla="*/ 222 h 236"/>
                <a:gd name="T14" fmla="*/ 344 w 345"/>
                <a:gd name="T15" fmla="*/ 48 h 236"/>
                <a:gd name="T16" fmla="*/ 331 w 345"/>
                <a:gd name="T17" fmla="*/ 31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5" h="236">
                  <a:moveTo>
                    <a:pt x="331" y="31"/>
                  </a:moveTo>
                  <a:cubicBezTo>
                    <a:pt x="35" y="1"/>
                    <a:pt x="35" y="1"/>
                    <a:pt x="35" y="1"/>
                  </a:cubicBezTo>
                  <a:cubicBezTo>
                    <a:pt x="27" y="0"/>
                    <a:pt x="19" y="6"/>
                    <a:pt x="18" y="15"/>
                  </a:cubicBezTo>
                  <a:cubicBezTo>
                    <a:pt x="1" y="189"/>
                    <a:pt x="1" y="189"/>
                    <a:pt x="1" y="189"/>
                  </a:cubicBezTo>
                  <a:cubicBezTo>
                    <a:pt x="0" y="197"/>
                    <a:pt x="6" y="205"/>
                    <a:pt x="15" y="206"/>
                  </a:cubicBezTo>
                  <a:cubicBezTo>
                    <a:pt x="310" y="235"/>
                    <a:pt x="310" y="235"/>
                    <a:pt x="310" y="235"/>
                  </a:cubicBezTo>
                  <a:cubicBezTo>
                    <a:pt x="318" y="236"/>
                    <a:pt x="326" y="230"/>
                    <a:pt x="327" y="222"/>
                  </a:cubicBezTo>
                  <a:cubicBezTo>
                    <a:pt x="344" y="48"/>
                    <a:pt x="344" y="48"/>
                    <a:pt x="344" y="48"/>
                  </a:cubicBezTo>
                  <a:cubicBezTo>
                    <a:pt x="345" y="39"/>
                    <a:pt x="339" y="31"/>
                    <a:pt x="331" y="31"/>
                  </a:cubicBezTo>
                  <a:close/>
                </a:path>
              </a:pathLst>
            </a:custGeom>
            <a:solidFill>
              <a:srgbClr val="D6D6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62" name="Freeform 158"/>
            <p:cNvSpPr>
              <a:spLocks/>
            </p:cNvSpPr>
            <p:nvPr userDrawn="1"/>
          </p:nvSpPr>
          <p:spPr bwMode="auto">
            <a:xfrm>
              <a:off x="8261352" y="2980373"/>
              <a:ext cx="73025" cy="306388"/>
            </a:xfrm>
            <a:custGeom>
              <a:avLst/>
              <a:gdLst>
                <a:gd name="T0" fmla="*/ 17 w 49"/>
                <a:gd name="T1" fmla="*/ 191 h 207"/>
                <a:gd name="T2" fmla="*/ 35 w 49"/>
                <a:gd name="T3" fmla="*/ 17 h 207"/>
                <a:gd name="T4" fmla="*/ 21 w 49"/>
                <a:gd name="T5" fmla="*/ 0 h 207"/>
                <a:gd name="T6" fmla="*/ 35 w 49"/>
                <a:gd name="T7" fmla="*/ 2 h 207"/>
                <a:gd name="T8" fmla="*/ 48 w 49"/>
                <a:gd name="T9" fmla="*/ 19 h 207"/>
                <a:gd name="T10" fmla="*/ 31 w 49"/>
                <a:gd name="T11" fmla="*/ 193 h 207"/>
                <a:gd name="T12" fmla="*/ 14 w 49"/>
                <a:gd name="T13" fmla="*/ 206 h 207"/>
                <a:gd name="T14" fmla="*/ 0 w 49"/>
                <a:gd name="T15" fmla="*/ 205 h 207"/>
                <a:gd name="T16" fmla="*/ 17 w 49"/>
                <a:gd name="T17" fmla="*/ 191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" h="207">
                  <a:moveTo>
                    <a:pt x="17" y="191"/>
                  </a:moveTo>
                  <a:cubicBezTo>
                    <a:pt x="35" y="17"/>
                    <a:pt x="35" y="17"/>
                    <a:pt x="35" y="17"/>
                  </a:cubicBezTo>
                  <a:cubicBezTo>
                    <a:pt x="36" y="9"/>
                    <a:pt x="30" y="1"/>
                    <a:pt x="21" y="0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43" y="2"/>
                    <a:pt x="49" y="10"/>
                    <a:pt x="48" y="19"/>
                  </a:cubicBezTo>
                  <a:cubicBezTo>
                    <a:pt x="31" y="193"/>
                    <a:pt x="31" y="193"/>
                    <a:pt x="31" y="193"/>
                  </a:cubicBezTo>
                  <a:cubicBezTo>
                    <a:pt x="30" y="201"/>
                    <a:pt x="22" y="207"/>
                    <a:pt x="14" y="206"/>
                  </a:cubicBezTo>
                  <a:cubicBezTo>
                    <a:pt x="0" y="205"/>
                    <a:pt x="0" y="205"/>
                    <a:pt x="0" y="205"/>
                  </a:cubicBezTo>
                  <a:cubicBezTo>
                    <a:pt x="9" y="206"/>
                    <a:pt x="16" y="200"/>
                    <a:pt x="17" y="191"/>
                  </a:cubicBezTo>
                  <a:close/>
                </a:path>
              </a:pathLst>
            </a:custGeom>
            <a:solidFill>
              <a:srgbClr val="B5B5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63" name="Freeform 159"/>
            <p:cNvSpPr>
              <a:spLocks/>
            </p:cNvSpPr>
            <p:nvPr userDrawn="1"/>
          </p:nvSpPr>
          <p:spPr bwMode="auto">
            <a:xfrm>
              <a:off x="7820027" y="3213735"/>
              <a:ext cx="487363" cy="74613"/>
            </a:xfrm>
            <a:custGeom>
              <a:avLst/>
              <a:gdLst>
                <a:gd name="T0" fmla="*/ 1 w 307"/>
                <a:gd name="T1" fmla="*/ 0 h 47"/>
                <a:gd name="T2" fmla="*/ 307 w 307"/>
                <a:gd name="T3" fmla="*/ 31 h 47"/>
                <a:gd name="T4" fmla="*/ 305 w 307"/>
                <a:gd name="T5" fmla="*/ 47 h 47"/>
                <a:gd name="T6" fmla="*/ 0 w 307"/>
                <a:gd name="T7" fmla="*/ 16 h 47"/>
                <a:gd name="T8" fmla="*/ 1 w 307"/>
                <a:gd name="T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7" h="47">
                  <a:moveTo>
                    <a:pt x="1" y="0"/>
                  </a:moveTo>
                  <a:lnTo>
                    <a:pt x="307" y="31"/>
                  </a:lnTo>
                  <a:lnTo>
                    <a:pt x="305" y="47"/>
                  </a:lnTo>
                  <a:lnTo>
                    <a:pt x="0" y="16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7070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64" name="Freeform 160"/>
            <p:cNvSpPr>
              <a:spLocks/>
            </p:cNvSpPr>
            <p:nvPr userDrawn="1"/>
          </p:nvSpPr>
          <p:spPr bwMode="auto">
            <a:xfrm>
              <a:off x="8059739" y="3091498"/>
              <a:ext cx="19050" cy="19050"/>
            </a:xfrm>
            <a:custGeom>
              <a:avLst/>
              <a:gdLst>
                <a:gd name="T0" fmla="*/ 0 w 12"/>
                <a:gd name="T1" fmla="*/ 11 h 12"/>
                <a:gd name="T2" fmla="*/ 11 w 12"/>
                <a:gd name="T3" fmla="*/ 12 h 12"/>
                <a:gd name="T4" fmla="*/ 12 w 12"/>
                <a:gd name="T5" fmla="*/ 1 h 12"/>
                <a:gd name="T6" fmla="*/ 1 w 12"/>
                <a:gd name="T7" fmla="*/ 0 h 12"/>
                <a:gd name="T8" fmla="*/ 0 w 12"/>
                <a:gd name="T9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0" y="11"/>
                  </a:moveTo>
                  <a:lnTo>
                    <a:pt x="11" y="12"/>
                  </a:lnTo>
                  <a:lnTo>
                    <a:pt x="12" y="1"/>
                  </a:lnTo>
                  <a:lnTo>
                    <a:pt x="1" y="0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B5B5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65" name="Freeform 161"/>
            <p:cNvSpPr>
              <a:spLocks/>
            </p:cNvSpPr>
            <p:nvPr userDrawn="1"/>
          </p:nvSpPr>
          <p:spPr bwMode="auto">
            <a:xfrm>
              <a:off x="8078789" y="3093085"/>
              <a:ext cx="19050" cy="20638"/>
            </a:xfrm>
            <a:custGeom>
              <a:avLst/>
              <a:gdLst>
                <a:gd name="T0" fmla="*/ 0 w 12"/>
                <a:gd name="T1" fmla="*/ 12 h 13"/>
                <a:gd name="T2" fmla="*/ 11 w 12"/>
                <a:gd name="T3" fmla="*/ 13 h 13"/>
                <a:gd name="T4" fmla="*/ 12 w 12"/>
                <a:gd name="T5" fmla="*/ 1 h 13"/>
                <a:gd name="T6" fmla="*/ 1 w 12"/>
                <a:gd name="T7" fmla="*/ 0 h 13"/>
                <a:gd name="T8" fmla="*/ 0 w 12"/>
                <a:gd name="T9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3">
                  <a:moveTo>
                    <a:pt x="0" y="12"/>
                  </a:moveTo>
                  <a:lnTo>
                    <a:pt x="11" y="13"/>
                  </a:lnTo>
                  <a:lnTo>
                    <a:pt x="12" y="1"/>
                  </a:lnTo>
                  <a:lnTo>
                    <a:pt x="1" y="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B5B5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66" name="Freeform 162"/>
            <p:cNvSpPr>
              <a:spLocks/>
            </p:cNvSpPr>
            <p:nvPr userDrawn="1"/>
          </p:nvSpPr>
          <p:spPr bwMode="auto">
            <a:xfrm>
              <a:off x="8058152" y="3110548"/>
              <a:ext cx="19050" cy="19050"/>
            </a:xfrm>
            <a:custGeom>
              <a:avLst/>
              <a:gdLst>
                <a:gd name="T0" fmla="*/ 0 w 12"/>
                <a:gd name="T1" fmla="*/ 11 h 12"/>
                <a:gd name="T2" fmla="*/ 11 w 12"/>
                <a:gd name="T3" fmla="*/ 12 h 12"/>
                <a:gd name="T4" fmla="*/ 12 w 12"/>
                <a:gd name="T5" fmla="*/ 2 h 12"/>
                <a:gd name="T6" fmla="*/ 1 w 12"/>
                <a:gd name="T7" fmla="*/ 0 h 12"/>
                <a:gd name="T8" fmla="*/ 0 w 12"/>
                <a:gd name="T9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0" y="11"/>
                  </a:moveTo>
                  <a:lnTo>
                    <a:pt x="11" y="12"/>
                  </a:lnTo>
                  <a:lnTo>
                    <a:pt x="12" y="2"/>
                  </a:lnTo>
                  <a:lnTo>
                    <a:pt x="1" y="0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B5B5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67" name="Freeform 163"/>
            <p:cNvSpPr>
              <a:spLocks/>
            </p:cNvSpPr>
            <p:nvPr userDrawn="1"/>
          </p:nvSpPr>
          <p:spPr bwMode="auto">
            <a:xfrm>
              <a:off x="8077202" y="3113723"/>
              <a:ext cx="19050" cy="19050"/>
            </a:xfrm>
            <a:custGeom>
              <a:avLst/>
              <a:gdLst>
                <a:gd name="T0" fmla="*/ 0 w 12"/>
                <a:gd name="T1" fmla="*/ 10 h 12"/>
                <a:gd name="T2" fmla="*/ 11 w 12"/>
                <a:gd name="T3" fmla="*/ 12 h 12"/>
                <a:gd name="T4" fmla="*/ 12 w 12"/>
                <a:gd name="T5" fmla="*/ 0 h 12"/>
                <a:gd name="T6" fmla="*/ 1 w 12"/>
                <a:gd name="T7" fmla="*/ 0 h 12"/>
                <a:gd name="T8" fmla="*/ 0 w 12"/>
                <a:gd name="T9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2">
                  <a:moveTo>
                    <a:pt x="0" y="10"/>
                  </a:moveTo>
                  <a:lnTo>
                    <a:pt x="11" y="12"/>
                  </a:lnTo>
                  <a:lnTo>
                    <a:pt x="12" y="0"/>
                  </a:lnTo>
                  <a:lnTo>
                    <a:pt x="1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B5B5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68" name="Freeform 164"/>
            <p:cNvSpPr>
              <a:spLocks/>
            </p:cNvSpPr>
            <p:nvPr userDrawn="1"/>
          </p:nvSpPr>
          <p:spPr bwMode="auto">
            <a:xfrm>
              <a:off x="7966077" y="3223260"/>
              <a:ext cx="31750" cy="38100"/>
            </a:xfrm>
            <a:custGeom>
              <a:avLst/>
              <a:gdLst>
                <a:gd name="T0" fmla="*/ 0 w 21"/>
                <a:gd name="T1" fmla="*/ 25 h 26"/>
                <a:gd name="T2" fmla="*/ 2 w 21"/>
                <a:gd name="T3" fmla="*/ 9 h 26"/>
                <a:gd name="T4" fmla="*/ 12 w 21"/>
                <a:gd name="T5" fmla="*/ 1 h 26"/>
                <a:gd name="T6" fmla="*/ 21 w 21"/>
                <a:gd name="T7" fmla="*/ 11 h 26"/>
                <a:gd name="T8" fmla="*/ 19 w 21"/>
                <a:gd name="T9" fmla="*/ 26 h 26"/>
                <a:gd name="T10" fmla="*/ 0 w 21"/>
                <a:gd name="T11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26">
                  <a:moveTo>
                    <a:pt x="0" y="25"/>
                  </a:moveTo>
                  <a:cubicBezTo>
                    <a:pt x="2" y="9"/>
                    <a:pt x="2" y="9"/>
                    <a:pt x="2" y="9"/>
                  </a:cubicBezTo>
                  <a:cubicBezTo>
                    <a:pt x="2" y="4"/>
                    <a:pt x="7" y="0"/>
                    <a:pt x="12" y="1"/>
                  </a:cubicBezTo>
                  <a:cubicBezTo>
                    <a:pt x="17" y="1"/>
                    <a:pt x="21" y="6"/>
                    <a:pt x="21" y="11"/>
                  </a:cubicBezTo>
                  <a:cubicBezTo>
                    <a:pt x="19" y="26"/>
                    <a:pt x="19" y="26"/>
                    <a:pt x="19" y="26"/>
                  </a:cubicBezTo>
                  <a:lnTo>
                    <a:pt x="0" y="25"/>
                  </a:lnTo>
                  <a:close/>
                </a:path>
              </a:pathLst>
            </a:custGeom>
            <a:solidFill>
              <a:srgbClr val="F7D7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69" name="Freeform 165"/>
            <p:cNvSpPr>
              <a:spLocks/>
            </p:cNvSpPr>
            <p:nvPr userDrawn="1"/>
          </p:nvSpPr>
          <p:spPr bwMode="auto">
            <a:xfrm>
              <a:off x="7940677" y="3208973"/>
              <a:ext cx="30163" cy="50800"/>
            </a:xfrm>
            <a:custGeom>
              <a:avLst/>
              <a:gdLst>
                <a:gd name="T0" fmla="*/ 0 w 21"/>
                <a:gd name="T1" fmla="*/ 32 h 34"/>
                <a:gd name="T2" fmla="*/ 2 w 21"/>
                <a:gd name="T3" fmla="*/ 9 h 34"/>
                <a:gd name="T4" fmla="*/ 12 w 21"/>
                <a:gd name="T5" fmla="*/ 1 h 34"/>
                <a:gd name="T6" fmla="*/ 21 w 21"/>
                <a:gd name="T7" fmla="*/ 11 h 34"/>
                <a:gd name="T8" fmla="*/ 18 w 21"/>
                <a:gd name="T9" fmla="*/ 34 h 34"/>
                <a:gd name="T10" fmla="*/ 0 w 21"/>
                <a:gd name="T11" fmla="*/ 3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34">
                  <a:moveTo>
                    <a:pt x="0" y="32"/>
                  </a:moveTo>
                  <a:cubicBezTo>
                    <a:pt x="2" y="9"/>
                    <a:pt x="2" y="9"/>
                    <a:pt x="2" y="9"/>
                  </a:cubicBezTo>
                  <a:cubicBezTo>
                    <a:pt x="2" y="4"/>
                    <a:pt x="7" y="0"/>
                    <a:pt x="12" y="1"/>
                  </a:cubicBezTo>
                  <a:cubicBezTo>
                    <a:pt x="17" y="1"/>
                    <a:pt x="21" y="6"/>
                    <a:pt x="21" y="11"/>
                  </a:cubicBezTo>
                  <a:cubicBezTo>
                    <a:pt x="18" y="34"/>
                    <a:pt x="18" y="34"/>
                    <a:pt x="18" y="34"/>
                  </a:cubicBezTo>
                  <a:lnTo>
                    <a:pt x="0" y="32"/>
                  </a:lnTo>
                  <a:close/>
                </a:path>
              </a:pathLst>
            </a:custGeom>
            <a:solidFill>
              <a:srgbClr val="F7D7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70" name="Freeform 166"/>
            <p:cNvSpPr>
              <a:spLocks/>
            </p:cNvSpPr>
            <p:nvPr userDrawn="1"/>
          </p:nvSpPr>
          <p:spPr bwMode="auto">
            <a:xfrm>
              <a:off x="7883527" y="3202623"/>
              <a:ext cx="33338" cy="50800"/>
            </a:xfrm>
            <a:custGeom>
              <a:avLst/>
              <a:gdLst>
                <a:gd name="T0" fmla="*/ 0 w 22"/>
                <a:gd name="T1" fmla="*/ 32 h 34"/>
                <a:gd name="T2" fmla="*/ 2 w 22"/>
                <a:gd name="T3" fmla="*/ 9 h 34"/>
                <a:gd name="T4" fmla="*/ 13 w 22"/>
                <a:gd name="T5" fmla="*/ 1 h 34"/>
                <a:gd name="T6" fmla="*/ 21 w 22"/>
                <a:gd name="T7" fmla="*/ 11 h 34"/>
                <a:gd name="T8" fmla="*/ 19 w 22"/>
                <a:gd name="T9" fmla="*/ 34 h 34"/>
                <a:gd name="T10" fmla="*/ 0 w 22"/>
                <a:gd name="T11" fmla="*/ 3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34">
                  <a:moveTo>
                    <a:pt x="0" y="32"/>
                  </a:moveTo>
                  <a:cubicBezTo>
                    <a:pt x="2" y="9"/>
                    <a:pt x="2" y="9"/>
                    <a:pt x="2" y="9"/>
                  </a:cubicBezTo>
                  <a:cubicBezTo>
                    <a:pt x="3" y="4"/>
                    <a:pt x="8" y="0"/>
                    <a:pt x="13" y="1"/>
                  </a:cubicBezTo>
                  <a:cubicBezTo>
                    <a:pt x="18" y="2"/>
                    <a:pt x="22" y="6"/>
                    <a:pt x="21" y="11"/>
                  </a:cubicBezTo>
                  <a:cubicBezTo>
                    <a:pt x="19" y="34"/>
                    <a:pt x="19" y="34"/>
                    <a:pt x="19" y="34"/>
                  </a:cubicBezTo>
                  <a:lnTo>
                    <a:pt x="0" y="32"/>
                  </a:lnTo>
                  <a:close/>
                </a:path>
              </a:pathLst>
            </a:custGeom>
            <a:solidFill>
              <a:srgbClr val="F7D7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71" name="Freeform 167"/>
            <p:cNvSpPr>
              <a:spLocks/>
            </p:cNvSpPr>
            <p:nvPr userDrawn="1"/>
          </p:nvSpPr>
          <p:spPr bwMode="auto">
            <a:xfrm>
              <a:off x="7912102" y="3199448"/>
              <a:ext cx="31750" cy="57150"/>
            </a:xfrm>
            <a:custGeom>
              <a:avLst/>
              <a:gdLst>
                <a:gd name="T0" fmla="*/ 0 w 22"/>
                <a:gd name="T1" fmla="*/ 37 h 39"/>
                <a:gd name="T2" fmla="*/ 3 w 22"/>
                <a:gd name="T3" fmla="*/ 9 h 39"/>
                <a:gd name="T4" fmla="*/ 13 w 22"/>
                <a:gd name="T5" fmla="*/ 1 h 39"/>
                <a:gd name="T6" fmla="*/ 21 w 22"/>
                <a:gd name="T7" fmla="*/ 11 h 39"/>
                <a:gd name="T8" fmla="*/ 19 w 22"/>
                <a:gd name="T9" fmla="*/ 39 h 39"/>
                <a:gd name="T10" fmla="*/ 0 w 22"/>
                <a:gd name="T11" fmla="*/ 37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39">
                  <a:moveTo>
                    <a:pt x="0" y="37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3" y="4"/>
                    <a:pt x="8" y="0"/>
                    <a:pt x="13" y="1"/>
                  </a:cubicBezTo>
                  <a:cubicBezTo>
                    <a:pt x="18" y="1"/>
                    <a:pt x="22" y="6"/>
                    <a:pt x="21" y="11"/>
                  </a:cubicBezTo>
                  <a:cubicBezTo>
                    <a:pt x="19" y="39"/>
                    <a:pt x="19" y="39"/>
                    <a:pt x="19" y="39"/>
                  </a:cubicBezTo>
                  <a:lnTo>
                    <a:pt x="0" y="37"/>
                  </a:lnTo>
                  <a:close/>
                </a:path>
              </a:pathLst>
            </a:custGeom>
            <a:solidFill>
              <a:srgbClr val="F7D7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72" name="Freeform 168"/>
            <p:cNvSpPr>
              <a:spLocks/>
            </p:cNvSpPr>
            <p:nvPr userDrawn="1"/>
          </p:nvSpPr>
          <p:spPr bwMode="auto">
            <a:xfrm>
              <a:off x="7856539" y="3243898"/>
              <a:ext cx="139700" cy="60325"/>
            </a:xfrm>
            <a:custGeom>
              <a:avLst/>
              <a:gdLst>
                <a:gd name="T0" fmla="*/ 94 w 94"/>
                <a:gd name="T1" fmla="*/ 9 h 41"/>
                <a:gd name="T2" fmla="*/ 78 w 94"/>
                <a:gd name="T3" fmla="*/ 33 h 41"/>
                <a:gd name="T4" fmla="*/ 36 w 94"/>
                <a:gd name="T5" fmla="*/ 29 h 41"/>
                <a:gd name="T6" fmla="*/ 0 w 94"/>
                <a:gd name="T7" fmla="*/ 0 h 41"/>
                <a:gd name="T8" fmla="*/ 94 w 94"/>
                <a:gd name="T9" fmla="*/ 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4" h="41">
                  <a:moveTo>
                    <a:pt x="94" y="9"/>
                  </a:moveTo>
                  <a:cubicBezTo>
                    <a:pt x="92" y="21"/>
                    <a:pt x="86" y="28"/>
                    <a:pt x="78" y="33"/>
                  </a:cubicBezTo>
                  <a:cubicBezTo>
                    <a:pt x="64" y="41"/>
                    <a:pt x="48" y="39"/>
                    <a:pt x="36" y="29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94" y="9"/>
                  </a:lnTo>
                  <a:close/>
                </a:path>
              </a:pathLst>
            </a:custGeom>
            <a:solidFill>
              <a:srgbClr val="F7D7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73" name="Freeform 169"/>
            <p:cNvSpPr>
              <a:spLocks/>
            </p:cNvSpPr>
            <p:nvPr userDrawn="1"/>
          </p:nvSpPr>
          <p:spPr bwMode="auto">
            <a:xfrm>
              <a:off x="7775577" y="3912235"/>
              <a:ext cx="219075" cy="327025"/>
            </a:xfrm>
            <a:custGeom>
              <a:avLst/>
              <a:gdLst>
                <a:gd name="T0" fmla="*/ 80 w 147"/>
                <a:gd name="T1" fmla="*/ 203 h 221"/>
                <a:gd name="T2" fmla="*/ 128 w 147"/>
                <a:gd name="T3" fmla="*/ 106 h 221"/>
                <a:gd name="T4" fmla="*/ 135 w 147"/>
                <a:gd name="T5" fmla="*/ 127 h 221"/>
                <a:gd name="T6" fmla="*/ 147 w 147"/>
                <a:gd name="T7" fmla="*/ 124 h 221"/>
                <a:gd name="T8" fmla="*/ 136 w 147"/>
                <a:gd name="T9" fmla="*/ 0 h 221"/>
                <a:gd name="T10" fmla="*/ 130 w 147"/>
                <a:gd name="T11" fmla="*/ 0 h 221"/>
                <a:gd name="T12" fmla="*/ 51 w 147"/>
                <a:gd name="T13" fmla="*/ 59 h 221"/>
                <a:gd name="T14" fmla="*/ 2 w 147"/>
                <a:gd name="T15" fmla="*/ 201 h 221"/>
                <a:gd name="T16" fmla="*/ 2 w 147"/>
                <a:gd name="T17" fmla="*/ 221 h 221"/>
                <a:gd name="T18" fmla="*/ 80 w 147"/>
                <a:gd name="T19" fmla="*/ 203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221">
                  <a:moveTo>
                    <a:pt x="80" y="203"/>
                  </a:moveTo>
                  <a:cubicBezTo>
                    <a:pt x="128" y="106"/>
                    <a:pt x="128" y="106"/>
                    <a:pt x="128" y="106"/>
                  </a:cubicBezTo>
                  <a:cubicBezTo>
                    <a:pt x="135" y="127"/>
                    <a:pt x="135" y="127"/>
                    <a:pt x="135" y="127"/>
                  </a:cubicBezTo>
                  <a:cubicBezTo>
                    <a:pt x="147" y="124"/>
                    <a:pt x="147" y="124"/>
                    <a:pt x="147" y="124"/>
                  </a:cubicBezTo>
                  <a:cubicBezTo>
                    <a:pt x="136" y="0"/>
                    <a:pt x="136" y="0"/>
                    <a:pt x="136" y="0"/>
                  </a:cubicBezTo>
                  <a:cubicBezTo>
                    <a:pt x="130" y="0"/>
                    <a:pt x="130" y="0"/>
                    <a:pt x="130" y="0"/>
                  </a:cubicBezTo>
                  <a:cubicBezTo>
                    <a:pt x="94" y="3"/>
                    <a:pt x="64" y="26"/>
                    <a:pt x="51" y="59"/>
                  </a:cubicBezTo>
                  <a:cubicBezTo>
                    <a:pt x="33" y="108"/>
                    <a:pt x="10" y="163"/>
                    <a:pt x="2" y="201"/>
                  </a:cubicBezTo>
                  <a:cubicBezTo>
                    <a:pt x="0" y="208"/>
                    <a:pt x="1" y="214"/>
                    <a:pt x="2" y="221"/>
                  </a:cubicBezTo>
                  <a:lnTo>
                    <a:pt x="80" y="2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74" name="Freeform 170"/>
            <p:cNvSpPr>
              <a:spLocks/>
            </p:cNvSpPr>
            <p:nvPr userDrawn="1"/>
          </p:nvSpPr>
          <p:spPr bwMode="auto">
            <a:xfrm>
              <a:off x="7770814" y="4064635"/>
              <a:ext cx="479425" cy="496888"/>
            </a:xfrm>
            <a:custGeom>
              <a:avLst/>
              <a:gdLst>
                <a:gd name="T0" fmla="*/ 319 w 322"/>
                <a:gd name="T1" fmla="*/ 115 h 336"/>
                <a:gd name="T2" fmla="*/ 320 w 322"/>
                <a:gd name="T3" fmla="*/ 123 h 336"/>
                <a:gd name="T4" fmla="*/ 160 w 322"/>
                <a:gd name="T5" fmla="*/ 333 h 336"/>
                <a:gd name="T6" fmla="*/ 152 w 322"/>
                <a:gd name="T7" fmla="*/ 334 h 336"/>
                <a:gd name="T8" fmla="*/ 3 w 322"/>
                <a:gd name="T9" fmla="*/ 220 h 336"/>
                <a:gd name="T10" fmla="*/ 2 w 322"/>
                <a:gd name="T11" fmla="*/ 212 h 336"/>
                <a:gd name="T12" fmla="*/ 162 w 322"/>
                <a:gd name="T13" fmla="*/ 3 h 336"/>
                <a:gd name="T14" fmla="*/ 170 w 322"/>
                <a:gd name="T15" fmla="*/ 2 h 336"/>
                <a:gd name="T16" fmla="*/ 319 w 322"/>
                <a:gd name="T17" fmla="*/ 115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2" h="336">
                  <a:moveTo>
                    <a:pt x="319" y="115"/>
                  </a:moveTo>
                  <a:cubicBezTo>
                    <a:pt x="321" y="117"/>
                    <a:pt x="322" y="121"/>
                    <a:pt x="320" y="123"/>
                  </a:cubicBezTo>
                  <a:cubicBezTo>
                    <a:pt x="160" y="333"/>
                    <a:pt x="160" y="333"/>
                    <a:pt x="160" y="333"/>
                  </a:cubicBezTo>
                  <a:cubicBezTo>
                    <a:pt x="158" y="336"/>
                    <a:pt x="154" y="336"/>
                    <a:pt x="152" y="334"/>
                  </a:cubicBezTo>
                  <a:cubicBezTo>
                    <a:pt x="3" y="220"/>
                    <a:pt x="3" y="220"/>
                    <a:pt x="3" y="220"/>
                  </a:cubicBezTo>
                  <a:cubicBezTo>
                    <a:pt x="0" y="218"/>
                    <a:pt x="0" y="215"/>
                    <a:pt x="2" y="212"/>
                  </a:cubicBezTo>
                  <a:cubicBezTo>
                    <a:pt x="162" y="3"/>
                    <a:pt x="162" y="3"/>
                    <a:pt x="162" y="3"/>
                  </a:cubicBezTo>
                  <a:cubicBezTo>
                    <a:pt x="164" y="0"/>
                    <a:pt x="167" y="0"/>
                    <a:pt x="170" y="2"/>
                  </a:cubicBezTo>
                  <a:cubicBezTo>
                    <a:pt x="319" y="115"/>
                    <a:pt x="319" y="115"/>
                    <a:pt x="319" y="115"/>
                  </a:cubicBezTo>
                </a:path>
              </a:pathLst>
            </a:custGeom>
            <a:solidFill>
              <a:srgbClr val="221F1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75" name="Freeform 171"/>
            <p:cNvSpPr>
              <a:spLocks/>
            </p:cNvSpPr>
            <p:nvPr userDrawn="1"/>
          </p:nvSpPr>
          <p:spPr bwMode="auto">
            <a:xfrm>
              <a:off x="7797802" y="4093210"/>
              <a:ext cx="422275" cy="439738"/>
            </a:xfrm>
            <a:custGeom>
              <a:avLst/>
              <a:gdLst>
                <a:gd name="T0" fmla="*/ 266 w 266"/>
                <a:gd name="T1" fmla="*/ 96 h 277"/>
                <a:gd name="T2" fmla="*/ 127 w 266"/>
                <a:gd name="T3" fmla="*/ 277 h 277"/>
                <a:gd name="T4" fmla="*/ 127 w 266"/>
                <a:gd name="T5" fmla="*/ 277 h 277"/>
                <a:gd name="T6" fmla="*/ 0 w 266"/>
                <a:gd name="T7" fmla="*/ 181 h 277"/>
                <a:gd name="T8" fmla="*/ 139 w 266"/>
                <a:gd name="T9" fmla="*/ 0 h 277"/>
                <a:gd name="T10" fmla="*/ 266 w 266"/>
                <a:gd name="T11" fmla="*/ 96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6" h="277">
                  <a:moveTo>
                    <a:pt x="266" y="96"/>
                  </a:moveTo>
                  <a:lnTo>
                    <a:pt x="127" y="277"/>
                  </a:lnTo>
                  <a:lnTo>
                    <a:pt x="127" y="277"/>
                  </a:lnTo>
                  <a:lnTo>
                    <a:pt x="0" y="181"/>
                  </a:lnTo>
                  <a:lnTo>
                    <a:pt x="139" y="0"/>
                  </a:lnTo>
                  <a:lnTo>
                    <a:pt x="266" y="96"/>
                  </a:lnTo>
                  <a:close/>
                </a:path>
              </a:pathLst>
            </a:custGeom>
            <a:solidFill>
              <a:srgbClr val="C6E7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76" name="Freeform 172"/>
            <p:cNvSpPr>
              <a:spLocks/>
            </p:cNvSpPr>
            <p:nvPr userDrawn="1"/>
          </p:nvSpPr>
          <p:spPr bwMode="auto">
            <a:xfrm>
              <a:off x="7797802" y="4093210"/>
              <a:ext cx="422275" cy="439738"/>
            </a:xfrm>
            <a:custGeom>
              <a:avLst/>
              <a:gdLst>
                <a:gd name="T0" fmla="*/ 266 w 266"/>
                <a:gd name="T1" fmla="*/ 96 h 277"/>
                <a:gd name="T2" fmla="*/ 127 w 266"/>
                <a:gd name="T3" fmla="*/ 277 h 277"/>
                <a:gd name="T4" fmla="*/ 127 w 266"/>
                <a:gd name="T5" fmla="*/ 277 h 277"/>
                <a:gd name="T6" fmla="*/ 0 w 266"/>
                <a:gd name="T7" fmla="*/ 181 h 277"/>
                <a:gd name="T8" fmla="*/ 139 w 266"/>
                <a:gd name="T9" fmla="*/ 0 h 277"/>
                <a:gd name="T10" fmla="*/ 266 w 266"/>
                <a:gd name="T11" fmla="*/ 96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6" h="277">
                  <a:moveTo>
                    <a:pt x="266" y="96"/>
                  </a:moveTo>
                  <a:lnTo>
                    <a:pt x="127" y="277"/>
                  </a:lnTo>
                  <a:lnTo>
                    <a:pt x="127" y="277"/>
                  </a:lnTo>
                  <a:lnTo>
                    <a:pt x="0" y="181"/>
                  </a:lnTo>
                  <a:lnTo>
                    <a:pt x="139" y="0"/>
                  </a:lnTo>
                  <a:lnTo>
                    <a:pt x="266" y="9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77" name="Freeform 173"/>
            <p:cNvSpPr>
              <a:spLocks/>
            </p:cNvSpPr>
            <p:nvPr userDrawn="1"/>
          </p:nvSpPr>
          <p:spPr bwMode="auto">
            <a:xfrm>
              <a:off x="7999414" y="4093210"/>
              <a:ext cx="220663" cy="439738"/>
            </a:xfrm>
            <a:custGeom>
              <a:avLst/>
              <a:gdLst>
                <a:gd name="T0" fmla="*/ 12 w 139"/>
                <a:gd name="T1" fmla="*/ 0 h 277"/>
                <a:gd name="T2" fmla="*/ 12 w 139"/>
                <a:gd name="T3" fmla="*/ 0 h 277"/>
                <a:gd name="T4" fmla="*/ 0 w 139"/>
                <a:gd name="T5" fmla="*/ 277 h 277"/>
                <a:gd name="T6" fmla="*/ 0 w 139"/>
                <a:gd name="T7" fmla="*/ 277 h 277"/>
                <a:gd name="T8" fmla="*/ 139 w 139"/>
                <a:gd name="T9" fmla="*/ 96 h 277"/>
                <a:gd name="T10" fmla="*/ 12 w 139"/>
                <a:gd name="T11" fmla="*/ 0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9" h="277">
                  <a:moveTo>
                    <a:pt x="12" y="0"/>
                  </a:moveTo>
                  <a:lnTo>
                    <a:pt x="12" y="0"/>
                  </a:lnTo>
                  <a:lnTo>
                    <a:pt x="0" y="277"/>
                  </a:lnTo>
                  <a:lnTo>
                    <a:pt x="0" y="277"/>
                  </a:lnTo>
                  <a:lnTo>
                    <a:pt x="139" y="96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D1EC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78" name="Freeform 174"/>
            <p:cNvSpPr>
              <a:spLocks/>
            </p:cNvSpPr>
            <p:nvPr userDrawn="1"/>
          </p:nvSpPr>
          <p:spPr bwMode="auto">
            <a:xfrm>
              <a:off x="7999414" y="4093210"/>
              <a:ext cx="220663" cy="439738"/>
            </a:xfrm>
            <a:custGeom>
              <a:avLst/>
              <a:gdLst>
                <a:gd name="T0" fmla="*/ 12 w 139"/>
                <a:gd name="T1" fmla="*/ 0 h 277"/>
                <a:gd name="T2" fmla="*/ 12 w 139"/>
                <a:gd name="T3" fmla="*/ 0 h 277"/>
                <a:gd name="T4" fmla="*/ 0 w 139"/>
                <a:gd name="T5" fmla="*/ 277 h 277"/>
                <a:gd name="T6" fmla="*/ 0 w 139"/>
                <a:gd name="T7" fmla="*/ 277 h 277"/>
                <a:gd name="T8" fmla="*/ 139 w 139"/>
                <a:gd name="T9" fmla="*/ 96 h 277"/>
                <a:gd name="T10" fmla="*/ 12 w 139"/>
                <a:gd name="T11" fmla="*/ 0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39" h="277">
                  <a:moveTo>
                    <a:pt x="12" y="0"/>
                  </a:moveTo>
                  <a:lnTo>
                    <a:pt x="12" y="0"/>
                  </a:lnTo>
                  <a:lnTo>
                    <a:pt x="0" y="277"/>
                  </a:lnTo>
                  <a:lnTo>
                    <a:pt x="0" y="277"/>
                  </a:lnTo>
                  <a:lnTo>
                    <a:pt x="139" y="96"/>
                  </a:lnTo>
                  <a:lnTo>
                    <a:pt x="1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79" name="Freeform 175"/>
            <p:cNvSpPr>
              <a:spLocks/>
            </p:cNvSpPr>
            <p:nvPr userDrawn="1"/>
          </p:nvSpPr>
          <p:spPr bwMode="auto">
            <a:xfrm>
              <a:off x="7921627" y="4251960"/>
              <a:ext cx="68263" cy="53975"/>
            </a:xfrm>
            <a:custGeom>
              <a:avLst/>
              <a:gdLst>
                <a:gd name="T0" fmla="*/ 42 w 43"/>
                <a:gd name="T1" fmla="*/ 34 h 34"/>
                <a:gd name="T2" fmla="*/ 0 w 43"/>
                <a:gd name="T3" fmla="*/ 3 h 34"/>
                <a:gd name="T4" fmla="*/ 3 w 43"/>
                <a:gd name="T5" fmla="*/ 0 h 34"/>
                <a:gd name="T6" fmla="*/ 43 w 43"/>
                <a:gd name="T7" fmla="*/ 31 h 34"/>
                <a:gd name="T8" fmla="*/ 42 w 43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34">
                  <a:moveTo>
                    <a:pt x="42" y="34"/>
                  </a:moveTo>
                  <a:lnTo>
                    <a:pt x="0" y="3"/>
                  </a:lnTo>
                  <a:lnTo>
                    <a:pt x="3" y="0"/>
                  </a:lnTo>
                  <a:lnTo>
                    <a:pt x="43" y="31"/>
                  </a:lnTo>
                  <a:lnTo>
                    <a:pt x="42" y="34"/>
                  </a:lnTo>
                  <a:close/>
                </a:path>
              </a:pathLst>
            </a:custGeom>
            <a:solidFill>
              <a:srgbClr val="5C2D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80" name="Freeform 176"/>
            <p:cNvSpPr>
              <a:spLocks/>
            </p:cNvSpPr>
            <p:nvPr userDrawn="1"/>
          </p:nvSpPr>
          <p:spPr bwMode="auto">
            <a:xfrm>
              <a:off x="7988302" y="4301173"/>
              <a:ext cx="101600" cy="80963"/>
            </a:xfrm>
            <a:custGeom>
              <a:avLst/>
              <a:gdLst>
                <a:gd name="T0" fmla="*/ 62 w 64"/>
                <a:gd name="T1" fmla="*/ 51 h 51"/>
                <a:gd name="T2" fmla="*/ 0 w 64"/>
                <a:gd name="T3" fmla="*/ 3 h 51"/>
                <a:gd name="T4" fmla="*/ 1 w 64"/>
                <a:gd name="T5" fmla="*/ 0 h 51"/>
                <a:gd name="T6" fmla="*/ 64 w 64"/>
                <a:gd name="T7" fmla="*/ 48 h 51"/>
                <a:gd name="T8" fmla="*/ 62 w 64"/>
                <a:gd name="T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51">
                  <a:moveTo>
                    <a:pt x="62" y="51"/>
                  </a:moveTo>
                  <a:lnTo>
                    <a:pt x="0" y="3"/>
                  </a:lnTo>
                  <a:lnTo>
                    <a:pt x="1" y="0"/>
                  </a:lnTo>
                  <a:lnTo>
                    <a:pt x="64" y="48"/>
                  </a:lnTo>
                  <a:lnTo>
                    <a:pt x="62" y="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81" name="Freeform 177"/>
            <p:cNvSpPr>
              <a:spLocks/>
            </p:cNvSpPr>
            <p:nvPr userDrawn="1"/>
          </p:nvSpPr>
          <p:spPr bwMode="auto">
            <a:xfrm>
              <a:off x="7907339" y="4272598"/>
              <a:ext cx="166688" cy="128588"/>
            </a:xfrm>
            <a:custGeom>
              <a:avLst/>
              <a:gdLst>
                <a:gd name="T0" fmla="*/ 103 w 105"/>
                <a:gd name="T1" fmla="*/ 81 h 81"/>
                <a:gd name="T2" fmla="*/ 0 w 105"/>
                <a:gd name="T3" fmla="*/ 3 h 81"/>
                <a:gd name="T4" fmla="*/ 3 w 105"/>
                <a:gd name="T5" fmla="*/ 0 h 81"/>
                <a:gd name="T6" fmla="*/ 105 w 105"/>
                <a:gd name="T7" fmla="*/ 78 h 81"/>
                <a:gd name="T8" fmla="*/ 103 w 105"/>
                <a:gd name="T9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5" h="81">
                  <a:moveTo>
                    <a:pt x="103" y="81"/>
                  </a:moveTo>
                  <a:lnTo>
                    <a:pt x="0" y="3"/>
                  </a:lnTo>
                  <a:lnTo>
                    <a:pt x="3" y="0"/>
                  </a:lnTo>
                  <a:lnTo>
                    <a:pt x="105" y="78"/>
                  </a:lnTo>
                  <a:lnTo>
                    <a:pt x="103" y="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82" name="Freeform 178"/>
            <p:cNvSpPr>
              <a:spLocks/>
            </p:cNvSpPr>
            <p:nvPr userDrawn="1"/>
          </p:nvSpPr>
          <p:spPr bwMode="auto">
            <a:xfrm>
              <a:off x="7893052" y="4293235"/>
              <a:ext cx="166688" cy="128588"/>
            </a:xfrm>
            <a:custGeom>
              <a:avLst/>
              <a:gdLst>
                <a:gd name="T0" fmla="*/ 102 w 105"/>
                <a:gd name="T1" fmla="*/ 81 h 81"/>
                <a:gd name="T2" fmla="*/ 0 w 105"/>
                <a:gd name="T3" fmla="*/ 2 h 81"/>
                <a:gd name="T4" fmla="*/ 1 w 105"/>
                <a:gd name="T5" fmla="*/ 0 h 81"/>
                <a:gd name="T6" fmla="*/ 105 w 105"/>
                <a:gd name="T7" fmla="*/ 78 h 81"/>
                <a:gd name="T8" fmla="*/ 102 w 105"/>
                <a:gd name="T9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5" h="81">
                  <a:moveTo>
                    <a:pt x="102" y="81"/>
                  </a:moveTo>
                  <a:lnTo>
                    <a:pt x="0" y="2"/>
                  </a:lnTo>
                  <a:lnTo>
                    <a:pt x="1" y="0"/>
                  </a:lnTo>
                  <a:lnTo>
                    <a:pt x="105" y="78"/>
                  </a:lnTo>
                  <a:lnTo>
                    <a:pt x="102" y="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83" name="Freeform 179"/>
            <p:cNvSpPr>
              <a:spLocks/>
            </p:cNvSpPr>
            <p:nvPr userDrawn="1"/>
          </p:nvSpPr>
          <p:spPr bwMode="auto">
            <a:xfrm>
              <a:off x="7877177" y="4312285"/>
              <a:ext cx="166688" cy="128588"/>
            </a:xfrm>
            <a:custGeom>
              <a:avLst/>
              <a:gdLst>
                <a:gd name="T0" fmla="*/ 102 w 105"/>
                <a:gd name="T1" fmla="*/ 81 h 81"/>
                <a:gd name="T2" fmla="*/ 0 w 105"/>
                <a:gd name="T3" fmla="*/ 3 h 81"/>
                <a:gd name="T4" fmla="*/ 2 w 105"/>
                <a:gd name="T5" fmla="*/ 0 h 81"/>
                <a:gd name="T6" fmla="*/ 105 w 105"/>
                <a:gd name="T7" fmla="*/ 78 h 81"/>
                <a:gd name="T8" fmla="*/ 102 w 105"/>
                <a:gd name="T9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5" h="81">
                  <a:moveTo>
                    <a:pt x="102" y="81"/>
                  </a:moveTo>
                  <a:lnTo>
                    <a:pt x="0" y="3"/>
                  </a:lnTo>
                  <a:lnTo>
                    <a:pt x="2" y="0"/>
                  </a:lnTo>
                  <a:lnTo>
                    <a:pt x="105" y="78"/>
                  </a:lnTo>
                  <a:lnTo>
                    <a:pt x="102" y="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84" name="Freeform 180"/>
            <p:cNvSpPr>
              <a:spLocks/>
            </p:cNvSpPr>
            <p:nvPr userDrawn="1"/>
          </p:nvSpPr>
          <p:spPr bwMode="auto">
            <a:xfrm>
              <a:off x="7966077" y="4382135"/>
              <a:ext cx="77788" cy="58738"/>
            </a:xfrm>
            <a:custGeom>
              <a:avLst/>
              <a:gdLst>
                <a:gd name="T0" fmla="*/ 46 w 49"/>
                <a:gd name="T1" fmla="*/ 37 h 37"/>
                <a:gd name="T2" fmla="*/ 0 w 49"/>
                <a:gd name="T3" fmla="*/ 2 h 37"/>
                <a:gd name="T4" fmla="*/ 2 w 49"/>
                <a:gd name="T5" fmla="*/ 0 h 37"/>
                <a:gd name="T6" fmla="*/ 49 w 49"/>
                <a:gd name="T7" fmla="*/ 34 h 37"/>
                <a:gd name="T8" fmla="*/ 46 w 49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7">
                  <a:moveTo>
                    <a:pt x="46" y="37"/>
                  </a:moveTo>
                  <a:lnTo>
                    <a:pt x="0" y="2"/>
                  </a:lnTo>
                  <a:lnTo>
                    <a:pt x="2" y="0"/>
                  </a:lnTo>
                  <a:lnTo>
                    <a:pt x="49" y="34"/>
                  </a:lnTo>
                  <a:lnTo>
                    <a:pt x="46" y="37"/>
                  </a:lnTo>
                  <a:close/>
                </a:path>
              </a:pathLst>
            </a:custGeom>
            <a:solidFill>
              <a:srgbClr val="40C5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85" name="Freeform 181"/>
            <p:cNvSpPr>
              <a:spLocks/>
            </p:cNvSpPr>
            <p:nvPr userDrawn="1"/>
          </p:nvSpPr>
          <p:spPr bwMode="auto">
            <a:xfrm>
              <a:off x="7861302" y="4332923"/>
              <a:ext cx="166688" cy="128588"/>
            </a:xfrm>
            <a:custGeom>
              <a:avLst/>
              <a:gdLst>
                <a:gd name="T0" fmla="*/ 103 w 105"/>
                <a:gd name="T1" fmla="*/ 81 h 81"/>
                <a:gd name="T2" fmla="*/ 0 w 105"/>
                <a:gd name="T3" fmla="*/ 3 h 81"/>
                <a:gd name="T4" fmla="*/ 3 w 105"/>
                <a:gd name="T5" fmla="*/ 0 h 81"/>
                <a:gd name="T6" fmla="*/ 105 w 105"/>
                <a:gd name="T7" fmla="*/ 78 h 81"/>
                <a:gd name="T8" fmla="*/ 103 w 105"/>
                <a:gd name="T9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5" h="81">
                  <a:moveTo>
                    <a:pt x="103" y="81"/>
                  </a:moveTo>
                  <a:lnTo>
                    <a:pt x="0" y="3"/>
                  </a:lnTo>
                  <a:lnTo>
                    <a:pt x="3" y="0"/>
                  </a:lnTo>
                  <a:lnTo>
                    <a:pt x="105" y="78"/>
                  </a:lnTo>
                  <a:lnTo>
                    <a:pt x="103" y="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86" name="Freeform 182"/>
            <p:cNvSpPr>
              <a:spLocks/>
            </p:cNvSpPr>
            <p:nvPr userDrawn="1"/>
          </p:nvSpPr>
          <p:spPr bwMode="auto">
            <a:xfrm>
              <a:off x="7845427" y="4351973"/>
              <a:ext cx="168275" cy="128588"/>
            </a:xfrm>
            <a:custGeom>
              <a:avLst/>
              <a:gdLst>
                <a:gd name="T0" fmla="*/ 104 w 106"/>
                <a:gd name="T1" fmla="*/ 81 h 81"/>
                <a:gd name="T2" fmla="*/ 0 w 106"/>
                <a:gd name="T3" fmla="*/ 4 h 81"/>
                <a:gd name="T4" fmla="*/ 2 w 106"/>
                <a:gd name="T5" fmla="*/ 0 h 81"/>
                <a:gd name="T6" fmla="*/ 106 w 106"/>
                <a:gd name="T7" fmla="*/ 78 h 81"/>
                <a:gd name="T8" fmla="*/ 104 w 106"/>
                <a:gd name="T9" fmla="*/ 8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6" h="81">
                  <a:moveTo>
                    <a:pt x="104" y="81"/>
                  </a:moveTo>
                  <a:lnTo>
                    <a:pt x="0" y="4"/>
                  </a:lnTo>
                  <a:lnTo>
                    <a:pt x="2" y="0"/>
                  </a:lnTo>
                  <a:lnTo>
                    <a:pt x="106" y="78"/>
                  </a:lnTo>
                  <a:lnTo>
                    <a:pt x="104" y="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87" name="Freeform 183"/>
            <p:cNvSpPr>
              <a:spLocks/>
            </p:cNvSpPr>
            <p:nvPr userDrawn="1"/>
          </p:nvSpPr>
          <p:spPr bwMode="auto">
            <a:xfrm>
              <a:off x="7845427" y="4351973"/>
              <a:ext cx="95250" cy="74613"/>
            </a:xfrm>
            <a:custGeom>
              <a:avLst/>
              <a:gdLst>
                <a:gd name="T0" fmla="*/ 57 w 60"/>
                <a:gd name="T1" fmla="*/ 47 h 47"/>
                <a:gd name="T2" fmla="*/ 0 w 60"/>
                <a:gd name="T3" fmla="*/ 4 h 47"/>
                <a:gd name="T4" fmla="*/ 2 w 60"/>
                <a:gd name="T5" fmla="*/ 0 h 47"/>
                <a:gd name="T6" fmla="*/ 60 w 60"/>
                <a:gd name="T7" fmla="*/ 43 h 47"/>
                <a:gd name="T8" fmla="*/ 57 w 60"/>
                <a:gd name="T9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47">
                  <a:moveTo>
                    <a:pt x="57" y="47"/>
                  </a:moveTo>
                  <a:lnTo>
                    <a:pt x="0" y="4"/>
                  </a:lnTo>
                  <a:lnTo>
                    <a:pt x="2" y="0"/>
                  </a:lnTo>
                  <a:lnTo>
                    <a:pt x="60" y="43"/>
                  </a:lnTo>
                  <a:lnTo>
                    <a:pt x="57" y="47"/>
                  </a:ln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88" name="Freeform 184"/>
            <p:cNvSpPr>
              <a:spLocks/>
            </p:cNvSpPr>
            <p:nvPr userDrawn="1"/>
          </p:nvSpPr>
          <p:spPr bwMode="auto">
            <a:xfrm>
              <a:off x="7958139" y="4172585"/>
              <a:ext cx="90488" cy="104775"/>
            </a:xfrm>
            <a:custGeom>
              <a:avLst/>
              <a:gdLst>
                <a:gd name="T0" fmla="*/ 40 w 61"/>
                <a:gd name="T1" fmla="*/ 55 h 71"/>
                <a:gd name="T2" fmla="*/ 0 w 61"/>
                <a:gd name="T3" fmla="*/ 71 h 71"/>
                <a:gd name="T4" fmla="*/ 5 w 61"/>
                <a:gd name="T5" fmla="*/ 28 h 71"/>
                <a:gd name="T6" fmla="*/ 45 w 61"/>
                <a:gd name="T7" fmla="*/ 12 h 71"/>
                <a:gd name="T8" fmla="*/ 46 w 61"/>
                <a:gd name="T9" fmla="*/ 12 h 71"/>
                <a:gd name="T10" fmla="*/ 40 w 61"/>
                <a:gd name="T11" fmla="*/ 55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1" h="71">
                  <a:moveTo>
                    <a:pt x="40" y="55"/>
                  </a:moveTo>
                  <a:cubicBezTo>
                    <a:pt x="0" y="71"/>
                    <a:pt x="0" y="71"/>
                    <a:pt x="0" y="71"/>
                  </a:cubicBezTo>
                  <a:cubicBezTo>
                    <a:pt x="5" y="28"/>
                    <a:pt x="5" y="28"/>
                    <a:pt x="5" y="28"/>
                  </a:cubicBezTo>
                  <a:cubicBezTo>
                    <a:pt x="8" y="9"/>
                    <a:pt x="30" y="0"/>
                    <a:pt x="45" y="12"/>
                  </a:cubicBezTo>
                  <a:cubicBezTo>
                    <a:pt x="46" y="12"/>
                    <a:pt x="46" y="12"/>
                    <a:pt x="46" y="12"/>
                  </a:cubicBezTo>
                  <a:cubicBezTo>
                    <a:pt x="61" y="24"/>
                    <a:pt x="58" y="47"/>
                    <a:pt x="40" y="55"/>
                  </a:cubicBezTo>
                  <a:close/>
                </a:path>
              </a:pathLst>
            </a:custGeom>
            <a:solidFill>
              <a:srgbClr val="5C2D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89" name="Freeform 185"/>
            <p:cNvSpPr>
              <a:spLocks/>
            </p:cNvSpPr>
            <p:nvPr userDrawn="1"/>
          </p:nvSpPr>
          <p:spPr bwMode="auto">
            <a:xfrm>
              <a:off x="7967664" y="4196398"/>
              <a:ext cx="55563" cy="63500"/>
            </a:xfrm>
            <a:custGeom>
              <a:avLst/>
              <a:gdLst>
                <a:gd name="T0" fmla="*/ 29 w 37"/>
                <a:gd name="T1" fmla="*/ 30 h 43"/>
                <a:gd name="T2" fmla="*/ 29 w 37"/>
                <a:gd name="T3" fmla="*/ 28 h 43"/>
                <a:gd name="T4" fmla="*/ 30 w 37"/>
                <a:gd name="T5" fmla="*/ 26 h 43"/>
                <a:gd name="T6" fmla="*/ 32 w 37"/>
                <a:gd name="T7" fmla="*/ 24 h 43"/>
                <a:gd name="T8" fmla="*/ 33 w 37"/>
                <a:gd name="T9" fmla="*/ 12 h 43"/>
                <a:gd name="T10" fmla="*/ 35 w 37"/>
                <a:gd name="T11" fmla="*/ 10 h 43"/>
                <a:gd name="T12" fmla="*/ 33 w 37"/>
                <a:gd name="T13" fmla="*/ 2 h 43"/>
                <a:gd name="T14" fmla="*/ 25 w 37"/>
                <a:gd name="T15" fmla="*/ 3 h 43"/>
                <a:gd name="T16" fmla="*/ 24 w 37"/>
                <a:gd name="T17" fmla="*/ 5 h 43"/>
                <a:gd name="T18" fmla="*/ 13 w 37"/>
                <a:gd name="T19" fmla="*/ 9 h 43"/>
                <a:gd name="T20" fmla="*/ 11 w 37"/>
                <a:gd name="T21" fmla="*/ 11 h 43"/>
                <a:gd name="T22" fmla="*/ 10 w 37"/>
                <a:gd name="T23" fmla="*/ 13 h 43"/>
                <a:gd name="T24" fmla="*/ 7 w 37"/>
                <a:gd name="T25" fmla="*/ 14 h 43"/>
                <a:gd name="T26" fmla="*/ 7 w 37"/>
                <a:gd name="T27" fmla="*/ 16 h 43"/>
                <a:gd name="T28" fmla="*/ 5 w 37"/>
                <a:gd name="T29" fmla="*/ 20 h 43"/>
                <a:gd name="T30" fmla="*/ 3 w 37"/>
                <a:gd name="T31" fmla="*/ 24 h 43"/>
                <a:gd name="T32" fmla="*/ 3 w 37"/>
                <a:gd name="T33" fmla="*/ 24 h 43"/>
                <a:gd name="T34" fmla="*/ 7 w 37"/>
                <a:gd name="T35" fmla="*/ 20 h 43"/>
                <a:gd name="T36" fmla="*/ 7 w 37"/>
                <a:gd name="T37" fmla="*/ 28 h 43"/>
                <a:gd name="T38" fmla="*/ 5 w 37"/>
                <a:gd name="T39" fmla="*/ 30 h 43"/>
                <a:gd name="T40" fmla="*/ 3 w 37"/>
                <a:gd name="T41" fmla="*/ 29 h 43"/>
                <a:gd name="T42" fmla="*/ 4 w 37"/>
                <a:gd name="T43" fmla="*/ 40 h 43"/>
                <a:gd name="T44" fmla="*/ 16 w 37"/>
                <a:gd name="T45" fmla="*/ 39 h 43"/>
                <a:gd name="T46" fmla="*/ 14 w 37"/>
                <a:gd name="T47" fmla="*/ 37 h 43"/>
                <a:gd name="T48" fmla="*/ 16 w 37"/>
                <a:gd name="T49" fmla="*/ 34 h 43"/>
                <a:gd name="T50" fmla="*/ 24 w 37"/>
                <a:gd name="T51" fmla="*/ 32 h 43"/>
                <a:gd name="T52" fmla="*/ 20 w 37"/>
                <a:gd name="T53" fmla="*/ 37 h 43"/>
                <a:gd name="T54" fmla="*/ 20 w 37"/>
                <a:gd name="T55" fmla="*/ 37 h 43"/>
                <a:gd name="T56" fmla="*/ 24 w 37"/>
                <a:gd name="T57" fmla="*/ 34 h 43"/>
                <a:gd name="T58" fmla="*/ 27 w 37"/>
                <a:gd name="T59" fmla="*/ 31 h 43"/>
                <a:gd name="T60" fmla="*/ 29 w 37"/>
                <a:gd name="T61" fmla="*/ 3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7" h="43">
                  <a:moveTo>
                    <a:pt x="29" y="30"/>
                  </a:moveTo>
                  <a:cubicBezTo>
                    <a:pt x="29" y="30"/>
                    <a:pt x="29" y="29"/>
                    <a:pt x="29" y="28"/>
                  </a:cubicBezTo>
                  <a:cubicBezTo>
                    <a:pt x="30" y="26"/>
                    <a:pt x="30" y="26"/>
                    <a:pt x="30" y="26"/>
                  </a:cubicBezTo>
                  <a:cubicBezTo>
                    <a:pt x="32" y="24"/>
                    <a:pt x="32" y="24"/>
                    <a:pt x="32" y="24"/>
                  </a:cubicBezTo>
                  <a:cubicBezTo>
                    <a:pt x="35" y="20"/>
                    <a:pt x="35" y="16"/>
                    <a:pt x="33" y="12"/>
                  </a:cubicBezTo>
                  <a:cubicBezTo>
                    <a:pt x="34" y="11"/>
                    <a:pt x="34" y="11"/>
                    <a:pt x="35" y="10"/>
                  </a:cubicBezTo>
                  <a:cubicBezTo>
                    <a:pt x="37" y="8"/>
                    <a:pt x="36" y="4"/>
                    <a:pt x="33" y="2"/>
                  </a:cubicBezTo>
                  <a:cubicBezTo>
                    <a:pt x="31" y="0"/>
                    <a:pt x="27" y="1"/>
                    <a:pt x="25" y="3"/>
                  </a:cubicBezTo>
                  <a:cubicBezTo>
                    <a:pt x="25" y="4"/>
                    <a:pt x="25" y="4"/>
                    <a:pt x="24" y="5"/>
                  </a:cubicBezTo>
                  <a:cubicBezTo>
                    <a:pt x="20" y="4"/>
                    <a:pt x="15" y="6"/>
                    <a:pt x="13" y="9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9" y="13"/>
                    <a:pt x="8" y="13"/>
                    <a:pt x="7" y="14"/>
                  </a:cubicBezTo>
                  <a:cubicBezTo>
                    <a:pt x="7" y="15"/>
                    <a:pt x="7" y="16"/>
                    <a:pt x="7" y="16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4" y="21"/>
                    <a:pt x="3" y="22"/>
                    <a:pt x="3" y="24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7" y="20"/>
                    <a:pt x="7" y="20"/>
                    <a:pt x="7" y="20"/>
                  </a:cubicBezTo>
                  <a:cubicBezTo>
                    <a:pt x="6" y="22"/>
                    <a:pt x="6" y="25"/>
                    <a:pt x="7" y="28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0" y="32"/>
                    <a:pt x="1" y="38"/>
                    <a:pt x="4" y="40"/>
                  </a:cubicBezTo>
                  <a:cubicBezTo>
                    <a:pt x="8" y="43"/>
                    <a:pt x="13" y="42"/>
                    <a:pt x="16" y="39"/>
                  </a:cubicBezTo>
                  <a:cubicBezTo>
                    <a:pt x="14" y="37"/>
                    <a:pt x="14" y="37"/>
                    <a:pt x="14" y="37"/>
                  </a:cubicBezTo>
                  <a:cubicBezTo>
                    <a:pt x="16" y="34"/>
                    <a:pt x="16" y="34"/>
                    <a:pt x="16" y="34"/>
                  </a:cubicBezTo>
                  <a:cubicBezTo>
                    <a:pt x="19" y="35"/>
                    <a:pt x="21" y="34"/>
                    <a:pt x="24" y="32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2" y="37"/>
                    <a:pt x="23" y="36"/>
                    <a:pt x="24" y="34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7" y="31"/>
                    <a:pt x="28" y="31"/>
                    <a:pt x="29" y="3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90" name="Freeform 186"/>
            <p:cNvSpPr>
              <a:spLocks/>
            </p:cNvSpPr>
            <p:nvPr userDrawn="1"/>
          </p:nvSpPr>
          <p:spPr bwMode="auto">
            <a:xfrm>
              <a:off x="8005764" y="4304348"/>
              <a:ext cx="90488" cy="106363"/>
            </a:xfrm>
            <a:custGeom>
              <a:avLst/>
              <a:gdLst>
                <a:gd name="T0" fmla="*/ 40 w 61"/>
                <a:gd name="T1" fmla="*/ 55 h 72"/>
                <a:gd name="T2" fmla="*/ 0 w 61"/>
                <a:gd name="T3" fmla="*/ 72 h 72"/>
                <a:gd name="T4" fmla="*/ 6 w 61"/>
                <a:gd name="T5" fmla="*/ 28 h 72"/>
                <a:gd name="T6" fmla="*/ 45 w 61"/>
                <a:gd name="T7" fmla="*/ 12 h 72"/>
                <a:gd name="T8" fmla="*/ 46 w 61"/>
                <a:gd name="T9" fmla="*/ 12 h 72"/>
                <a:gd name="T10" fmla="*/ 40 w 61"/>
                <a:gd name="T11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1" h="72">
                  <a:moveTo>
                    <a:pt x="40" y="55"/>
                  </a:moveTo>
                  <a:cubicBezTo>
                    <a:pt x="0" y="72"/>
                    <a:pt x="0" y="72"/>
                    <a:pt x="0" y="72"/>
                  </a:cubicBezTo>
                  <a:cubicBezTo>
                    <a:pt x="6" y="28"/>
                    <a:pt x="6" y="28"/>
                    <a:pt x="6" y="28"/>
                  </a:cubicBezTo>
                  <a:cubicBezTo>
                    <a:pt x="8" y="9"/>
                    <a:pt x="30" y="0"/>
                    <a:pt x="45" y="12"/>
                  </a:cubicBezTo>
                  <a:cubicBezTo>
                    <a:pt x="46" y="12"/>
                    <a:pt x="46" y="12"/>
                    <a:pt x="46" y="12"/>
                  </a:cubicBezTo>
                  <a:cubicBezTo>
                    <a:pt x="61" y="24"/>
                    <a:pt x="58" y="47"/>
                    <a:pt x="40" y="55"/>
                  </a:cubicBezTo>
                  <a:close/>
                </a:path>
              </a:pathLst>
            </a:custGeom>
            <a:solidFill>
              <a:srgbClr val="40C5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91" name="Freeform 187"/>
            <p:cNvSpPr>
              <a:spLocks/>
            </p:cNvSpPr>
            <p:nvPr userDrawn="1"/>
          </p:nvSpPr>
          <p:spPr bwMode="auto">
            <a:xfrm>
              <a:off x="7893052" y="4282123"/>
              <a:ext cx="90488" cy="106363"/>
            </a:xfrm>
            <a:custGeom>
              <a:avLst/>
              <a:gdLst>
                <a:gd name="T0" fmla="*/ 40 w 61"/>
                <a:gd name="T1" fmla="*/ 55 h 72"/>
                <a:gd name="T2" fmla="*/ 0 w 61"/>
                <a:gd name="T3" fmla="*/ 72 h 72"/>
                <a:gd name="T4" fmla="*/ 6 w 61"/>
                <a:gd name="T5" fmla="*/ 29 h 72"/>
                <a:gd name="T6" fmla="*/ 45 w 61"/>
                <a:gd name="T7" fmla="*/ 12 h 72"/>
                <a:gd name="T8" fmla="*/ 46 w 61"/>
                <a:gd name="T9" fmla="*/ 13 h 72"/>
                <a:gd name="T10" fmla="*/ 40 w 61"/>
                <a:gd name="T11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1" h="72">
                  <a:moveTo>
                    <a:pt x="40" y="55"/>
                  </a:moveTo>
                  <a:cubicBezTo>
                    <a:pt x="0" y="72"/>
                    <a:pt x="0" y="72"/>
                    <a:pt x="0" y="72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8" y="10"/>
                    <a:pt x="30" y="0"/>
                    <a:pt x="45" y="12"/>
                  </a:cubicBezTo>
                  <a:cubicBezTo>
                    <a:pt x="46" y="13"/>
                    <a:pt x="46" y="13"/>
                    <a:pt x="46" y="13"/>
                  </a:cubicBezTo>
                  <a:cubicBezTo>
                    <a:pt x="61" y="24"/>
                    <a:pt x="58" y="48"/>
                    <a:pt x="40" y="55"/>
                  </a:cubicBezTo>
                  <a:close/>
                </a:path>
              </a:pathLst>
            </a:custGeom>
            <a:solidFill>
              <a:srgbClr val="0078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92" name="Freeform 188"/>
            <p:cNvSpPr>
              <a:spLocks/>
            </p:cNvSpPr>
            <p:nvPr userDrawn="1"/>
          </p:nvSpPr>
          <p:spPr bwMode="auto">
            <a:xfrm>
              <a:off x="8018464" y="4324985"/>
              <a:ext cx="58738" cy="63500"/>
            </a:xfrm>
            <a:custGeom>
              <a:avLst/>
              <a:gdLst>
                <a:gd name="T0" fmla="*/ 30 w 39"/>
                <a:gd name="T1" fmla="*/ 29 h 43"/>
                <a:gd name="T2" fmla="*/ 31 w 39"/>
                <a:gd name="T3" fmla="*/ 27 h 43"/>
                <a:gd name="T4" fmla="*/ 34 w 39"/>
                <a:gd name="T5" fmla="*/ 23 h 43"/>
                <a:gd name="T6" fmla="*/ 32 w 39"/>
                <a:gd name="T7" fmla="*/ 5 h 43"/>
                <a:gd name="T8" fmla="*/ 31 w 39"/>
                <a:gd name="T9" fmla="*/ 4 h 43"/>
                <a:gd name="T10" fmla="*/ 13 w 39"/>
                <a:gd name="T11" fmla="*/ 7 h 43"/>
                <a:gd name="T12" fmla="*/ 10 w 39"/>
                <a:gd name="T13" fmla="*/ 11 h 43"/>
                <a:gd name="T14" fmla="*/ 8 w 39"/>
                <a:gd name="T15" fmla="*/ 12 h 43"/>
                <a:gd name="T16" fmla="*/ 8 w 39"/>
                <a:gd name="T17" fmla="*/ 14 h 43"/>
                <a:gd name="T18" fmla="*/ 1 w 39"/>
                <a:gd name="T19" fmla="*/ 23 h 43"/>
                <a:gd name="T20" fmla="*/ 1 w 39"/>
                <a:gd name="T21" fmla="*/ 23 h 43"/>
                <a:gd name="T22" fmla="*/ 7 w 39"/>
                <a:gd name="T23" fmla="*/ 26 h 43"/>
                <a:gd name="T24" fmla="*/ 8 w 39"/>
                <a:gd name="T25" fmla="*/ 26 h 43"/>
                <a:gd name="T26" fmla="*/ 5 w 39"/>
                <a:gd name="T27" fmla="*/ 29 h 43"/>
                <a:gd name="T28" fmla="*/ 3 w 39"/>
                <a:gd name="T29" fmla="*/ 27 h 43"/>
                <a:gd name="T30" fmla="*/ 5 w 39"/>
                <a:gd name="T31" fmla="*/ 40 h 43"/>
                <a:gd name="T32" fmla="*/ 17 w 39"/>
                <a:gd name="T33" fmla="*/ 38 h 43"/>
                <a:gd name="T34" fmla="*/ 15 w 39"/>
                <a:gd name="T35" fmla="*/ 36 h 43"/>
                <a:gd name="T36" fmla="*/ 17 w 39"/>
                <a:gd name="T37" fmla="*/ 33 h 43"/>
                <a:gd name="T38" fmla="*/ 18 w 39"/>
                <a:gd name="T39" fmla="*/ 33 h 43"/>
                <a:gd name="T40" fmla="*/ 22 w 39"/>
                <a:gd name="T41" fmla="*/ 39 h 43"/>
                <a:gd name="T42" fmla="*/ 22 w 39"/>
                <a:gd name="T43" fmla="*/ 39 h 43"/>
                <a:gd name="T44" fmla="*/ 29 w 39"/>
                <a:gd name="T45" fmla="*/ 30 h 43"/>
                <a:gd name="T46" fmla="*/ 30 w 39"/>
                <a:gd name="T47" fmla="*/ 29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9" h="43">
                  <a:moveTo>
                    <a:pt x="30" y="29"/>
                  </a:moveTo>
                  <a:cubicBezTo>
                    <a:pt x="31" y="29"/>
                    <a:pt x="31" y="28"/>
                    <a:pt x="31" y="27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9" y="17"/>
                    <a:pt x="37" y="9"/>
                    <a:pt x="32" y="5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26" y="0"/>
                    <a:pt x="17" y="1"/>
                    <a:pt x="13" y="7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9" y="11"/>
                    <a:pt x="8" y="12"/>
                    <a:pt x="8" y="12"/>
                  </a:cubicBezTo>
                  <a:cubicBezTo>
                    <a:pt x="8" y="13"/>
                    <a:pt x="7" y="13"/>
                    <a:pt x="8" y="14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3" y="24"/>
                    <a:pt x="5" y="25"/>
                    <a:pt x="7" y="26"/>
                  </a:cubicBezTo>
                  <a:cubicBezTo>
                    <a:pt x="8" y="26"/>
                    <a:pt x="8" y="26"/>
                    <a:pt x="8" y="26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0" y="31"/>
                    <a:pt x="1" y="37"/>
                    <a:pt x="5" y="40"/>
                  </a:cubicBezTo>
                  <a:cubicBezTo>
                    <a:pt x="8" y="43"/>
                    <a:pt x="14" y="42"/>
                    <a:pt x="17" y="38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8" y="33"/>
                    <a:pt x="18" y="33"/>
                    <a:pt x="18" y="33"/>
                  </a:cubicBezTo>
                  <a:cubicBezTo>
                    <a:pt x="18" y="35"/>
                    <a:pt x="20" y="37"/>
                    <a:pt x="22" y="39"/>
                  </a:cubicBezTo>
                  <a:cubicBezTo>
                    <a:pt x="22" y="39"/>
                    <a:pt x="22" y="39"/>
                    <a:pt x="22" y="39"/>
                  </a:cubicBezTo>
                  <a:cubicBezTo>
                    <a:pt x="29" y="30"/>
                    <a:pt x="29" y="30"/>
                    <a:pt x="29" y="30"/>
                  </a:cubicBezTo>
                  <a:cubicBezTo>
                    <a:pt x="29" y="30"/>
                    <a:pt x="30" y="30"/>
                    <a:pt x="30" y="2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93" name="Freeform 189"/>
            <p:cNvSpPr>
              <a:spLocks/>
            </p:cNvSpPr>
            <p:nvPr userDrawn="1"/>
          </p:nvSpPr>
          <p:spPr bwMode="auto">
            <a:xfrm>
              <a:off x="8081964" y="4175760"/>
              <a:ext cx="106363" cy="84138"/>
            </a:xfrm>
            <a:custGeom>
              <a:avLst/>
              <a:gdLst>
                <a:gd name="T0" fmla="*/ 64 w 67"/>
                <a:gd name="T1" fmla="*/ 53 h 53"/>
                <a:gd name="T2" fmla="*/ 0 w 67"/>
                <a:gd name="T3" fmla="*/ 4 h 53"/>
                <a:gd name="T4" fmla="*/ 3 w 67"/>
                <a:gd name="T5" fmla="*/ 0 h 53"/>
                <a:gd name="T6" fmla="*/ 67 w 67"/>
                <a:gd name="T7" fmla="*/ 49 h 53"/>
                <a:gd name="T8" fmla="*/ 64 w 67"/>
                <a:gd name="T9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53">
                  <a:moveTo>
                    <a:pt x="64" y="53"/>
                  </a:moveTo>
                  <a:lnTo>
                    <a:pt x="0" y="4"/>
                  </a:lnTo>
                  <a:lnTo>
                    <a:pt x="3" y="0"/>
                  </a:lnTo>
                  <a:lnTo>
                    <a:pt x="67" y="49"/>
                  </a:lnTo>
                  <a:lnTo>
                    <a:pt x="64" y="5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94" name="Freeform 190"/>
            <p:cNvSpPr>
              <a:spLocks/>
            </p:cNvSpPr>
            <p:nvPr userDrawn="1"/>
          </p:nvSpPr>
          <p:spPr bwMode="auto">
            <a:xfrm>
              <a:off x="8018464" y="4128135"/>
              <a:ext cx="25400" cy="22225"/>
            </a:xfrm>
            <a:custGeom>
              <a:avLst/>
              <a:gdLst>
                <a:gd name="T0" fmla="*/ 13 w 16"/>
                <a:gd name="T1" fmla="*/ 14 h 14"/>
                <a:gd name="T2" fmla="*/ 0 w 16"/>
                <a:gd name="T3" fmla="*/ 4 h 14"/>
                <a:gd name="T4" fmla="*/ 3 w 16"/>
                <a:gd name="T5" fmla="*/ 0 h 14"/>
                <a:gd name="T6" fmla="*/ 16 w 16"/>
                <a:gd name="T7" fmla="*/ 10 h 14"/>
                <a:gd name="T8" fmla="*/ 13 w 16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4">
                  <a:moveTo>
                    <a:pt x="13" y="14"/>
                  </a:moveTo>
                  <a:lnTo>
                    <a:pt x="0" y="4"/>
                  </a:lnTo>
                  <a:lnTo>
                    <a:pt x="3" y="0"/>
                  </a:lnTo>
                  <a:lnTo>
                    <a:pt x="16" y="10"/>
                  </a:lnTo>
                  <a:lnTo>
                    <a:pt x="13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95" name="Freeform 191"/>
            <p:cNvSpPr>
              <a:spLocks/>
            </p:cNvSpPr>
            <p:nvPr userDrawn="1"/>
          </p:nvSpPr>
          <p:spPr bwMode="auto">
            <a:xfrm>
              <a:off x="8050214" y="4151948"/>
              <a:ext cx="25400" cy="22225"/>
            </a:xfrm>
            <a:custGeom>
              <a:avLst/>
              <a:gdLst>
                <a:gd name="T0" fmla="*/ 13 w 16"/>
                <a:gd name="T1" fmla="*/ 14 h 14"/>
                <a:gd name="T2" fmla="*/ 0 w 16"/>
                <a:gd name="T3" fmla="*/ 4 h 14"/>
                <a:gd name="T4" fmla="*/ 3 w 16"/>
                <a:gd name="T5" fmla="*/ 0 h 14"/>
                <a:gd name="T6" fmla="*/ 16 w 16"/>
                <a:gd name="T7" fmla="*/ 10 h 14"/>
                <a:gd name="T8" fmla="*/ 13 w 16"/>
                <a:gd name="T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4">
                  <a:moveTo>
                    <a:pt x="13" y="14"/>
                  </a:moveTo>
                  <a:lnTo>
                    <a:pt x="0" y="4"/>
                  </a:lnTo>
                  <a:lnTo>
                    <a:pt x="3" y="0"/>
                  </a:lnTo>
                  <a:lnTo>
                    <a:pt x="16" y="10"/>
                  </a:lnTo>
                  <a:lnTo>
                    <a:pt x="13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96" name="Freeform 192"/>
            <p:cNvSpPr>
              <a:spLocks/>
            </p:cNvSpPr>
            <p:nvPr userDrawn="1"/>
          </p:nvSpPr>
          <p:spPr bwMode="auto">
            <a:xfrm>
              <a:off x="7904164" y="4302760"/>
              <a:ext cx="60325" cy="66675"/>
            </a:xfrm>
            <a:custGeom>
              <a:avLst/>
              <a:gdLst>
                <a:gd name="T0" fmla="*/ 31 w 40"/>
                <a:gd name="T1" fmla="*/ 33 h 45"/>
                <a:gd name="T2" fmla="*/ 31 w 40"/>
                <a:gd name="T3" fmla="*/ 31 h 45"/>
                <a:gd name="T4" fmla="*/ 35 w 40"/>
                <a:gd name="T5" fmla="*/ 26 h 45"/>
                <a:gd name="T6" fmla="*/ 32 w 40"/>
                <a:gd name="T7" fmla="*/ 5 h 45"/>
                <a:gd name="T8" fmla="*/ 32 w 40"/>
                <a:gd name="T9" fmla="*/ 5 h 45"/>
                <a:gd name="T10" fmla="*/ 12 w 40"/>
                <a:gd name="T11" fmla="*/ 8 h 45"/>
                <a:gd name="T12" fmla="*/ 8 w 40"/>
                <a:gd name="T13" fmla="*/ 13 h 45"/>
                <a:gd name="T14" fmla="*/ 6 w 40"/>
                <a:gd name="T15" fmla="*/ 14 h 45"/>
                <a:gd name="T16" fmla="*/ 7 w 40"/>
                <a:gd name="T17" fmla="*/ 18 h 45"/>
                <a:gd name="T18" fmla="*/ 6 w 40"/>
                <a:gd name="T19" fmla="*/ 18 h 45"/>
                <a:gd name="T20" fmla="*/ 4 w 40"/>
                <a:gd name="T21" fmla="*/ 30 h 45"/>
                <a:gd name="T22" fmla="*/ 2 w 40"/>
                <a:gd name="T23" fmla="*/ 32 h 45"/>
                <a:gd name="T24" fmla="*/ 4 w 40"/>
                <a:gd name="T25" fmla="*/ 43 h 45"/>
                <a:gd name="T26" fmla="*/ 4 w 40"/>
                <a:gd name="T27" fmla="*/ 43 h 45"/>
                <a:gd name="T28" fmla="*/ 15 w 40"/>
                <a:gd name="T29" fmla="*/ 41 h 45"/>
                <a:gd name="T30" fmla="*/ 16 w 40"/>
                <a:gd name="T31" fmla="*/ 39 h 45"/>
                <a:gd name="T32" fmla="*/ 27 w 40"/>
                <a:gd name="T33" fmla="*/ 34 h 45"/>
                <a:gd name="T34" fmla="*/ 27 w 40"/>
                <a:gd name="T35" fmla="*/ 33 h 45"/>
                <a:gd name="T36" fmla="*/ 31 w 40"/>
                <a:gd name="T37" fmla="*/ 3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0" h="45">
                  <a:moveTo>
                    <a:pt x="31" y="33"/>
                  </a:moveTo>
                  <a:cubicBezTo>
                    <a:pt x="31" y="32"/>
                    <a:pt x="32" y="31"/>
                    <a:pt x="31" y="31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40" y="19"/>
                    <a:pt x="39" y="10"/>
                    <a:pt x="32" y="5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26" y="0"/>
                    <a:pt x="17" y="2"/>
                    <a:pt x="12" y="8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7" y="13"/>
                    <a:pt x="7" y="13"/>
                    <a:pt x="6" y="14"/>
                  </a:cubicBezTo>
                  <a:cubicBezTo>
                    <a:pt x="5" y="15"/>
                    <a:pt x="6" y="17"/>
                    <a:pt x="7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4" y="21"/>
                    <a:pt x="3" y="26"/>
                    <a:pt x="4" y="30"/>
                  </a:cubicBezTo>
                  <a:cubicBezTo>
                    <a:pt x="2" y="32"/>
                    <a:pt x="2" y="32"/>
                    <a:pt x="2" y="32"/>
                  </a:cubicBezTo>
                  <a:cubicBezTo>
                    <a:pt x="0" y="35"/>
                    <a:pt x="0" y="40"/>
                    <a:pt x="4" y="43"/>
                  </a:cubicBezTo>
                  <a:cubicBezTo>
                    <a:pt x="4" y="43"/>
                    <a:pt x="4" y="43"/>
                    <a:pt x="4" y="43"/>
                  </a:cubicBezTo>
                  <a:cubicBezTo>
                    <a:pt x="7" y="45"/>
                    <a:pt x="12" y="45"/>
                    <a:pt x="15" y="41"/>
                  </a:cubicBezTo>
                  <a:cubicBezTo>
                    <a:pt x="16" y="39"/>
                    <a:pt x="16" y="39"/>
                    <a:pt x="16" y="39"/>
                  </a:cubicBezTo>
                  <a:cubicBezTo>
                    <a:pt x="20" y="39"/>
                    <a:pt x="24" y="37"/>
                    <a:pt x="27" y="34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8" y="34"/>
                    <a:pt x="30" y="34"/>
                    <a:pt x="31" y="3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97" name="Freeform 193"/>
            <p:cNvSpPr>
              <a:spLocks/>
            </p:cNvSpPr>
            <p:nvPr userDrawn="1"/>
          </p:nvSpPr>
          <p:spPr bwMode="auto">
            <a:xfrm>
              <a:off x="7773989" y="4212273"/>
              <a:ext cx="379413" cy="277813"/>
            </a:xfrm>
            <a:custGeom>
              <a:avLst/>
              <a:gdLst>
                <a:gd name="T0" fmla="*/ 246 w 254"/>
                <a:gd name="T1" fmla="*/ 131 h 187"/>
                <a:gd name="T2" fmla="*/ 232 w 254"/>
                <a:gd name="T3" fmla="*/ 124 h 187"/>
                <a:gd name="T4" fmla="*/ 212 w 254"/>
                <a:gd name="T5" fmla="*/ 110 h 187"/>
                <a:gd name="T6" fmla="*/ 238 w 254"/>
                <a:gd name="T7" fmla="*/ 108 h 187"/>
                <a:gd name="T8" fmla="*/ 246 w 254"/>
                <a:gd name="T9" fmla="*/ 88 h 187"/>
                <a:gd name="T10" fmla="*/ 188 w 254"/>
                <a:gd name="T11" fmla="*/ 90 h 187"/>
                <a:gd name="T12" fmla="*/ 184 w 254"/>
                <a:gd name="T13" fmla="*/ 92 h 187"/>
                <a:gd name="T14" fmla="*/ 184 w 254"/>
                <a:gd name="T15" fmla="*/ 91 h 187"/>
                <a:gd name="T16" fmla="*/ 81 w 254"/>
                <a:gd name="T17" fmla="*/ 0 h 187"/>
                <a:gd name="T18" fmla="*/ 3 w 254"/>
                <a:gd name="T19" fmla="*/ 0 h 187"/>
                <a:gd name="T20" fmla="*/ 2 w 254"/>
                <a:gd name="T21" fmla="*/ 2 h 187"/>
                <a:gd name="T22" fmla="*/ 23 w 254"/>
                <a:gd name="T23" fmla="*/ 53 h 187"/>
                <a:gd name="T24" fmla="*/ 149 w 254"/>
                <a:gd name="T25" fmla="*/ 136 h 187"/>
                <a:gd name="T26" fmla="*/ 185 w 254"/>
                <a:gd name="T27" fmla="*/ 174 h 187"/>
                <a:gd name="T28" fmla="*/ 205 w 254"/>
                <a:gd name="T29" fmla="*/ 184 h 187"/>
                <a:gd name="T30" fmla="*/ 219 w 254"/>
                <a:gd name="T31" fmla="*/ 180 h 187"/>
                <a:gd name="T32" fmla="*/ 220 w 254"/>
                <a:gd name="T33" fmla="*/ 174 h 187"/>
                <a:gd name="T34" fmla="*/ 232 w 254"/>
                <a:gd name="T35" fmla="*/ 170 h 187"/>
                <a:gd name="T36" fmla="*/ 233 w 254"/>
                <a:gd name="T37" fmla="*/ 164 h 187"/>
                <a:gd name="T38" fmla="*/ 233 w 254"/>
                <a:gd name="T39" fmla="*/ 164 h 187"/>
                <a:gd name="T40" fmla="*/ 247 w 254"/>
                <a:gd name="T41" fmla="*/ 159 h 187"/>
                <a:gd name="T42" fmla="*/ 246 w 254"/>
                <a:gd name="T43" fmla="*/ 149 h 187"/>
                <a:gd name="T44" fmla="*/ 250 w 254"/>
                <a:gd name="T45" fmla="*/ 144 h 187"/>
                <a:gd name="T46" fmla="*/ 246 w 254"/>
                <a:gd name="T47" fmla="*/ 131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54" h="187">
                  <a:moveTo>
                    <a:pt x="246" y="131"/>
                  </a:moveTo>
                  <a:cubicBezTo>
                    <a:pt x="232" y="124"/>
                    <a:pt x="232" y="124"/>
                    <a:pt x="232" y="124"/>
                  </a:cubicBezTo>
                  <a:cubicBezTo>
                    <a:pt x="212" y="110"/>
                    <a:pt x="212" y="110"/>
                    <a:pt x="212" y="110"/>
                  </a:cubicBezTo>
                  <a:cubicBezTo>
                    <a:pt x="238" y="108"/>
                    <a:pt x="238" y="108"/>
                    <a:pt x="238" y="108"/>
                  </a:cubicBezTo>
                  <a:cubicBezTo>
                    <a:pt x="238" y="108"/>
                    <a:pt x="254" y="100"/>
                    <a:pt x="246" y="88"/>
                  </a:cubicBezTo>
                  <a:cubicBezTo>
                    <a:pt x="201" y="93"/>
                    <a:pt x="203" y="87"/>
                    <a:pt x="188" y="90"/>
                  </a:cubicBezTo>
                  <a:cubicBezTo>
                    <a:pt x="186" y="91"/>
                    <a:pt x="185" y="91"/>
                    <a:pt x="184" y="92"/>
                  </a:cubicBezTo>
                  <a:cubicBezTo>
                    <a:pt x="184" y="91"/>
                    <a:pt x="184" y="91"/>
                    <a:pt x="184" y="91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0" y="21"/>
                    <a:pt x="8" y="40"/>
                    <a:pt x="23" y="53"/>
                  </a:cubicBezTo>
                  <a:cubicBezTo>
                    <a:pt x="149" y="136"/>
                    <a:pt x="149" y="136"/>
                    <a:pt x="149" y="136"/>
                  </a:cubicBezTo>
                  <a:cubicBezTo>
                    <a:pt x="185" y="174"/>
                    <a:pt x="185" y="174"/>
                    <a:pt x="185" y="174"/>
                  </a:cubicBezTo>
                  <a:cubicBezTo>
                    <a:pt x="205" y="184"/>
                    <a:pt x="205" y="184"/>
                    <a:pt x="205" y="184"/>
                  </a:cubicBezTo>
                  <a:cubicBezTo>
                    <a:pt x="210" y="187"/>
                    <a:pt x="216" y="185"/>
                    <a:pt x="219" y="180"/>
                  </a:cubicBezTo>
                  <a:cubicBezTo>
                    <a:pt x="220" y="178"/>
                    <a:pt x="220" y="176"/>
                    <a:pt x="220" y="174"/>
                  </a:cubicBezTo>
                  <a:cubicBezTo>
                    <a:pt x="225" y="176"/>
                    <a:pt x="230" y="174"/>
                    <a:pt x="232" y="170"/>
                  </a:cubicBezTo>
                  <a:cubicBezTo>
                    <a:pt x="233" y="168"/>
                    <a:pt x="233" y="166"/>
                    <a:pt x="233" y="164"/>
                  </a:cubicBezTo>
                  <a:cubicBezTo>
                    <a:pt x="233" y="164"/>
                    <a:pt x="233" y="164"/>
                    <a:pt x="233" y="164"/>
                  </a:cubicBezTo>
                  <a:cubicBezTo>
                    <a:pt x="238" y="166"/>
                    <a:pt x="244" y="164"/>
                    <a:pt x="247" y="159"/>
                  </a:cubicBezTo>
                  <a:cubicBezTo>
                    <a:pt x="249" y="156"/>
                    <a:pt x="248" y="152"/>
                    <a:pt x="246" y="149"/>
                  </a:cubicBezTo>
                  <a:cubicBezTo>
                    <a:pt x="248" y="148"/>
                    <a:pt x="249" y="146"/>
                    <a:pt x="250" y="144"/>
                  </a:cubicBezTo>
                  <a:cubicBezTo>
                    <a:pt x="253" y="139"/>
                    <a:pt x="251" y="133"/>
                    <a:pt x="246" y="131"/>
                  </a:cubicBezTo>
                  <a:close/>
                </a:path>
              </a:pathLst>
            </a:custGeom>
            <a:solidFill>
              <a:srgbClr val="A067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98" name="Freeform 194"/>
            <p:cNvSpPr>
              <a:spLocks/>
            </p:cNvSpPr>
            <p:nvPr userDrawn="1"/>
          </p:nvSpPr>
          <p:spPr bwMode="auto">
            <a:xfrm>
              <a:off x="7773989" y="4212273"/>
              <a:ext cx="328613" cy="277813"/>
            </a:xfrm>
            <a:custGeom>
              <a:avLst/>
              <a:gdLst>
                <a:gd name="T0" fmla="*/ 158 w 220"/>
                <a:gd name="T1" fmla="*/ 124 h 187"/>
                <a:gd name="T2" fmla="*/ 46 w 220"/>
                <a:gd name="T3" fmla="*/ 48 h 187"/>
                <a:gd name="T4" fmla="*/ 24 w 220"/>
                <a:gd name="T5" fmla="*/ 0 h 187"/>
                <a:gd name="T6" fmla="*/ 3 w 220"/>
                <a:gd name="T7" fmla="*/ 0 h 187"/>
                <a:gd name="T8" fmla="*/ 2 w 220"/>
                <a:gd name="T9" fmla="*/ 2 h 187"/>
                <a:gd name="T10" fmla="*/ 23 w 220"/>
                <a:gd name="T11" fmla="*/ 53 h 187"/>
                <a:gd name="T12" fmla="*/ 149 w 220"/>
                <a:gd name="T13" fmla="*/ 136 h 187"/>
                <a:gd name="T14" fmla="*/ 185 w 220"/>
                <a:gd name="T15" fmla="*/ 174 h 187"/>
                <a:gd name="T16" fmla="*/ 205 w 220"/>
                <a:gd name="T17" fmla="*/ 184 h 187"/>
                <a:gd name="T18" fmla="*/ 219 w 220"/>
                <a:gd name="T19" fmla="*/ 180 h 187"/>
                <a:gd name="T20" fmla="*/ 220 w 220"/>
                <a:gd name="T21" fmla="*/ 174 h 187"/>
                <a:gd name="T22" fmla="*/ 158 w 220"/>
                <a:gd name="T23" fmla="*/ 124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0" h="187">
                  <a:moveTo>
                    <a:pt x="158" y="124"/>
                  </a:moveTo>
                  <a:cubicBezTo>
                    <a:pt x="113" y="94"/>
                    <a:pt x="62" y="60"/>
                    <a:pt x="46" y="48"/>
                  </a:cubicBezTo>
                  <a:cubicBezTo>
                    <a:pt x="19" y="28"/>
                    <a:pt x="24" y="0"/>
                    <a:pt x="2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0" y="21"/>
                    <a:pt x="8" y="40"/>
                    <a:pt x="23" y="53"/>
                  </a:cubicBezTo>
                  <a:cubicBezTo>
                    <a:pt x="149" y="136"/>
                    <a:pt x="149" y="136"/>
                    <a:pt x="149" y="136"/>
                  </a:cubicBezTo>
                  <a:cubicBezTo>
                    <a:pt x="185" y="174"/>
                    <a:pt x="185" y="174"/>
                    <a:pt x="185" y="174"/>
                  </a:cubicBezTo>
                  <a:cubicBezTo>
                    <a:pt x="205" y="184"/>
                    <a:pt x="205" y="184"/>
                    <a:pt x="205" y="184"/>
                  </a:cubicBezTo>
                  <a:cubicBezTo>
                    <a:pt x="210" y="187"/>
                    <a:pt x="216" y="185"/>
                    <a:pt x="219" y="180"/>
                  </a:cubicBezTo>
                  <a:cubicBezTo>
                    <a:pt x="220" y="178"/>
                    <a:pt x="220" y="176"/>
                    <a:pt x="220" y="174"/>
                  </a:cubicBezTo>
                  <a:lnTo>
                    <a:pt x="158" y="124"/>
                  </a:lnTo>
                  <a:close/>
                </a:path>
              </a:pathLst>
            </a:custGeom>
            <a:solidFill>
              <a:srgbClr val="915E3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99" name="Freeform 195"/>
            <p:cNvSpPr>
              <a:spLocks/>
            </p:cNvSpPr>
            <p:nvPr userDrawn="1"/>
          </p:nvSpPr>
          <p:spPr bwMode="auto">
            <a:xfrm>
              <a:off x="8447089" y="3956685"/>
              <a:ext cx="96838" cy="77788"/>
            </a:xfrm>
            <a:custGeom>
              <a:avLst/>
              <a:gdLst>
                <a:gd name="T0" fmla="*/ 14 w 65"/>
                <a:gd name="T1" fmla="*/ 0 h 53"/>
                <a:gd name="T2" fmla="*/ 4 w 65"/>
                <a:gd name="T3" fmla="*/ 16 h 53"/>
                <a:gd name="T4" fmla="*/ 5 w 65"/>
                <a:gd name="T5" fmla="*/ 30 h 53"/>
                <a:gd name="T6" fmla="*/ 11 w 65"/>
                <a:gd name="T7" fmla="*/ 33 h 53"/>
                <a:gd name="T8" fmla="*/ 15 w 65"/>
                <a:gd name="T9" fmla="*/ 43 h 53"/>
                <a:gd name="T10" fmla="*/ 29 w 65"/>
                <a:gd name="T11" fmla="*/ 41 h 53"/>
                <a:gd name="T12" fmla="*/ 29 w 65"/>
                <a:gd name="T13" fmla="*/ 41 h 53"/>
                <a:gd name="T14" fmla="*/ 32 w 65"/>
                <a:gd name="T15" fmla="*/ 46 h 53"/>
                <a:gd name="T16" fmla="*/ 46 w 65"/>
                <a:gd name="T17" fmla="*/ 45 h 53"/>
                <a:gd name="T18" fmla="*/ 49 w 65"/>
                <a:gd name="T19" fmla="*/ 50 h 53"/>
                <a:gd name="T20" fmla="*/ 62 w 65"/>
                <a:gd name="T21" fmla="*/ 48 h 53"/>
                <a:gd name="T22" fmla="*/ 65 w 65"/>
                <a:gd name="T23" fmla="*/ 43 h 53"/>
                <a:gd name="T24" fmla="*/ 14 w 65"/>
                <a:gd name="T25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53">
                  <a:moveTo>
                    <a:pt x="14" y="0"/>
                  </a:moveTo>
                  <a:cubicBezTo>
                    <a:pt x="4" y="16"/>
                    <a:pt x="4" y="16"/>
                    <a:pt x="4" y="16"/>
                  </a:cubicBezTo>
                  <a:cubicBezTo>
                    <a:pt x="0" y="20"/>
                    <a:pt x="1" y="27"/>
                    <a:pt x="5" y="30"/>
                  </a:cubicBezTo>
                  <a:cubicBezTo>
                    <a:pt x="7" y="32"/>
                    <a:pt x="9" y="33"/>
                    <a:pt x="11" y="33"/>
                  </a:cubicBezTo>
                  <a:cubicBezTo>
                    <a:pt x="11" y="36"/>
                    <a:pt x="12" y="40"/>
                    <a:pt x="15" y="43"/>
                  </a:cubicBezTo>
                  <a:cubicBezTo>
                    <a:pt x="19" y="46"/>
                    <a:pt x="25" y="45"/>
                    <a:pt x="29" y="41"/>
                  </a:cubicBezTo>
                  <a:cubicBezTo>
                    <a:pt x="29" y="41"/>
                    <a:pt x="29" y="41"/>
                    <a:pt x="29" y="41"/>
                  </a:cubicBezTo>
                  <a:cubicBezTo>
                    <a:pt x="30" y="43"/>
                    <a:pt x="31" y="45"/>
                    <a:pt x="32" y="46"/>
                  </a:cubicBezTo>
                  <a:cubicBezTo>
                    <a:pt x="36" y="49"/>
                    <a:pt x="42" y="49"/>
                    <a:pt x="46" y="45"/>
                  </a:cubicBezTo>
                  <a:cubicBezTo>
                    <a:pt x="46" y="47"/>
                    <a:pt x="47" y="49"/>
                    <a:pt x="49" y="50"/>
                  </a:cubicBezTo>
                  <a:cubicBezTo>
                    <a:pt x="53" y="53"/>
                    <a:pt x="58" y="53"/>
                    <a:pt x="62" y="48"/>
                  </a:cubicBezTo>
                  <a:cubicBezTo>
                    <a:pt x="65" y="43"/>
                    <a:pt x="65" y="43"/>
                    <a:pt x="65" y="43"/>
                  </a:cubicBezTo>
                  <a:lnTo>
                    <a:pt x="14" y="0"/>
                  </a:lnTo>
                  <a:close/>
                </a:path>
              </a:pathLst>
            </a:custGeom>
            <a:solidFill>
              <a:srgbClr val="A067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00" name="Freeform 196"/>
            <p:cNvSpPr>
              <a:spLocks/>
            </p:cNvSpPr>
            <p:nvPr userDrawn="1"/>
          </p:nvSpPr>
          <p:spPr bwMode="auto">
            <a:xfrm>
              <a:off x="10240964" y="3955098"/>
              <a:ext cx="34925" cy="47625"/>
            </a:xfrm>
            <a:custGeom>
              <a:avLst/>
              <a:gdLst>
                <a:gd name="T0" fmla="*/ 24 w 24"/>
                <a:gd name="T1" fmla="*/ 32 h 32"/>
                <a:gd name="T2" fmla="*/ 24 w 24"/>
                <a:gd name="T3" fmla="*/ 12 h 32"/>
                <a:gd name="T4" fmla="*/ 12 w 24"/>
                <a:gd name="T5" fmla="*/ 0 h 32"/>
                <a:gd name="T6" fmla="*/ 0 w 24"/>
                <a:gd name="T7" fmla="*/ 12 h 32"/>
                <a:gd name="T8" fmla="*/ 0 w 24"/>
                <a:gd name="T9" fmla="*/ 32 h 32"/>
                <a:gd name="T10" fmla="*/ 24 w 24"/>
                <a:gd name="T11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32">
                  <a:moveTo>
                    <a:pt x="24" y="32"/>
                  </a:moveTo>
                  <a:cubicBezTo>
                    <a:pt x="24" y="12"/>
                    <a:pt x="24" y="12"/>
                    <a:pt x="24" y="12"/>
                  </a:cubicBezTo>
                  <a:cubicBezTo>
                    <a:pt x="24" y="6"/>
                    <a:pt x="19" y="0"/>
                    <a:pt x="12" y="0"/>
                  </a:cubicBezTo>
                  <a:cubicBezTo>
                    <a:pt x="6" y="0"/>
                    <a:pt x="0" y="5"/>
                    <a:pt x="0" y="12"/>
                  </a:cubicBezTo>
                  <a:cubicBezTo>
                    <a:pt x="0" y="32"/>
                    <a:pt x="0" y="32"/>
                    <a:pt x="0" y="32"/>
                  </a:cubicBezTo>
                  <a:lnTo>
                    <a:pt x="24" y="32"/>
                  </a:lnTo>
                  <a:close/>
                </a:path>
              </a:pathLst>
            </a:custGeom>
            <a:solidFill>
              <a:srgbClr val="C498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01" name="Freeform 197"/>
            <p:cNvSpPr>
              <a:spLocks/>
            </p:cNvSpPr>
            <p:nvPr userDrawn="1"/>
          </p:nvSpPr>
          <p:spPr bwMode="auto">
            <a:xfrm>
              <a:off x="10275889" y="3940810"/>
              <a:ext cx="36513" cy="61913"/>
            </a:xfrm>
            <a:custGeom>
              <a:avLst/>
              <a:gdLst>
                <a:gd name="T0" fmla="*/ 24 w 24"/>
                <a:gd name="T1" fmla="*/ 41 h 41"/>
                <a:gd name="T2" fmla="*/ 24 w 24"/>
                <a:gd name="T3" fmla="*/ 12 h 41"/>
                <a:gd name="T4" fmla="*/ 12 w 24"/>
                <a:gd name="T5" fmla="*/ 0 h 41"/>
                <a:gd name="T6" fmla="*/ 0 w 24"/>
                <a:gd name="T7" fmla="*/ 12 h 41"/>
                <a:gd name="T8" fmla="*/ 0 w 24"/>
                <a:gd name="T9" fmla="*/ 41 h 41"/>
                <a:gd name="T10" fmla="*/ 24 w 24"/>
                <a:gd name="T1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41">
                  <a:moveTo>
                    <a:pt x="24" y="41"/>
                  </a:moveTo>
                  <a:cubicBezTo>
                    <a:pt x="24" y="12"/>
                    <a:pt x="24" y="12"/>
                    <a:pt x="24" y="12"/>
                  </a:cubicBezTo>
                  <a:cubicBezTo>
                    <a:pt x="24" y="6"/>
                    <a:pt x="19" y="0"/>
                    <a:pt x="12" y="0"/>
                  </a:cubicBezTo>
                  <a:cubicBezTo>
                    <a:pt x="6" y="0"/>
                    <a:pt x="0" y="5"/>
                    <a:pt x="0" y="12"/>
                  </a:cubicBezTo>
                  <a:cubicBezTo>
                    <a:pt x="0" y="41"/>
                    <a:pt x="0" y="41"/>
                    <a:pt x="0" y="41"/>
                  </a:cubicBezTo>
                  <a:lnTo>
                    <a:pt x="24" y="41"/>
                  </a:lnTo>
                  <a:close/>
                </a:path>
              </a:pathLst>
            </a:custGeom>
            <a:solidFill>
              <a:srgbClr val="C498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02" name="Freeform 198"/>
            <p:cNvSpPr>
              <a:spLocks/>
            </p:cNvSpPr>
            <p:nvPr userDrawn="1"/>
          </p:nvSpPr>
          <p:spPr bwMode="auto">
            <a:xfrm>
              <a:off x="10347327" y="3940810"/>
              <a:ext cx="36513" cy="61913"/>
            </a:xfrm>
            <a:custGeom>
              <a:avLst/>
              <a:gdLst>
                <a:gd name="T0" fmla="*/ 24 w 24"/>
                <a:gd name="T1" fmla="*/ 41 h 41"/>
                <a:gd name="T2" fmla="*/ 24 w 24"/>
                <a:gd name="T3" fmla="*/ 13 h 41"/>
                <a:gd name="T4" fmla="*/ 12 w 24"/>
                <a:gd name="T5" fmla="*/ 1 h 41"/>
                <a:gd name="T6" fmla="*/ 0 w 24"/>
                <a:gd name="T7" fmla="*/ 12 h 41"/>
                <a:gd name="T8" fmla="*/ 0 w 24"/>
                <a:gd name="T9" fmla="*/ 41 h 41"/>
                <a:gd name="T10" fmla="*/ 24 w 24"/>
                <a:gd name="T11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41">
                  <a:moveTo>
                    <a:pt x="24" y="41"/>
                  </a:moveTo>
                  <a:cubicBezTo>
                    <a:pt x="24" y="13"/>
                    <a:pt x="24" y="13"/>
                    <a:pt x="24" y="13"/>
                  </a:cubicBezTo>
                  <a:cubicBezTo>
                    <a:pt x="24" y="6"/>
                    <a:pt x="19" y="1"/>
                    <a:pt x="12" y="1"/>
                  </a:cubicBezTo>
                  <a:cubicBezTo>
                    <a:pt x="6" y="0"/>
                    <a:pt x="0" y="6"/>
                    <a:pt x="0" y="12"/>
                  </a:cubicBezTo>
                  <a:cubicBezTo>
                    <a:pt x="0" y="41"/>
                    <a:pt x="0" y="41"/>
                    <a:pt x="0" y="41"/>
                  </a:cubicBezTo>
                  <a:lnTo>
                    <a:pt x="24" y="41"/>
                  </a:lnTo>
                  <a:close/>
                </a:path>
              </a:pathLst>
            </a:custGeom>
            <a:solidFill>
              <a:srgbClr val="C498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03" name="Freeform 199"/>
            <p:cNvSpPr>
              <a:spLocks/>
            </p:cNvSpPr>
            <p:nvPr userDrawn="1"/>
          </p:nvSpPr>
          <p:spPr bwMode="auto">
            <a:xfrm>
              <a:off x="10312402" y="3931285"/>
              <a:ext cx="34925" cy="71438"/>
            </a:xfrm>
            <a:custGeom>
              <a:avLst/>
              <a:gdLst>
                <a:gd name="T0" fmla="*/ 24 w 24"/>
                <a:gd name="T1" fmla="*/ 48 h 48"/>
                <a:gd name="T2" fmla="*/ 24 w 24"/>
                <a:gd name="T3" fmla="*/ 13 h 48"/>
                <a:gd name="T4" fmla="*/ 12 w 24"/>
                <a:gd name="T5" fmla="*/ 1 h 48"/>
                <a:gd name="T6" fmla="*/ 0 w 24"/>
                <a:gd name="T7" fmla="*/ 12 h 48"/>
                <a:gd name="T8" fmla="*/ 0 w 24"/>
                <a:gd name="T9" fmla="*/ 48 h 48"/>
                <a:gd name="T10" fmla="*/ 24 w 24"/>
                <a:gd name="T11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48">
                  <a:moveTo>
                    <a:pt x="24" y="48"/>
                  </a:moveTo>
                  <a:cubicBezTo>
                    <a:pt x="24" y="13"/>
                    <a:pt x="24" y="13"/>
                    <a:pt x="24" y="13"/>
                  </a:cubicBezTo>
                  <a:cubicBezTo>
                    <a:pt x="24" y="6"/>
                    <a:pt x="19" y="1"/>
                    <a:pt x="12" y="1"/>
                  </a:cubicBezTo>
                  <a:cubicBezTo>
                    <a:pt x="6" y="0"/>
                    <a:pt x="0" y="6"/>
                    <a:pt x="0" y="12"/>
                  </a:cubicBezTo>
                  <a:cubicBezTo>
                    <a:pt x="0" y="48"/>
                    <a:pt x="0" y="48"/>
                    <a:pt x="0" y="48"/>
                  </a:cubicBezTo>
                  <a:lnTo>
                    <a:pt x="24" y="48"/>
                  </a:lnTo>
                  <a:close/>
                </a:path>
              </a:pathLst>
            </a:custGeom>
            <a:solidFill>
              <a:srgbClr val="C498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04" name="Freeform 200"/>
            <p:cNvSpPr>
              <a:spLocks/>
            </p:cNvSpPr>
            <p:nvPr userDrawn="1"/>
          </p:nvSpPr>
          <p:spPr bwMode="auto">
            <a:xfrm>
              <a:off x="10240964" y="3996373"/>
              <a:ext cx="176213" cy="65088"/>
            </a:xfrm>
            <a:custGeom>
              <a:avLst/>
              <a:gdLst>
                <a:gd name="T0" fmla="*/ 0 w 119"/>
                <a:gd name="T1" fmla="*/ 0 h 44"/>
                <a:gd name="T2" fmla="*/ 17 w 119"/>
                <a:gd name="T3" fmla="*/ 32 h 44"/>
                <a:gd name="T4" fmla="*/ 71 w 119"/>
                <a:gd name="T5" fmla="*/ 33 h 44"/>
                <a:gd name="T6" fmla="*/ 119 w 119"/>
                <a:gd name="T7" fmla="*/ 0 h 44"/>
                <a:gd name="T8" fmla="*/ 0 w 119"/>
                <a:gd name="T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9" h="44">
                  <a:moveTo>
                    <a:pt x="0" y="0"/>
                  </a:moveTo>
                  <a:cubicBezTo>
                    <a:pt x="1" y="14"/>
                    <a:pt x="7" y="25"/>
                    <a:pt x="17" y="32"/>
                  </a:cubicBezTo>
                  <a:cubicBezTo>
                    <a:pt x="33" y="44"/>
                    <a:pt x="54" y="43"/>
                    <a:pt x="71" y="33"/>
                  </a:cubicBezTo>
                  <a:cubicBezTo>
                    <a:pt x="119" y="0"/>
                    <a:pt x="119" y="0"/>
                    <a:pt x="119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C498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3837992728"/>
      </p:ext>
    </p:extLst>
  </p:cSld>
  <p:clrMapOvr>
    <a:masterClrMapping/>
  </p:clrMapOvr>
  <p:transition>
    <p:fade/>
  </p:transition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55008" y="1861968"/>
            <a:ext cx="5285502" cy="44379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5965" y="1861968"/>
            <a:ext cx="5285502" cy="44379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38BFB8-A826-4E4E-807A-58E91143CD03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660723-8EAB-4DCD-B460-03A6BE53CF8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28419953"/>
      </p:ext>
    </p:extLst>
  </p:cSld>
  <p:clrMapOvr>
    <a:masterClrMapping/>
  </p:clrMapOvr>
  <p:hf sldNum="0" hdr="0" dt="0"/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6627" y="372394"/>
            <a:ext cx="10726460" cy="135195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6628" y="1714631"/>
            <a:ext cx="5261211" cy="840314"/>
          </a:xfrm>
        </p:spPr>
        <p:txBody>
          <a:bodyPr anchor="b"/>
          <a:lstStyle>
            <a:lvl1pPr marL="0" indent="0">
              <a:buNone/>
              <a:defRPr sz="2448" b="1"/>
            </a:lvl1pPr>
            <a:lvl2pPr marL="466298" indent="0">
              <a:buNone/>
              <a:defRPr sz="2040" b="1"/>
            </a:lvl2pPr>
            <a:lvl3pPr marL="932597" indent="0">
              <a:buNone/>
              <a:defRPr sz="1836" b="1"/>
            </a:lvl3pPr>
            <a:lvl4pPr marL="1398895" indent="0">
              <a:buNone/>
              <a:defRPr sz="1632" b="1"/>
            </a:lvl4pPr>
            <a:lvl5pPr marL="1865193" indent="0">
              <a:buNone/>
              <a:defRPr sz="1632" b="1"/>
            </a:lvl5pPr>
            <a:lvl6pPr marL="2331491" indent="0">
              <a:buNone/>
              <a:defRPr sz="1632" b="1"/>
            </a:lvl6pPr>
            <a:lvl7pPr marL="2797790" indent="0">
              <a:buNone/>
              <a:defRPr sz="1632" b="1"/>
            </a:lvl7pPr>
            <a:lvl8pPr marL="3264088" indent="0">
              <a:buNone/>
              <a:defRPr sz="1632" b="1"/>
            </a:lvl8pPr>
            <a:lvl9pPr marL="3730386" indent="0">
              <a:buNone/>
              <a:defRPr sz="1632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56628" y="2554944"/>
            <a:ext cx="5261211" cy="37579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95965" y="1714631"/>
            <a:ext cx="5287122" cy="840314"/>
          </a:xfrm>
        </p:spPr>
        <p:txBody>
          <a:bodyPr anchor="b"/>
          <a:lstStyle>
            <a:lvl1pPr marL="0" indent="0">
              <a:buNone/>
              <a:defRPr sz="2448" b="1"/>
            </a:lvl1pPr>
            <a:lvl2pPr marL="466298" indent="0">
              <a:buNone/>
              <a:defRPr sz="2040" b="1"/>
            </a:lvl2pPr>
            <a:lvl3pPr marL="932597" indent="0">
              <a:buNone/>
              <a:defRPr sz="1836" b="1"/>
            </a:lvl3pPr>
            <a:lvl4pPr marL="1398895" indent="0">
              <a:buNone/>
              <a:defRPr sz="1632" b="1"/>
            </a:lvl4pPr>
            <a:lvl5pPr marL="1865193" indent="0">
              <a:buNone/>
              <a:defRPr sz="1632" b="1"/>
            </a:lvl5pPr>
            <a:lvl6pPr marL="2331491" indent="0">
              <a:buNone/>
              <a:defRPr sz="1632" b="1"/>
            </a:lvl6pPr>
            <a:lvl7pPr marL="2797790" indent="0">
              <a:buNone/>
              <a:defRPr sz="1632" b="1"/>
            </a:lvl7pPr>
            <a:lvl8pPr marL="3264088" indent="0">
              <a:buNone/>
              <a:defRPr sz="1632" b="1"/>
            </a:lvl8pPr>
            <a:lvl9pPr marL="3730386" indent="0">
              <a:buNone/>
              <a:defRPr sz="1632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95965" y="2554944"/>
            <a:ext cx="5287122" cy="37579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38BFB8-A826-4E4E-807A-58E91143CD03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660723-8EAB-4DCD-B460-03A6BE53CF8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693921811"/>
      </p:ext>
    </p:extLst>
  </p:cSld>
  <p:clrMapOvr>
    <a:masterClrMapping/>
  </p:clrMapOvr>
  <p:hf sldNum="0" hdr="0" dt="0"/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38BFB8-A826-4E4E-807A-58E91143CD03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660723-8EAB-4DCD-B460-03A6BE53CF8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105910509"/>
      </p:ext>
    </p:extLst>
  </p:cSld>
  <p:clrMapOvr>
    <a:masterClrMapping/>
  </p:clrMapOvr>
  <p:hf sldNum="0" hdr="0" dt="0"/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38BFB8-A826-4E4E-807A-58E91143CD03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660723-8EAB-4DCD-B460-03A6BE53CF8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646614998"/>
      </p:ext>
    </p:extLst>
  </p:cSld>
  <p:clrMapOvr>
    <a:masterClrMapping/>
  </p:clrMapOvr>
  <p:hf sldNum="0" hdr="0" dt="0"/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6628" y="466302"/>
            <a:ext cx="4011087" cy="1632056"/>
          </a:xfrm>
        </p:spPr>
        <p:txBody>
          <a:bodyPr anchor="b"/>
          <a:lstStyle>
            <a:lvl1pPr>
              <a:defRPr sz="3264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87122" y="1007083"/>
            <a:ext cx="6295965" cy="4970646"/>
          </a:xfrm>
        </p:spPr>
        <p:txBody>
          <a:bodyPr/>
          <a:lstStyle>
            <a:lvl1pPr>
              <a:defRPr sz="3264"/>
            </a:lvl1pPr>
            <a:lvl2pPr>
              <a:defRPr sz="2856"/>
            </a:lvl2pPr>
            <a:lvl3pPr>
              <a:defRPr sz="2448"/>
            </a:lvl3pPr>
            <a:lvl4pPr>
              <a:defRPr sz="2040"/>
            </a:lvl4pPr>
            <a:lvl5pPr>
              <a:defRPr sz="2040"/>
            </a:lvl5pPr>
            <a:lvl6pPr>
              <a:defRPr sz="2040"/>
            </a:lvl6pPr>
            <a:lvl7pPr>
              <a:defRPr sz="2040"/>
            </a:lvl7pPr>
            <a:lvl8pPr>
              <a:defRPr sz="2040"/>
            </a:lvl8pPr>
            <a:lvl9pPr>
              <a:defRPr sz="204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6628" y="2098357"/>
            <a:ext cx="4011087" cy="3887467"/>
          </a:xfrm>
        </p:spPr>
        <p:txBody>
          <a:bodyPr/>
          <a:lstStyle>
            <a:lvl1pPr marL="0" indent="0">
              <a:buNone/>
              <a:defRPr sz="1632"/>
            </a:lvl1pPr>
            <a:lvl2pPr marL="466298" indent="0">
              <a:buNone/>
              <a:defRPr sz="1428"/>
            </a:lvl2pPr>
            <a:lvl3pPr marL="932597" indent="0">
              <a:buNone/>
              <a:defRPr sz="1224"/>
            </a:lvl3pPr>
            <a:lvl4pPr marL="1398895" indent="0">
              <a:buNone/>
              <a:defRPr sz="1020"/>
            </a:lvl4pPr>
            <a:lvl5pPr marL="1865193" indent="0">
              <a:buNone/>
              <a:defRPr sz="1020"/>
            </a:lvl5pPr>
            <a:lvl6pPr marL="2331491" indent="0">
              <a:buNone/>
              <a:defRPr sz="1020"/>
            </a:lvl6pPr>
            <a:lvl7pPr marL="2797790" indent="0">
              <a:buNone/>
              <a:defRPr sz="1020"/>
            </a:lvl7pPr>
            <a:lvl8pPr marL="3264088" indent="0">
              <a:buNone/>
              <a:defRPr sz="1020"/>
            </a:lvl8pPr>
            <a:lvl9pPr marL="3730386" indent="0">
              <a:buNone/>
              <a:defRPr sz="102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38BFB8-A826-4E4E-807A-58E91143CD03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660723-8EAB-4DCD-B460-03A6BE53CF8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818231395"/>
      </p:ext>
    </p:extLst>
  </p:cSld>
  <p:clrMapOvr>
    <a:masterClrMapping/>
  </p:clrMapOvr>
  <p:hf sldNum="0" hdr="0" dt="0"/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6628" y="466302"/>
            <a:ext cx="4011087" cy="1632056"/>
          </a:xfrm>
        </p:spPr>
        <p:txBody>
          <a:bodyPr anchor="b"/>
          <a:lstStyle>
            <a:lvl1pPr>
              <a:defRPr sz="3264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287122" y="1007083"/>
            <a:ext cx="6295965" cy="4970646"/>
          </a:xfrm>
        </p:spPr>
        <p:txBody>
          <a:bodyPr anchor="t"/>
          <a:lstStyle>
            <a:lvl1pPr marL="0" indent="0">
              <a:buNone/>
              <a:defRPr sz="3264"/>
            </a:lvl1pPr>
            <a:lvl2pPr marL="466298" indent="0">
              <a:buNone/>
              <a:defRPr sz="2856"/>
            </a:lvl2pPr>
            <a:lvl3pPr marL="932597" indent="0">
              <a:buNone/>
              <a:defRPr sz="2448"/>
            </a:lvl3pPr>
            <a:lvl4pPr marL="1398895" indent="0">
              <a:buNone/>
              <a:defRPr sz="2040"/>
            </a:lvl4pPr>
            <a:lvl5pPr marL="1865193" indent="0">
              <a:buNone/>
              <a:defRPr sz="2040"/>
            </a:lvl5pPr>
            <a:lvl6pPr marL="2331491" indent="0">
              <a:buNone/>
              <a:defRPr sz="2040"/>
            </a:lvl6pPr>
            <a:lvl7pPr marL="2797790" indent="0">
              <a:buNone/>
              <a:defRPr sz="2040"/>
            </a:lvl7pPr>
            <a:lvl8pPr marL="3264088" indent="0">
              <a:buNone/>
              <a:defRPr sz="2040"/>
            </a:lvl8pPr>
            <a:lvl9pPr marL="3730386" indent="0">
              <a:buNone/>
              <a:defRPr sz="204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6628" y="2098357"/>
            <a:ext cx="4011087" cy="3887467"/>
          </a:xfrm>
        </p:spPr>
        <p:txBody>
          <a:bodyPr/>
          <a:lstStyle>
            <a:lvl1pPr marL="0" indent="0">
              <a:buNone/>
              <a:defRPr sz="1632"/>
            </a:lvl1pPr>
            <a:lvl2pPr marL="466298" indent="0">
              <a:buNone/>
              <a:defRPr sz="1428"/>
            </a:lvl2pPr>
            <a:lvl3pPr marL="932597" indent="0">
              <a:buNone/>
              <a:defRPr sz="1224"/>
            </a:lvl3pPr>
            <a:lvl4pPr marL="1398895" indent="0">
              <a:buNone/>
              <a:defRPr sz="1020"/>
            </a:lvl4pPr>
            <a:lvl5pPr marL="1865193" indent="0">
              <a:buNone/>
              <a:defRPr sz="1020"/>
            </a:lvl5pPr>
            <a:lvl6pPr marL="2331491" indent="0">
              <a:buNone/>
              <a:defRPr sz="1020"/>
            </a:lvl6pPr>
            <a:lvl7pPr marL="2797790" indent="0">
              <a:buNone/>
              <a:defRPr sz="1020"/>
            </a:lvl7pPr>
            <a:lvl8pPr marL="3264088" indent="0">
              <a:buNone/>
              <a:defRPr sz="1020"/>
            </a:lvl8pPr>
            <a:lvl9pPr marL="3730386" indent="0">
              <a:buNone/>
              <a:defRPr sz="102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38BFB8-A826-4E4E-807A-58E91143CD03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660723-8EAB-4DCD-B460-03A6BE53CF8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814047323"/>
      </p:ext>
    </p:extLst>
  </p:cSld>
  <p:clrMapOvr>
    <a:masterClrMapping/>
  </p:clrMapOvr>
  <p:hf sldNum="0" hdr="0" dt="0"/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38BFB8-A826-4E4E-807A-58E91143CD03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660723-8EAB-4DCD-B460-03A6BE53CF8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891144329"/>
      </p:ext>
    </p:extLst>
  </p:cSld>
  <p:clrMapOvr>
    <a:masterClrMapping/>
  </p:clrMapOvr>
  <p:hf sldNum="0" hdr="0" dt="0"/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99852" y="372394"/>
            <a:ext cx="2681615" cy="5927537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55008" y="372394"/>
            <a:ext cx="7889389" cy="592753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38BFB8-A826-4E4E-807A-58E91143CD03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660723-8EAB-4DCD-B460-03A6BE53CF80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610022106"/>
      </p:ext>
    </p:extLst>
  </p:cSld>
  <p:clrMapOvr>
    <a:masterClrMapping/>
  </p:clrMapOvr>
  <p:hf sldNum="0" hdr="0" dt="0"/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Section Title Accent Color 1">
    <p:bg>
      <p:bgPr>
        <a:solidFill>
          <a:srgbClr val="4423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80571" y="1346590"/>
            <a:ext cx="12128721" cy="1859280"/>
          </a:xfrm>
          <a:noFill/>
        </p:spPr>
        <p:txBody>
          <a:bodyPr lIns="137160" tIns="137160" rIns="137160" bIns="137160" anchor="t" anchorCtr="0"/>
          <a:lstStyle>
            <a:lvl1pPr>
              <a:defRPr sz="8769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5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434775" y="2894799"/>
            <a:ext cx="6064361" cy="2642376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4181" indent="-194181">
              <a:lnSpc>
                <a:spcPct val="80000"/>
              </a:lnSpc>
              <a:buNone/>
              <a:defRPr lang="en-US" sz="204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109545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414226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2125663"/>
            <a:ext cx="11887200" cy="1181606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198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249624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l Section Divider Lifesty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436475" cy="69945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8939" y="935515"/>
            <a:ext cx="5486400" cy="5123496"/>
          </a:xfrm>
        </p:spPr>
        <p:txBody>
          <a:bodyPr wrap="square" anchor="ctr"/>
          <a:lstStyle>
            <a:lvl1pPr>
              <a:defRPr sz="5399">
                <a:gradFill>
                  <a:gsLst>
                    <a:gs pos="2917">
                      <a:srgbClr val="0078D7"/>
                    </a:gs>
                    <a:gs pos="100000">
                      <a:srgbClr val="0078D7">
                        <a:alpha val="99000"/>
                      </a:srgbClr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Click to add section divider title</a:t>
            </a:r>
          </a:p>
        </p:txBody>
      </p:sp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6326189" y="1699260"/>
            <a:ext cx="5719763" cy="3321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218238" y="0"/>
            <a:ext cx="6218238" cy="6994525"/>
          </a:xfrm>
          <a:blipFill>
            <a:blip r:embed="rId2"/>
            <a:stretch>
              <a:fillRect/>
            </a:stretch>
          </a:blipFill>
        </p:spPr>
        <p:txBody>
          <a:bodyPr anchor="ctr"/>
          <a:lstStyle>
            <a:lvl1pPr algn="ctr"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2497611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l 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8940" y="935515"/>
            <a:ext cx="5829299" cy="5123496"/>
          </a:xfrm>
        </p:spPr>
        <p:txBody>
          <a:bodyPr wrap="square" anchor="ctr"/>
          <a:lstStyle>
            <a:lvl1pPr>
              <a:defRPr sz="5399">
                <a:gradFill>
                  <a:gsLst>
                    <a:gs pos="4000">
                      <a:srgbClr val="0078D7"/>
                    </a:gs>
                    <a:gs pos="100000">
                      <a:srgbClr val="0078D7">
                        <a:alpha val="99000"/>
                      </a:srgbClr>
                    </a:gs>
                  </a:gsLst>
                  <a:lin ang="5400000" scaled="0"/>
                </a:gra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 dirty="0"/>
              <a:t>Click to add section divider title</a:t>
            </a:r>
          </a:p>
        </p:txBody>
      </p:sp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6326189" y="1699260"/>
            <a:ext cx="5719763" cy="3321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pic>
        <p:nvPicPr>
          <p:cNvPr id="118" name="Picture 11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4518" y="2225041"/>
            <a:ext cx="4438451" cy="28448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6818" y="6112842"/>
            <a:ext cx="1727701" cy="7743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2995631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DE2E20-C700-4A3A-A890-B84EE414F382}" type="datetime1">
              <a:rPr lang="en-US" smtClean="0"/>
              <a:t>5/7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microsoft.com/educatio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3C030-8119-439B-A7A2-330B51F4C00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Media Placeholder 6"/>
          <p:cNvSpPr>
            <a:spLocks noGrp="1"/>
          </p:cNvSpPr>
          <p:nvPr>
            <p:ph type="media" sz="quarter" idx="13"/>
          </p:nvPr>
        </p:nvSpPr>
        <p:spPr>
          <a:xfrm>
            <a:off x="0" y="0"/>
            <a:ext cx="12436475" cy="6994525"/>
          </a:xfrm>
          <a:solidFill>
            <a:schemeClr val="tx1">
              <a:lumMod val="50000"/>
            </a:schemeClr>
          </a:solidFill>
        </p:spPr>
        <p:txBody>
          <a:bodyPr tIns="1280160" anchor="ctr"/>
          <a:lstStyle>
            <a:lvl1pPr algn="ctr"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1761376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DE2E20-C700-4A3A-A890-B84EE414F382}" type="datetime1">
              <a:rPr lang="en-US" smtClean="0"/>
              <a:t>5/7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microsoft.com/educatio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3C030-8119-439B-A7A2-330B51F4C00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6728994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88940" y="855665"/>
            <a:ext cx="3067763" cy="461665"/>
          </a:xfrm>
        </p:spPr>
        <p:txBody>
          <a:bodyPr wrap="none">
            <a:spAutoFit/>
          </a:bodyPr>
          <a:lstStyle>
            <a:lvl1pPr>
              <a:defRPr lang="en-US" sz="2400" kern="1200" baseline="0" dirty="0">
                <a:gradFill>
                  <a:gsLst>
                    <a:gs pos="2917">
                      <a:schemeClr val="tx1">
                        <a:lumMod val="75000"/>
                      </a:schemeClr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</a:gradFill>
                <a:latin typeface="Segoe UI Semibold" panose="020B0702040204020203" pitchFamily="34" charset="0"/>
                <a:ea typeface="+mn-ea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9DE2E20-C700-4A3A-A890-B84EE414F382}" type="datetime1">
              <a:rPr lang="en-US" smtClean="0"/>
              <a:t>5/7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373C030-8119-439B-A7A2-330B51F4C00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5281675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DE2E20-C700-4A3A-A890-B84EE414F382}" type="datetime1">
              <a:rPr lang="en-US" smtClean="0"/>
              <a:t>5/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microsoft.com/education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3C030-8119-439B-A7A2-330B51F4C00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1672222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6335AE-CE47-4C4B-A9D5-D7ADEA94D3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3289CA8-F7DF-494F-A30E-6B6343C663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47F7F1-0E89-4D7B-8516-36A4AC75346A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DCF200D-31A6-4938-88E1-2493BB3F57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F33A601-9CFF-4EE1-B163-35D9A54632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792400-19F6-4B13-9EA1-2A330825251F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2246817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ad 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436475" cy="6994525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36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2917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gradFill>
                  <a:gsLst>
                    <a:gs pos="2917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fld id="{89DE2E20-C700-4A3A-A890-B84EE414F382}" type="datetime1">
              <a:rPr lang="en-US" smtClean="0"/>
              <a:pPr/>
              <a:t>5/7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gradFill>
                  <a:gsLst>
                    <a:gs pos="2917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microsoft.com/educatio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gradFill>
                  <a:gsLst>
                    <a:gs pos="2917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fld id="{9373C030-8119-439B-A7A2-330B51F4C00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88641" y="1094982"/>
            <a:ext cx="11655957" cy="5519181"/>
          </a:xfrm>
        </p:spPr>
        <p:txBody>
          <a:bodyPr/>
          <a:lstStyle>
            <a:lvl1pPr>
              <a:defRPr>
                <a:gradFill>
                  <a:gsLst>
                    <a:gs pos="2917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1pPr>
            <a:lvl2pPr>
              <a:defRPr>
                <a:gradFill>
                  <a:gsLst>
                    <a:gs pos="2917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2pPr>
            <a:lvl3pPr>
              <a:buClr>
                <a:schemeClr val="bg1"/>
              </a:buClr>
              <a:defRPr>
                <a:gradFill>
                  <a:gsLst>
                    <a:gs pos="2917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3pPr>
            <a:lvl4pPr>
              <a:buClr>
                <a:schemeClr val="bg1"/>
              </a:buClr>
              <a:defRPr>
                <a:gradFill>
                  <a:gsLst>
                    <a:gs pos="2917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4pPr>
            <a:lvl5pPr>
              <a:buClr>
                <a:schemeClr val="bg1"/>
              </a:buClr>
              <a:defRPr>
                <a:gradFill>
                  <a:gsLst>
                    <a:gs pos="2917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37475747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436475" cy="6994525"/>
          </a:xfrm>
          <a:prstGeom prst="rect">
            <a:avLst/>
          </a:prstGeom>
          <a:solidFill>
            <a:srgbClr val="007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47" tIns="46623" rIns="93247" bIns="4662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36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2917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88641" y="1094981"/>
            <a:ext cx="11655957" cy="4912438"/>
          </a:xfrm>
        </p:spPr>
        <p:txBody>
          <a:bodyPr anchor="ctr"/>
          <a:lstStyle>
            <a:lvl1pPr>
              <a:defRPr sz="1836">
                <a:gradFill>
                  <a:gsLst>
                    <a:gs pos="2917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1pPr>
            <a:lvl2pPr>
              <a:defRPr sz="1632">
                <a:gradFill>
                  <a:gsLst>
                    <a:gs pos="2917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2pPr>
            <a:lvl3pPr>
              <a:buClr>
                <a:schemeClr val="bg1"/>
              </a:buClr>
              <a:defRPr sz="1632">
                <a:gradFill>
                  <a:gsLst>
                    <a:gs pos="2917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3pPr>
            <a:lvl4pPr>
              <a:buClr>
                <a:schemeClr val="bg1"/>
              </a:buClr>
              <a:defRPr sz="1632">
                <a:gradFill>
                  <a:gsLst>
                    <a:gs pos="2917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4pPr>
            <a:lvl5pPr>
              <a:buClr>
                <a:schemeClr val="bg1"/>
              </a:buClr>
              <a:defRPr sz="1632">
                <a:gradFill>
                  <a:gsLst>
                    <a:gs pos="2917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3177" y="6238242"/>
            <a:ext cx="1385761" cy="525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450136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leprompter Talk Track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377" imgH="377" progId="TCLayout.ActiveDocument.1">
                  <p:embed/>
                </p:oleObj>
              </mc:Choice>
              <mc:Fallback>
                <p:oleObj name="think-cell Slide" r:id="rId4" imgW="377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388938" y="833120"/>
            <a:ext cx="11658600" cy="5529956"/>
          </a:xfrm>
          <a:prstGeom prst="rect">
            <a:avLst/>
          </a:prstGeom>
        </p:spPr>
        <p:txBody>
          <a:bodyPr/>
          <a:lstStyle>
            <a:lvl1pPr marL="290345" indent="-290345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0">
                      <a:srgbClr val="F3F3F3"/>
                    </a:gs>
                    <a:gs pos="100000">
                      <a:srgbClr val="F3F3F3">
                        <a:alpha val="99000"/>
                      </a:srgbClr>
                    </a:gs>
                  </a:gsLst>
                  <a:lin ang="8100000" scaled="1"/>
                </a:gradFill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571172" indent="-280827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0">
                      <a:srgbClr val="F3F3F3"/>
                    </a:gs>
                    <a:gs pos="100000">
                      <a:srgbClr val="F3F3F3">
                        <a:alpha val="99000"/>
                      </a:srgbClr>
                    </a:gs>
                  </a:gsLst>
                  <a:lin ang="8100000" scaled="1"/>
                </a:gradFill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861517" indent="-290345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0">
                      <a:srgbClr val="F3F3F3"/>
                    </a:gs>
                    <a:gs pos="100000">
                      <a:srgbClr val="F3F3F3">
                        <a:alpha val="99000"/>
                      </a:srgbClr>
                    </a:gs>
                  </a:gsLst>
                  <a:lin ang="8100000" scaled="1"/>
                </a:gradFill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3pPr>
            <a:lvl4pPr marL="1089985" indent="-228469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0">
                      <a:srgbClr val="F3F3F3"/>
                    </a:gs>
                    <a:gs pos="100000">
                      <a:srgbClr val="F3F3F3">
                        <a:alpha val="99000"/>
                      </a:srgbClr>
                    </a:gs>
                  </a:gsLst>
                  <a:lin ang="8100000" scaled="1"/>
                </a:gradFill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4pPr>
            <a:lvl5pPr marL="1318452" indent="-228469">
              <a:spcBef>
                <a:spcPts val="600"/>
              </a:spcBef>
              <a:spcAft>
                <a:spcPts val="600"/>
              </a:spcAft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0">
                      <a:srgbClr val="F3F3F3"/>
                    </a:gs>
                    <a:gs pos="100000">
                      <a:srgbClr val="F3F3F3">
                        <a:alpha val="99000"/>
                      </a:srgbClr>
                    </a:gs>
                  </a:gsLst>
                  <a:lin ang="8100000" scaled="1"/>
                </a:gradFill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697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 Semibold" panose="020B0702040204020203" pitchFamily="34" charset="0"/>
                <a:ea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/>
              <a:t>Next: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88938" y="373063"/>
            <a:ext cx="3944926" cy="369332"/>
          </a:xfrm>
        </p:spPr>
        <p:txBody>
          <a:bodyPr>
            <a:spAutoFit/>
          </a:bodyPr>
          <a:lstStyle>
            <a:lvl1pPr>
              <a:defRPr sz="2400">
                <a:gradFill>
                  <a:gsLst>
                    <a:gs pos="0">
                      <a:srgbClr val="F3F3F3"/>
                    </a:gs>
                    <a:gs pos="100000">
                      <a:srgbClr val="F3F3F3">
                        <a:alpha val="99000"/>
                      </a:srgbClr>
                    </a:gs>
                  </a:gsLst>
                  <a:lin ang="8100000" scaled="1"/>
                </a:gra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923968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gradFill>
                  <a:gsLst>
                    <a:gs pos="125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208620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40" y="1212851"/>
            <a:ext cx="11887200" cy="2091819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30" indent="0">
              <a:buNone/>
              <a:defRPr/>
            </a:lvl3pPr>
            <a:lvl4pPr marL="457059" indent="0">
              <a:buNone/>
              <a:defRPr/>
            </a:lvl4pPr>
            <a:lvl5pPr marL="68559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59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Title Accent Color 1">
    <p:bg>
      <p:bgPr>
        <a:solidFill>
          <a:srgbClr val="4423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80570" y="1346590"/>
            <a:ext cx="12128721" cy="1859280"/>
          </a:xfrm>
          <a:noFill/>
        </p:spPr>
        <p:txBody>
          <a:bodyPr lIns="137160" tIns="137160" rIns="137160" bIns="137160" anchor="t" anchorCtr="0"/>
          <a:lstStyle>
            <a:lvl1pPr>
              <a:defRPr sz="8771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  <p:sp>
        <p:nvSpPr>
          <p:cNvPr id="5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434774" y="2894799"/>
            <a:ext cx="6064361" cy="2642376"/>
          </a:xfrm>
          <a:prstGeom prst="rect">
            <a:avLst/>
          </a:prstGeom>
        </p:spPr>
        <p:txBody>
          <a:bodyPr lIns="137160" tIns="137160" rIns="137160" bIns="137160">
            <a:noAutofit/>
          </a:bodyPr>
          <a:lstStyle>
            <a:lvl1pPr marL="194218" indent="-194218">
              <a:lnSpc>
                <a:spcPct val="80000"/>
              </a:lnSpc>
              <a:buNone/>
              <a:defRPr lang="en-US" sz="2040" kern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lvl="0" indent="0" algn="l" defTabSz="1109758" rtl="0" eaLnBrk="1" latinLnBrk="0" hangingPunct="1">
              <a:spcBef>
                <a:spcPct val="20000"/>
              </a:spcBef>
              <a:buClr>
                <a:srgbClr val="0072C6"/>
              </a:buClr>
              <a:buSzPct val="100000"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654000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3898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121484" y="807631"/>
            <a:ext cx="12436475" cy="380490"/>
          </a:xfrm>
          <a:prstGeom prst="rect">
            <a:avLst/>
          </a:prstGeom>
        </p:spPr>
        <p:txBody>
          <a:bodyPr lIns="320040" tIns="53325" rIns="53325" bIns="53325">
            <a:noAutofit/>
          </a:bodyPr>
          <a:lstStyle>
            <a:lvl1pPr marL="0" indent="0">
              <a:buNone/>
              <a:defRPr sz="2856">
                <a:latin typeface="Segoe UI Light" pitchFamily="34" charset="0"/>
              </a:defRPr>
            </a:lvl1pPr>
            <a:lvl2pPr marL="287279" indent="0">
              <a:buNone/>
              <a:defRPr/>
            </a:lvl2pPr>
            <a:lvl3pPr marL="600187" indent="0">
              <a:buNone/>
              <a:defRPr/>
            </a:lvl3pPr>
            <a:lvl4pPr marL="887466" indent="0">
              <a:buNone/>
              <a:defRPr/>
            </a:lvl4pPr>
            <a:lvl5pPr marL="1127540" indent="0">
              <a:buNone/>
              <a:defRPr/>
            </a:lvl5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362712" y="1632056"/>
            <a:ext cx="11573103" cy="466816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FAADACFB-7C71-4E89-89D2-7BBA40B7BFA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Footer Placeholder 1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1388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Customer 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323222" y="3177377"/>
            <a:ext cx="2808918" cy="3444088"/>
          </a:xfrm>
        </p:spPr>
        <p:txBody>
          <a:bodyPr/>
          <a:lstStyle>
            <a:lvl1pPr marL="60314" indent="-60314">
              <a:defRPr sz="1199"/>
            </a:lvl1pPr>
            <a:lvl2pPr marL="60314" indent="0">
              <a:defRPr sz="1099"/>
            </a:lvl2pPr>
            <a:lvl3pPr marL="60314" indent="0">
              <a:defRPr sz="1099"/>
            </a:lvl3pPr>
            <a:lvl4pPr marL="60314" indent="0">
              <a:defRPr sz="1099"/>
            </a:lvl4pPr>
            <a:lvl5pPr marL="60314" indent="0">
              <a:defRPr sz="1099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3295021" y="3177377"/>
            <a:ext cx="2808918" cy="3444088"/>
          </a:xfrm>
        </p:spPr>
        <p:txBody>
          <a:bodyPr/>
          <a:lstStyle>
            <a:lvl1pPr marL="60314" indent="-60314">
              <a:defRPr sz="1199"/>
            </a:lvl1pPr>
            <a:lvl2pPr marL="60314" indent="0">
              <a:defRPr sz="1099"/>
            </a:lvl2pPr>
            <a:lvl3pPr marL="60314" indent="0">
              <a:defRPr sz="1099"/>
            </a:lvl3pPr>
            <a:lvl4pPr marL="60314" indent="0">
              <a:defRPr sz="1099"/>
            </a:lvl4pPr>
            <a:lvl5pPr marL="60314" indent="0">
              <a:defRPr sz="1099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6266821" y="3177377"/>
            <a:ext cx="2808918" cy="3444088"/>
          </a:xfrm>
        </p:spPr>
        <p:txBody>
          <a:bodyPr/>
          <a:lstStyle>
            <a:lvl1pPr marL="60314" indent="-60314">
              <a:defRPr sz="1199"/>
            </a:lvl1pPr>
            <a:lvl2pPr marL="60314" indent="0">
              <a:defRPr sz="1099"/>
            </a:lvl2pPr>
            <a:lvl3pPr marL="60314" indent="0">
              <a:defRPr sz="1099"/>
            </a:lvl3pPr>
            <a:lvl4pPr marL="60314" indent="0">
              <a:defRPr sz="1099"/>
            </a:lvl4pPr>
            <a:lvl5pPr marL="60314" indent="0">
              <a:defRPr sz="1099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21"/>
          </p:nvPr>
        </p:nvSpPr>
        <p:spPr>
          <a:xfrm>
            <a:off x="9238621" y="3177377"/>
            <a:ext cx="2808918" cy="3444088"/>
          </a:xfrm>
        </p:spPr>
        <p:txBody>
          <a:bodyPr/>
          <a:lstStyle>
            <a:lvl1pPr marL="60314" indent="-60314">
              <a:defRPr sz="1199"/>
            </a:lvl1pPr>
            <a:lvl2pPr marL="60314" indent="0">
              <a:defRPr sz="1099"/>
            </a:lvl2pPr>
            <a:lvl3pPr marL="60314" indent="0">
              <a:defRPr sz="1099"/>
            </a:lvl3pPr>
            <a:lvl4pPr marL="60314" indent="0">
              <a:defRPr sz="1099"/>
            </a:lvl4pPr>
            <a:lvl5pPr marL="60314" indent="0">
              <a:defRPr sz="1099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Picture Placeholder 8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388938" y="1476788"/>
            <a:ext cx="2743200" cy="1541080"/>
          </a:xfrm>
          <a:noFill/>
        </p:spPr>
        <p:txBody>
          <a:bodyPr lIns="91440" tIns="0" rIns="91440" bIns="182880" anchor="b"/>
          <a:lstStyle>
            <a:lvl1pPr marL="0" indent="0" algn="ctr">
              <a:spcAft>
                <a:spcPts val="1800"/>
              </a:spcAft>
              <a:buNone/>
              <a:defRPr sz="1000" baseline="0"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Paste school image here. To remove crop: Picture Tools &gt; Crop drop menu &gt; Fit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28"/>
          </p:nvPr>
        </p:nvSpPr>
        <p:spPr>
          <a:xfrm>
            <a:off x="388939" y="855664"/>
            <a:ext cx="3068778" cy="463466"/>
          </a:xfrm>
        </p:spPr>
        <p:txBody>
          <a:bodyPr wrap="none">
            <a:spAutoFit/>
          </a:bodyPr>
          <a:lstStyle>
            <a:lvl1pPr marL="0" indent="0">
              <a:buNone/>
              <a:defRPr sz="2400">
                <a:gradFill>
                  <a:gsLst>
                    <a:gs pos="2917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Picture Placeholder 8"/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3360738" y="1476788"/>
            <a:ext cx="2743200" cy="1541080"/>
          </a:xfrm>
          <a:noFill/>
        </p:spPr>
        <p:txBody>
          <a:bodyPr lIns="91440" tIns="0" rIns="91440" bIns="182880" anchor="b"/>
          <a:lstStyle>
            <a:lvl1pPr marL="0" indent="0" algn="ctr">
              <a:spcAft>
                <a:spcPts val="1800"/>
              </a:spcAft>
              <a:buNone/>
              <a:defRPr sz="1000" baseline="0"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Paste school image here. To remove crop: Picture Tools &gt; Crop drop menu &gt; Fit</a:t>
            </a:r>
          </a:p>
        </p:txBody>
      </p:sp>
      <p:sp>
        <p:nvSpPr>
          <p:cNvPr id="22" name="Picture Placeholder 8"/>
          <p:cNvSpPr>
            <a:spLocks noGrp="1" noChangeAspect="1"/>
          </p:cNvSpPr>
          <p:nvPr>
            <p:ph type="pic" sz="quarter" idx="30" hasCustomPrompt="1"/>
          </p:nvPr>
        </p:nvSpPr>
        <p:spPr>
          <a:xfrm>
            <a:off x="6332537" y="1476788"/>
            <a:ext cx="2743200" cy="1541080"/>
          </a:xfrm>
          <a:noFill/>
        </p:spPr>
        <p:txBody>
          <a:bodyPr lIns="91440" tIns="0" rIns="91440" bIns="182880" anchor="b"/>
          <a:lstStyle>
            <a:lvl1pPr marL="0" indent="0" algn="ctr">
              <a:spcAft>
                <a:spcPts val="1800"/>
              </a:spcAft>
              <a:buNone/>
              <a:defRPr sz="1000" baseline="0"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Paste school image here. To remove crop: Picture Tools &gt; Crop drop menu &gt; Fit</a:t>
            </a:r>
          </a:p>
        </p:txBody>
      </p:sp>
      <p:sp>
        <p:nvSpPr>
          <p:cNvPr id="23" name="Picture Placeholder 8"/>
          <p:cNvSpPr>
            <a:spLocks noGrp="1" noChangeAspect="1"/>
          </p:cNvSpPr>
          <p:nvPr>
            <p:ph type="pic" sz="quarter" idx="31" hasCustomPrompt="1"/>
          </p:nvPr>
        </p:nvSpPr>
        <p:spPr>
          <a:xfrm>
            <a:off x="9304338" y="1476788"/>
            <a:ext cx="2743200" cy="1541080"/>
          </a:xfrm>
          <a:noFill/>
        </p:spPr>
        <p:txBody>
          <a:bodyPr lIns="91440" tIns="0" rIns="91440" bIns="182880" anchor="b"/>
          <a:lstStyle>
            <a:lvl1pPr marL="0" indent="0" algn="ctr">
              <a:spcAft>
                <a:spcPts val="1800"/>
              </a:spcAft>
              <a:buNone/>
              <a:defRPr sz="1000" baseline="0">
                <a:solidFill>
                  <a:srgbClr val="C00000"/>
                </a:solidFill>
              </a:defRPr>
            </a:lvl1pPr>
          </a:lstStyle>
          <a:p>
            <a:r>
              <a:rPr lang="en-US" dirty="0"/>
              <a:t>Paste school image here. To remove crop: Picture Tools &gt; Crop drop menu &gt; Fit</a:t>
            </a:r>
          </a:p>
        </p:txBody>
      </p:sp>
      <p:sp>
        <p:nvSpPr>
          <p:cNvPr id="16" name="Date Placeholder 15"/>
          <p:cNvSpPr>
            <a:spLocks noGrp="1"/>
          </p:cNvSpPr>
          <p:nvPr>
            <p:ph type="dt" sz="half" idx="32"/>
          </p:nvPr>
        </p:nvSpPr>
        <p:spPr/>
        <p:txBody>
          <a:bodyPr/>
          <a:lstStyle/>
          <a:p>
            <a:fld id="{89DE2E20-C700-4A3A-A890-B84EE414F382}" type="datetime1">
              <a:rPr lang="en-US" smtClean="0"/>
              <a:t>5/7/2021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en-US"/>
              <a:t>microsoft.com/education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34"/>
          </p:nvPr>
        </p:nvSpPr>
        <p:spPr/>
        <p:txBody>
          <a:bodyPr/>
          <a:lstStyle/>
          <a:p>
            <a:fld id="{9373C030-8119-439B-A7A2-330B51F4C00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9525509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eature Customer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88939" y="855664"/>
            <a:ext cx="3068778" cy="463466"/>
          </a:xfrm>
        </p:spPr>
        <p:txBody>
          <a:bodyPr wrap="none">
            <a:spAutoFit/>
          </a:bodyPr>
          <a:lstStyle>
            <a:lvl1pPr marL="0" indent="0">
              <a:buNone/>
              <a:defRPr sz="2400">
                <a:gradFill>
                  <a:gsLst>
                    <a:gs pos="2917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Content Placeholder 11"/>
          <p:cNvSpPr>
            <a:spLocks noGrp="1"/>
          </p:cNvSpPr>
          <p:nvPr>
            <p:ph sz="quarter" idx="15"/>
          </p:nvPr>
        </p:nvSpPr>
        <p:spPr>
          <a:xfrm>
            <a:off x="6356050" y="1592263"/>
            <a:ext cx="5688477" cy="5029200"/>
          </a:xfrm>
        </p:spPr>
        <p:txBody>
          <a:bodyPr/>
          <a:lstStyle>
            <a:lvl1pPr marL="174828" indent="-174828">
              <a:buFont typeface="Segoe UI Semibold" panose="020B0702040204020203" pitchFamily="34" charset="0"/>
              <a:buChar char="″"/>
              <a:defRPr sz="2448"/>
            </a:lvl1pPr>
            <a:lvl2pPr marL="174828" indent="0">
              <a:defRPr sz="1632">
                <a:latin typeface="Segoe UI Semibold" panose="020B0702040204020203" pitchFamily="34" charset="0"/>
                <a:cs typeface="Segoe UI Semibold" panose="020B0702040204020203" pitchFamily="34" charset="0"/>
              </a:defRPr>
            </a:lvl2pPr>
            <a:lvl3pPr marL="174828" indent="0">
              <a:buNone/>
              <a:defRPr sz="1632"/>
            </a:lvl3pPr>
            <a:lvl4pPr marL="174828" indent="0">
              <a:buNone/>
              <a:defRPr sz="1632"/>
            </a:lvl4pPr>
            <a:lvl5pPr marL="174828" indent="0">
              <a:buNone/>
              <a:defRPr sz="1632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9" hasCustomPrompt="1"/>
          </p:nvPr>
        </p:nvSpPr>
        <p:spPr>
          <a:xfrm>
            <a:off x="388640" y="1591580"/>
            <a:ext cx="5688716" cy="5030553"/>
          </a:xfrm>
        </p:spPr>
        <p:txBody>
          <a:bodyPr tIns="1280160" anchor="ctr"/>
          <a:lstStyle>
            <a:lvl1pPr marL="0" indent="0" algn="ctr">
              <a:buNone/>
              <a:defRPr sz="2040" baseline="0"/>
            </a:lvl1pPr>
          </a:lstStyle>
          <a:p>
            <a:r>
              <a:rPr lang="en-US" dirty="0"/>
              <a:t>Click to add image of school or educator associated with customer quote to the right</a:t>
            </a:r>
          </a:p>
        </p:txBody>
      </p:sp>
      <p:sp>
        <p:nvSpPr>
          <p:cNvPr id="17" name="Date Placeholder 16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89DE2E20-C700-4A3A-A890-B84EE414F382}" type="datetime1">
              <a:rPr lang="en-US" smtClean="0"/>
              <a:t>5/7/2021</a:t>
            </a:fld>
            <a:endParaRPr lang="en-US"/>
          </a:p>
        </p:txBody>
      </p:sp>
      <p:sp>
        <p:nvSpPr>
          <p:cNvPr id="18" name="Footer Placeholder 17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icrosoft.com/education</a:t>
            </a:r>
            <a:endParaRPr lang="en-US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9373C030-8119-439B-A7A2-330B51F4C00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4674995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13309F3-9176-4FDD-AAE6-C86A67E5E1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47F7F1-0E89-4D7B-8516-36A4AC75346A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F50DD81-9915-4E1D-9117-AF96C561B7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0D0342-2612-4BE3-846E-807A65F270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792400-19F6-4B13-9EA1-2A330825251F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31267521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2D61FA-1758-4A86-9084-8B4F7A9A9F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54560" y="1144706"/>
            <a:ext cx="9327356" cy="2435131"/>
          </a:xfrm>
        </p:spPr>
        <p:txBody>
          <a:bodyPr anchor="b"/>
          <a:lstStyle>
            <a:lvl1pPr algn="ctr">
              <a:defRPr sz="6119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FB75FFA-EDDB-4261-9006-19484ED51DB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54560" y="3673745"/>
            <a:ext cx="9327356" cy="1688724"/>
          </a:xfrm>
        </p:spPr>
        <p:txBody>
          <a:bodyPr/>
          <a:lstStyle>
            <a:lvl1pPr marL="0" indent="0" algn="ctr">
              <a:buNone/>
              <a:defRPr sz="2448"/>
            </a:lvl1pPr>
            <a:lvl2pPr marL="466298" indent="0" algn="ctr">
              <a:buNone/>
              <a:defRPr sz="2040"/>
            </a:lvl2pPr>
            <a:lvl3pPr marL="932597" indent="0" algn="ctr">
              <a:buNone/>
              <a:defRPr sz="1836"/>
            </a:lvl3pPr>
            <a:lvl4pPr marL="1398895" indent="0" algn="ctr">
              <a:buNone/>
              <a:defRPr sz="1632"/>
            </a:lvl4pPr>
            <a:lvl5pPr marL="1865193" indent="0" algn="ctr">
              <a:buNone/>
              <a:defRPr sz="1632"/>
            </a:lvl5pPr>
            <a:lvl6pPr marL="2331491" indent="0" algn="ctr">
              <a:buNone/>
              <a:defRPr sz="1632"/>
            </a:lvl6pPr>
            <a:lvl7pPr marL="2797790" indent="0" algn="ctr">
              <a:buNone/>
              <a:defRPr sz="1632"/>
            </a:lvl7pPr>
            <a:lvl8pPr marL="3264088" indent="0" algn="ctr">
              <a:buNone/>
              <a:defRPr sz="1632"/>
            </a:lvl8pPr>
            <a:lvl9pPr marL="3730386" indent="0" algn="ctr">
              <a:buNone/>
              <a:defRPr sz="1632"/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0AEFF2-7461-4C7B-8C3C-1388D8C31B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C922DC-D00A-495C-9CDB-EBB69225FA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#MicrosoftEDU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8E6AAE-D18E-4D7E-84AF-9606F79F9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3C137E-3081-40C4-AC06-B50B8E9A89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170576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FBB042-2D45-43C2-BDF1-93A5C0E9C8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7CA658-9D12-408D-8946-B0D43F1F017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25F42B-B9B1-45A7-B5D1-97FC78303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D0217D-3F88-440A-B244-D9FA0FD65F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#MicrosoftEDU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97A83BA-55E3-4C04-AF88-11F05B1041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3C137E-3081-40C4-AC06-B50B8E9A89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901939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52650A-6E3D-4FDF-9B73-067938B6A3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8530" y="1743775"/>
            <a:ext cx="10726460" cy="2909528"/>
          </a:xfrm>
        </p:spPr>
        <p:txBody>
          <a:bodyPr anchor="b"/>
          <a:lstStyle>
            <a:lvl1pPr>
              <a:defRPr sz="6119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1F5727-E0B4-4EAD-866E-B89BD3BBC5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8530" y="4680828"/>
            <a:ext cx="10726460" cy="1530052"/>
          </a:xfrm>
        </p:spPr>
        <p:txBody>
          <a:bodyPr/>
          <a:lstStyle>
            <a:lvl1pPr marL="0" indent="0">
              <a:buNone/>
              <a:defRPr sz="2448">
                <a:solidFill>
                  <a:schemeClr val="tx1">
                    <a:tint val="75000"/>
                  </a:schemeClr>
                </a:solidFill>
              </a:defRPr>
            </a:lvl1pPr>
            <a:lvl2pPr marL="466298" indent="0">
              <a:buNone/>
              <a:defRPr sz="2040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0024A6-7A45-4FC3-8DB8-85C32FFCFD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32B620-C1E0-47F1-B0A3-D942F71ACA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#MicrosoftEDU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E88A1B5-4D56-4BC5-B7A7-F196C39F85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3C137E-3081-40C4-AC06-B50B8E9A89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362563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157615-0B78-4269-809F-AF64692E08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A446089-EDB2-4A23-B67D-A782BFB0D0E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55008" y="1861968"/>
            <a:ext cx="5285502" cy="44379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3BB0BB0-69C0-407B-A431-F0FD716A480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5965" y="1861968"/>
            <a:ext cx="5285502" cy="44379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3BCE75F-1A46-45F3-989D-7CD70D4E21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10FF190-3CD6-40A0-9C85-B80AE09CE9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#MicrosoftEDU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E41A84F-AFF1-41A8-BD92-9FD031AC9B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3C137E-3081-40C4-AC06-B50B8E9A89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101182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351542-D3E8-45FC-BC24-E555DBA1DE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627" y="372394"/>
            <a:ext cx="10726460" cy="135195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AE70F4-167E-4096-A159-0A2896D3AF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56628" y="1714631"/>
            <a:ext cx="5261211" cy="840314"/>
          </a:xfrm>
        </p:spPr>
        <p:txBody>
          <a:bodyPr anchor="b"/>
          <a:lstStyle>
            <a:lvl1pPr marL="0" indent="0">
              <a:buNone/>
              <a:defRPr sz="2448" b="1"/>
            </a:lvl1pPr>
            <a:lvl2pPr marL="466298" indent="0">
              <a:buNone/>
              <a:defRPr sz="2040" b="1"/>
            </a:lvl2pPr>
            <a:lvl3pPr marL="932597" indent="0">
              <a:buNone/>
              <a:defRPr sz="1836" b="1"/>
            </a:lvl3pPr>
            <a:lvl4pPr marL="1398895" indent="0">
              <a:buNone/>
              <a:defRPr sz="1632" b="1"/>
            </a:lvl4pPr>
            <a:lvl5pPr marL="1865193" indent="0">
              <a:buNone/>
              <a:defRPr sz="1632" b="1"/>
            </a:lvl5pPr>
            <a:lvl6pPr marL="2331491" indent="0">
              <a:buNone/>
              <a:defRPr sz="1632" b="1"/>
            </a:lvl6pPr>
            <a:lvl7pPr marL="2797790" indent="0">
              <a:buNone/>
              <a:defRPr sz="1632" b="1"/>
            </a:lvl7pPr>
            <a:lvl8pPr marL="3264088" indent="0">
              <a:buNone/>
              <a:defRPr sz="1632" b="1"/>
            </a:lvl8pPr>
            <a:lvl9pPr marL="3730386" indent="0">
              <a:buNone/>
              <a:defRPr sz="1632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6878470-9A98-4B3F-BA33-0FA93CE430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56628" y="2554944"/>
            <a:ext cx="5261211" cy="37579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8268BAF-BBE5-4DE2-8794-9CE79EA8173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95965" y="1714631"/>
            <a:ext cx="5287122" cy="840314"/>
          </a:xfrm>
        </p:spPr>
        <p:txBody>
          <a:bodyPr anchor="b"/>
          <a:lstStyle>
            <a:lvl1pPr marL="0" indent="0">
              <a:buNone/>
              <a:defRPr sz="2448" b="1"/>
            </a:lvl1pPr>
            <a:lvl2pPr marL="466298" indent="0">
              <a:buNone/>
              <a:defRPr sz="2040" b="1"/>
            </a:lvl2pPr>
            <a:lvl3pPr marL="932597" indent="0">
              <a:buNone/>
              <a:defRPr sz="1836" b="1"/>
            </a:lvl3pPr>
            <a:lvl4pPr marL="1398895" indent="0">
              <a:buNone/>
              <a:defRPr sz="1632" b="1"/>
            </a:lvl4pPr>
            <a:lvl5pPr marL="1865193" indent="0">
              <a:buNone/>
              <a:defRPr sz="1632" b="1"/>
            </a:lvl5pPr>
            <a:lvl6pPr marL="2331491" indent="0">
              <a:buNone/>
              <a:defRPr sz="1632" b="1"/>
            </a:lvl6pPr>
            <a:lvl7pPr marL="2797790" indent="0">
              <a:buNone/>
              <a:defRPr sz="1632" b="1"/>
            </a:lvl7pPr>
            <a:lvl8pPr marL="3264088" indent="0">
              <a:buNone/>
              <a:defRPr sz="1632" b="1"/>
            </a:lvl8pPr>
            <a:lvl9pPr marL="3730386" indent="0">
              <a:buNone/>
              <a:defRPr sz="1632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14127AA-F556-4E02-A0B0-C7734775AA1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95965" y="2554944"/>
            <a:ext cx="5287122" cy="37579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698A724-4567-4D56-9C97-EDE77A6C98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37F1877-4A69-4662-9AF6-9A409F6459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#MicrosoftEDU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301538F-00AC-485D-8ACD-D83BFA939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3C137E-3081-40C4-AC06-B50B8E9A89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812666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F6B72B-20F1-42D0-B105-C5C83D58F1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4E2A75D-BA18-4FE4-88FB-C9CDF3C998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C2F0A4-5D4A-40CB-94F4-364591CB75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#MicrosoftEDU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EE94D29-12AF-4DC4-8375-4A2A77D957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3C137E-3081-40C4-AC06-B50B8E9A89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59676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120E794-0C51-45BF-A6CD-A3B158918C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F3F16A8-5EC6-4AB3-9E04-153C3ECDC3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#MicrosoftEDU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C44795C-41C1-43DB-A1C6-14130EAD8B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3C137E-3081-40C4-AC06-B50B8E9A89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328478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DAB9ED-5300-46A0-9224-655681EB1F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628" y="466302"/>
            <a:ext cx="4011087" cy="1632056"/>
          </a:xfrm>
        </p:spPr>
        <p:txBody>
          <a:bodyPr anchor="b"/>
          <a:lstStyle>
            <a:lvl1pPr>
              <a:defRPr sz="3264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0724308-0C71-4F48-9B57-D4179B3726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87122" y="1007083"/>
            <a:ext cx="6295965" cy="4970646"/>
          </a:xfrm>
        </p:spPr>
        <p:txBody>
          <a:bodyPr/>
          <a:lstStyle>
            <a:lvl1pPr>
              <a:defRPr sz="3264"/>
            </a:lvl1pPr>
            <a:lvl2pPr>
              <a:defRPr sz="2856"/>
            </a:lvl2pPr>
            <a:lvl3pPr>
              <a:defRPr sz="2448"/>
            </a:lvl3pPr>
            <a:lvl4pPr>
              <a:defRPr sz="2040"/>
            </a:lvl4pPr>
            <a:lvl5pPr>
              <a:defRPr sz="2040"/>
            </a:lvl5pPr>
            <a:lvl6pPr>
              <a:defRPr sz="2040"/>
            </a:lvl6pPr>
            <a:lvl7pPr>
              <a:defRPr sz="2040"/>
            </a:lvl7pPr>
            <a:lvl8pPr>
              <a:defRPr sz="2040"/>
            </a:lvl8pPr>
            <a:lvl9pPr>
              <a:defRPr sz="204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F864F6D-9548-45D0-9356-E45506A910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56628" y="2098357"/>
            <a:ext cx="4011087" cy="3887467"/>
          </a:xfrm>
        </p:spPr>
        <p:txBody>
          <a:bodyPr/>
          <a:lstStyle>
            <a:lvl1pPr marL="0" indent="0">
              <a:buNone/>
              <a:defRPr sz="1632"/>
            </a:lvl1pPr>
            <a:lvl2pPr marL="466298" indent="0">
              <a:buNone/>
              <a:defRPr sz="1428"/>
            </a:lvl2pPr>
            <a:lvl3pPr marL="932597" indent="0">
              <a:buNone/>
              <a:defRPr sz="1224"/>
            </a:lvl3pPr>
            <a:lvl4pPr marL="1398895" indent="0">
              <a:buNone/>
              <a:defRPr sz="1020"/>
            </a:lvl4pPr>
            <a:lvl5pPr marL="1865193" indent="0">
              <a:buNone/>
              <a:defRPr sz="1020"/>
            </a:lvl5pPr>
            <a:lvl6pPr marL="2331491" indent="0">
              <a:buNone/>
              <a:defRPr sz="1020"/>
            </a:lvl6pPr>
            <a:lvl7pPr marL="2797790" indent="0">
              <a:buNone/>
              <a:defRPr sz="1020"/>
            </a:lvl7pPr>
            <a:lvl8pPr marL="3264088" indent="0">
              <a:buNone/>
              <a:defRPr sz="1020"/>
            </a:lvl8pPr>
            <a:lvl9pPr marL="3730386" indent="0">
              <a:buNone/>
              <a:defRPr sz="102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BF379D0-A437-41A6-BBD5-9BAE5EA4AC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CFC172-878D-4A3F-A9C4-150A15E46B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#MicrosoftEDU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C39A2B4-B188-4C04-B63A-005FABD439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3C137E-3081-40C4-AC06-B50B8E9A89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650909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E4AB37-DF6F-42E8-89DA-B0565E4DAC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628" y="466302"/>
            <a:ext cx="4011087" cy="1632056"/>
          </a:xfrm>
        </p:spPr>
        <p:txBody>
          <a:bodyPr anchor="b"/>
          <a:lstStyle>
            <a:lvl1pPr>
              <a:defRPr sz="3264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F177B8C-C10D-4BCA-B73F-A7BF21C1C7C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287122" y="1007083"/>
            <a:ext cx="6295965" cy="4970646"/>
          </a:xfrm>
        </p:spPr>
        <p:txBody>
          <a:bodyPr/>
          <a:lstStyle>
            <a:lvl1pPr marL="0" indent="0">
              <a:buNone/>
              <a:defRPr sz="3264"/>
            </a:lvl1pPr>
            <a:lvl2pPr marL="466298" indent="0">
              <a:buNone/>
              <a:defRPr sz="2856"/>
            </a:lvl2pPr>
            <a:lvl3pPr marL="932597" indent="0">
              <a:buNone/>
              <a:defRPr sz="2448"/>
            </a:lvl3pPr>
            <a:lvl4pPr marL="1398895" indent="0">
              <a:buNone/>
              <a:defRPr sz="2040"/>
            </a:lvl4pPr>
            <a:lvl5pPr marL="1865193" indent="0">
              <a:buNone/>
              <a:defRPr sz="2040"/>
            </a:lvl5pPr>
            <a:lvl6pPr marL="2331491" indent="0">
              <a:buNone/>
              <a:defRPr sz="2040"/>
            </a:lvl6pPr>
            <a:lvl7pPr marL="2797790" indent="0">
              <a:buNone/>
              <a:defRPr sz="2040"/>
            </a:lvl7pPr>
            <a:lvl8pPr marL="3264088" indent="0">
              <a:buNone/>
              <a:defRPr sz="2040"/>
            </a:lvl8pPr>
            <a:lvl9pPr marL="3730386" indent="0">
              <a:buNone/>
              <a:defRPr sz="2040"/>
            </a:lvl9pPr>
          </a:lstStyle>
          <a:p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448B762-0F3D-43CA-B102-F638A27B50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56628" y="2098357"/>
            <a:ext cx="4011087" cy="3887467"/>
          </a:xfrm>
        </p:spPr>
        <p:txBody>
          <a:bodyPr/>
          <a:lstStyle>
            <a:lvl1pPr marL="0" indent="0">
              <a:buNone/>
              <a:defRPr sz="1632"/>
            </a:lvl1pPr>
            <a:lvl2pPr marL="466298" indent="0">
              <a:buNone/>
              <a:defRPr sz="1428"/>
            </a:lvl2pPr>
            <a:lvl3pPr marL="932597" indent="0">
              <a:buNone/>
              <a:defRPr sz="1224"/>
            </a:lvl3pPr>
            <a:lvl4pPr marL="1398895" indent="0">
              <a:buNone/>
              <a:defRPr sz="1020"/>
            </a:lvl4pPr>
            <a:lvl5pPr marL="1865193" indent="0">
              <a:buNone/>
              <a:defRPr sz="1020"/>
            </a:lvl5pPr>
            <a:lvl6pPr marL="2331491" indent="0">
              <a:buNone/>
              <a:defRPr sz="1020"/>
            </a:lvl6pPr>
            <a:lvl7pPr marL="2797790" indent="0">
              <a:buNone/>
              <a:defRPr sz="1020"/>
            </a:lvl7pPr>
            <a:lvl8pPr marL="3264088" indent="0">
              <a:buNone/>
              <a:defRPr sz="1020"/>
            </a:lvl8pPr>
            <a:lvl9pPr marL="3730386" indent="0">
              <a:buNone/>
              <a:defRPr sz="102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287D05A-A599-4543-88FE-0D3F9A84C0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58A37A2-5A15-4A54-9141-2E75B07456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#MicrosoftEDU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1B39D8E-89A4-4A70-A5B1-EEAF2E53D5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3C137E-3081-40C4-AC06-B50B8E9A89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878551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CD5B8C-0A89-4497-A1C0-F61B5CA91A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9B518C4-25FC-4D7E-BD22-A4D4D021798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DC5A08-C51A-4E09-B416-2509CBFF49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A806CB-20C2-4E48-AEFF-F982625942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#MicrosoftEDU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D47417-BD50-4C9C-9CF8-773D49F241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3C137E-3081-40C4-AC06-B50B8E9A89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94849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EA6EBB-FB30-44CA-8997-AEF85F9208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628" y="466302"/>
            <a:ext cx="4011087" cy="1632056"/>
          </a:xfrm>
        </p:spPr>
        <p:txBody>
          <a:bodyPr anchor="b"/>
          <a:lstStyle>
            <a:lvl1pPr>
              <a:defRPr sz="3264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78C6DA-7E9B-4FC4-BC6F-1CFF7B598D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87122" y="1007083"/>
            <a:ext cx="6295965" cy="4970646"/>
          </a:xfrm>
        </p:spPr>
        <p:txBody>
          <a:bodyPr/>
          <a:lstStyle>
            <a:lvl1pPr>
              <a:defRPr sz="3264"/>
            </a:lvl1pPr>
            <a:lvl2pPr>
              <a:defRPr sz="2856"/>
            </a:lvl2pPr>
            <a:lvl3pPr>
              <a:defRPr sz="2448"/>
            </a:lvl3pPr>
            <a:lvl4pPr>
              <a:defRPr sz="2040"/>
            </a:lvl4pPr>
            <a:lvl5pPr>
              <a:defRPr sz="2040"/>
            </a:lvl5pPr>
            <a:lvl6pPr>
              <a:defRPr sz="2040"/>
            </a:lvl6pPr>
            <a:lvl7pPr>
              <a:defRPr sz="2040"/>
            </a:lvl7pPr>
            <a:lvl8pPr>
              <a:defRPr sz="2040"/>
            </a:lvl8pPr>
            <a:lvl9pPr>
              <a:defRPr sz="204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E61BCFD-8E6D-4770-B56F-BB300018111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56628" y="2098357"/>
            <a:ext cx="4011087" cy="3887467"/>
          </a:xfrm>
        </p:spPr>
        <p:txBody>
          <a:bodyPr/>
          <a:lstStyle>
            <a:lvl1pPr marL="0" indent="0">
              <a:buNone/>
              <a:defRPr sz="1632"/>
            </a:lvl1pPr>
            <a:lvl2pPr marL="466298" indent="0">
              <a:buNone/>
              <a:defRPr sz="1428"/>
            </a:lvl2pPr>
            <a:lvl3pPr marL="932597" indent="0">
              <a:buNone/>
              <a:defRPr sz="1224"/>
            </a:lvl3pPr>
            <a:lvl4pPr marL="1398895" indent="0">
              <a:buNone/>
              <a:defRPr sz="1020"/>
            </a:lvl4pPr>
            <a:lvl5pPr marL="1865193" indent="0">
              <a:buNone/>
              <a:defRPr sz="1020"/>
            </a:lvl5pPr>
            <a:lvl6pPr marL="2331491" indent="0">
              <a:buNone/>
              <a:defRPr sz="1020"/>
            </a:lvl6pPr>
            <a:lvl7pPr marL="2797790" indent="0">
              <a:buNone/>
              <a:defRPr sz="1020"/>
            </a:lvl7pPr>
            <a:lvl8pPr marL="3264088" indent="0">
              <a:buNone/>
              <a:defRPr sz="1020"/>
            </a:lvl8pPr>
            <a:lvl9pPr marL="3730386" indent="0">
              <a:buNone/>
              <a:defRPr sz="102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DE09164-6FD6-499F-84C9-D478BBA00D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47F7F1-0E89-4D7B-8516-36A4AC75346A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5DF3E7D-124A-42C6-91BE-855EB4D805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3C5A0B5-1F7F-476E-9AD2-F01C3F6B89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792400-19F6-4B13-9EA1-2A330825251F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18698297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AF1268D-9A59-43B5-A83D-F275B9716BB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899852" y="372394"/>
            <a:ext cx="2681615" cy="5927537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4EF99CC-839A-45C2-8353-F7BD2F26F3B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55008" y="372394"/>
            <a:ext cx="7889389" cy="5927537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A5C9C0-0F8A-4885-8535-BCF75004CD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EB529D-AD42-443B-A6DD-9282C08DB9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#MicrosoftEDU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532DC52-CB58-4BD4-A6FC-25829123F6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3C137E-3081-40C4-AC06-B50B8E9A89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114634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F2D68F-F9CF-4EA3-ABA2-8D975389E6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54560" y="1144706"/>
            <a:ext cx="9327356" cy="2435131"/>
          </a:xfrm>
        </p:spPr>
        <p:txBody>
          <a:bodyPr anchor="b"/>
          <a:lstStyle>
            <a:lvl1pPr algn="ctr">
              <a:defRPr sz="6119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7EF8D6A-4F61-4A4E-B5FA-E5359D13B64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54560" y="3673745"/>
            <a:ext cx="9327356" cy="1688724"/>
          </a:xfrm>
        </p:spPr>
        <p:txBody>
          <a:bodyPr/>
          <a:lstStyle>
            <a:lvl1pPr marL="0" indent="0" algn="ctr">
              <a:buNone/>
              <a:defRPr sz="2448"/>
            </a:lvl1pPr>
            <a:lvl2pPr marL="466298" indent="0" algn="ctr">
              <a:buNone/>
              <a:defRPr sz="2040"/>
            </a:lvl2pPr>
            <a:lvl3pPr marL="932597" indent="0" algn="ctr">
              <a:buNone/>
              <a:defRPr sz="1836"/>
            </a:lvl3pPr>
            <a:lvl4pPr marL="1398895" indent="0" algn="ctr">
              <a:buNone/>
              <a:defRPr sz="1632"/>
            </a:lvl4pPr>
            <a:lvl5pPr marL="1865193" indent="0" algn="ctr">
              <a:buNone/>
              <a:defRPr sz="1632"/>
            </a:lvl5pPr>
            <a:lvl6pPr marL="2331491" indent="0" algn="ctr">
              <a:buNone/>
              <a:defRPr sz="1632"/>
            </a:lvl6pPr>
            <a:lvl7pPr marL="2797790" indent="0" algn="ctr">
              <a:buNone/>
              <a:defRPr sz="1632"/>
            </a:lvl7pPr>
            <a:lvl8pPr marL="3264088" indent="0" algn="ctr">
              <a:buNone/>
              <a:defRPr sz="1632"/>
            </a:lvl8pPr>
            <a:lvl9pPr marL="3730386" indent="0" algn="ctr">
              <a:buNone/>
              <a:defRPr sz="1632"/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0D2A01D-DE2C-449C-A47E-E449786F8B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781E68-B349-404A-BD0A-9E1CB3E9E318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ED7C09-C10C-4677-AD77-144B845AC9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13C98E-FB7C-4C4A-903E-367445EBFA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466D64-94D5-4B37-808A-9098561C6433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41215005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607F2-EFCC-46D4-BE7E-57C5F5218B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A30696-5417-44FE-9430-64CB2879E96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E70540-6334-437F-BD15-4216F4A4AD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781E68-B349-404A-BD0A-9E1CB3E9E318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31FEF7-C92F-41A6-AA6A-32F388DFEF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21E537-1A2A-4756-A1E3-2D01169298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466D64-94D5-4B37-808A-9098561C6433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00329263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6B76EC-6DBE-4D42-8D0D-E3C16E4514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8530" y="1743775"/>
            <a:ext cx="10726460" cy="2909528"/>
          </a:xfrm>
        </p:spPr>
        <p:txBody>
          <a:bodyPr anchor="b"/>
          <a:lstStyle>
            <a:lvl1pPr>
              <a:defRPr sz="6119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FFD77D6-4686-42F8-B99C-CC33C98FFD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8530" y="4680828"/>
            <a:ext cx="10726460" cy="1530052"/>
          </a:xfrm>
        </p:spPr>
        <p:txBody>
          <a:bodyPr/>
          <a:lstStyle>
            <a:lvl1pPr marL="0" indent="0">
              <a:buNone/>
              <a:defRPr sz="2448">
                <a:solidFill>
                  <a:schemeClr val="tx1">
                    <a:tint val="75000"/>
                  </a:schemeClr>
                </a:solidFill>
              </a:defRPr>
            </a:lvl1pPr>
            <a:lvl2pPr marL="466298" indent="0">
              <a:buNone/>
              <a:defRPr sz="2040">
                <a:solidFill>
                  <a:schemeClr val="tx1">
                    <a:tint val="75000"/>
                  </a:schemeClr>
                </a:solidFill>
              </a:defRPr>
            </a:lvl2pPr>
            <a:lvl3pPr marL="932597" indent="0">
              <a:buNone/>
              <a:defRPr sz="1836">
                <a:solidFill>
                  <a:schemeClr val="tx1">
                    <a:tint val="75000"/>
                  </a:schemeClr>
                </a:solidFill>
              </a:defRPr>
            </a:lvl3pPr>
            <a:lvl4pPr marL="1398895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4pPr>
            <a:lvl5pPr marL="1865193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5pPr>
            <a:lvl6pPr marL="2331491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6pPr>
            <a:lvl7pPr marL="2797790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7pPr>
            <a:lvl8pPr marL="3264088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8pPr>
            <a:lvl9pPr marL="3730386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214954B-D6FF-4BDE-964E-A80C58D53C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781E68-B349-404A-BD0A-9E1CB3E9E318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AA90BE-5E83-49F6-8F8A-2A20FB77C2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F6D9F7-BDD7-4CC0-9666-465234F240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466D64-94D5-4B37-808A-9098561C6433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73882449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B5BB6C-9CB6-43D6-8C35-A6DA8C33CC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15ED20-532D-4E30-8D3A-394BAC55FE5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55008" y="1861968"/>
            <a:ext cx="5285502" cy="44379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2287F56-A521-461A-948A-4DE54655835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5965" y="1861968"/>
            <a:ext cx="5285502" cy="443796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EC8B74E-93E7-4B0E-8C9B-E56F38AA25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781E68-B349-404A-BD0A-9E1CB3E9E318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ECD5EA8-658B-40A5-AECE-C2B864B0E5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E53378C-7642-4C36-B075-841526574F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466D64-94D5-4B37-808A-9098561C6433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15036557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A77084-F89D-430A-A145-B79F55922D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627" y="372394"/>
            <a:ext cx="10726460" cy="135195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1DCBC2-CDF8-4679-BD6B-000877B498B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56628" y="1714631"/>
            <a:ext cx="5261211" cy="840314"/>
          </a:xfrm>
        </p:spPr>
        <p:txBody>
          <a:bodyPr anchor="b"/>
          <a:lstStyle>
            <a:lvl1pPr marL="0" indent="0">
              <a:buNone/>
              <a:defRPr sz="2448" b="1"/>
            </a:lvl1pPr>
            <a:lvl2pPr marL="466298" indent="0">
              <a:buNone/>
              <a:defRPr sz="2040" b="1"/>
            </a:lvl2pPr>
            <a:lvl3pPr marL="932597" indent="0">
              <a:buNone/>
              <a:defRPr sz="1836" b="1"/>
            </a:lvl3pPr>
            <a:lvl4pPr marL="1398895" indent="0">
              <a:buNone/>
              <a:defRPr sz="1632" b="1"/>
            </a:lvl4pPr>
            <a:lvl5pPr marL="1865193" indent="0">
              <a:buNone/>
              <a:defRPr sz="1632" b="1"/>
            </a:lvl5pPr>
            <a:lvl6pPr marL="2331491" indent="0">
              <a:buNone/>
              <a:defRPr sz="1632" b="1"/>
            </a:lvl6pPr>
            <a:lvl7pPr marL="2797790" indent="0">
              <a:buNone/>
              <a:defRPr sz="1632" b="1"/>
            </a:lvl7pPr>
            <a:lvl8pPr marL="3264088" indent="0">
              <a:buNone/>
              <a:defRPr sz="1632" b="1"/>
            </a:lvl8pPr>
            <a:lvl9pPr marL="3730386" indent="0">
              <a:buNone/>
              <a:defRPr sz="1632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6A01F1-58F5-4946-9CB2-DE788D54BF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56628" y="2554944"/>
            <a:ext cx="5261211" cy="37579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DA6B8E0-DA05-4636-8ACB-7BBC9DD9AD6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95965" y="1714631"/>
            <a:ext cx="5287122" cy="840314"/>
          </a:xfrm>
        </p:spPr>
        <p:txBody>
          <a:bodyPr anchor="b"/>
          <a:lstStyle>
            <a:lvl1pPr marL="0" indent="0">
              <a:buNone/>
              <a:defRPr sz="2448" b="1"/>
            </a:lvl1pPr>
            <a:lvl2pPr marL="466298" indent="0">
              <a:buNone/>
              <a:defRPr sz="2040" b="1"/>
            </a:lvl2pPr>
            <a:lvl3pPr marL="932597" indent="0">
              <a:buNone/>
              <a:defRPr sz="1836" b="1"/>
            </a:lvl3pPr>
            <a:lvl4pPr marL="1398895" indent="0">
              <a:buNone/>
              <a:defRPr sz="1632" b="1"/>
            </a:lvl4pPr>
            <a:lvl5pPr marL="1865193" indent="0">
              <a:buNone/>
              <a:defRPr sz="1632" b="1"/>
            </a:lvl5pPr>
            <a:lvl6pPr marL="2331491" indent="0">
              <a:buNone/>
              <a:defRPr sz="1632" b="1"/>
            </a:lvl6pPr>
            <a:lvl7pPr marL="2797790" indent="0">
              <a:buNone/>
              <a:defRPr sz="1632" b="1"/>
            </a:lvl7pPr>
            <a:lvl8pPr marL="3264088" indent="0">
              <a:buNone/>
              <a:defRPr sz="1632" b="1"/>
            </a:lvl8pPr>
            <a:lvl9pPr marL="3730386" indent="0">
              <a:buNone/>
              <a:defRPr sz="1632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186D674-DF03-4407-8FC5-715B3708DA5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95965" y="2554944"/>
            <a:ext cx="5287122" cy="37579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2B064A8-E8FE-424D-8046-ED6259DE10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781E68-B349-404A-BD0A-9E1CB3E9E318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0030320-72B1-4131-A6B9-DFD80CD7DE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B41079C-5958-43F1-9C1F-1035AA8893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466D64-94D5-4B37-808A-9098561C6433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8475991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9D6639-7F3D-4572-BCCF-FF80E4229E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8C00FA1-9D2D-4D45-B972-FEC2898DC4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781E68-B349-404A-BD0A-9E1CB3E9E318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17D9EAB-C35A-4E1F-9651-4ABC998BE3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A6CE05-6CA0-4C35-A8A7-AFCE3A809C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466D64-94D5-4B37-808A-9098561C6433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77681115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F104A91-18DA-42D6-A595-88C81620EA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781E68-B349-404A-BD0A-9E1CB3E9E318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B43BB1-BA71-4FD1-95DC-273836D96B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E0FBDF5-4F72-49C7-9B51-7724287D87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466D64-94D5-4B37-808A-9098561C6433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8220659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E2E17D-0DA2-4FAF-8FA0-D43CF401AB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628" y="466302"/>
            <a:ext cx="4011087" cy="1632056"/>
          </a:xfrm>
        </p:spPr>
        <p:txBody>
          <a:bodyPr anchor="b"/>
          <a:lstStyle>
            <a:lvl1pPr>
              <a:defRPr sz="3264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31C20E-68BB-4B6D-A794-201AA7B148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87122" y="1007083"/>
            <a:ext cx="6295965" cy="4970646"/>
          </a:xfrm>
        </p:spPr>
        <p:txBody>
          <a:bodyPr/>
          <a:lstStyle>
            <a:lvl1pPr>
              <a:defRPr sz="3264"/>
            </a:lvl1pPr>
            <a:lvl2pPr>
              <a:defRPr sz="2856"/>
            </a:lvl2pPr>
            <a:lvl3pPr>
              <a:defRPr sz="2448"/>
            </a:lvl3pPr>
            <a:lvl4pPr>
              <a:defRPr sz="2040"/>
            </a:lvl4pPr>
            <a:lvl5pPr>
              <a:defRPr sz="2040"/>
            </a:lvl5pPr>
            <a:lvl6pPr>
              <a:defRPr sz="2040"/>
            </a:lvl6pPr>
            <a:lvl7pPr>
              <a:defRPr sz="2040"/>
            </a:lvl7pPr>
            <a:lvl8pPr>
              <a:defRPr sz="2040"/>
            </a:lvl8pPr>
            <a:lvl9pPr>
              <a:defRPr sz="204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E1BBF3B-98AC-4225-9282-C741228C24D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56628" y="2098357"/>
            <a:ext cx="4011087" cy="3887467"/>
          </a:xfrm>
        </p:spPr>
        <p:txBody>
          <a:bodyPr/>
          <a:lstStyle>
            <a:lvl1pPr marL="0" indent="0">
              <a:buNone/>
              <a:defRPr sz="1632"/>
            </a:lvl1pPr>
            <a:lvl2pPr marL="466298" indent="0">
              <a:buNone/>
              <a:defRPr sz="1428"/>
            </a:lvl2pPr>
            <a:lvl3pPr marL="932597" indent="0">
              <a:buNone/>
              <a:defRPr sz="1224"/>
            </a:lvl3pPr>
            <a:lvl4pPr marL="1398895" indent="0">
              <a:buNone/>
              <a:defRPr sz="1020"/>
            </a:lvl4pPr>
            <a:lvl5pPr marL="1865193" indent="0">
              <a:buNone/>
              <a:defRPr sz="1020"/>
            </a:lvl5pPr>
            <a:lvl6pPr marL="2331491" indent="0">
              <a:buNone/>
              <a:defRPr sz="1020"/>
            </a:lvl6pPr>
            <a:lvl7pPr marL="2797790" indent="0">
              <a:buNone/>
              <a:defRPr sz="1020"/>
            </a:lvl7pPr>
            <a:lvl8pPr marL="3264088" indent="0">
              <a:buNone/>
              <a:defRPr sz="1020"/>
            </a:lvl8pPr>
            <a:lvl9pPr marL="3730386" indent="0">
              <a:buNone/>
              <a:defRPr sz="102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2FE8E6B-1292-4517-BDD5-D453BEE3B7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781E68-B349-404A-BD0A-9E1CB3E9E318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70FA20-3B34-4538-B071-B1F7698E65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4DF73E-88CC-4A4B-9975-CEA07DC30F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466D64-94D5-4B37-808A-9098561C6433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77450268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9D7BDB-FE31-4261-96DA-BE2E61101E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628" y="466302"/>
            <a:ext cx="4011087" cy="1632056"/>
          </a:xfrm>
        </p:spPr>
        <p:txBody>
          <a:bodyPr anchor="b"/>
          <a:lstStyle>
            <a:lvl1pPr>
              <a:defRPr sz="3264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45FD11A-C29E-473E-AB12-9C0216984A4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287122" y="1007083"/>
            <a:ext cx="6295965" cy="4970646"/>
          </a:xfrm>
        </p:spPr>
        <p:txBody>
          <a:bodyPr/>
          <a:lstStyle>
            <a:lvl1pPr marL="0" indent="0">
              <a:buNone/>
              <a:defRPr sz="3264"/>
            </a:lvl1pPr>
            <a:lvl2pPr marL="466298" indent="0">
              <a:buNone/>
              <a:defRPr sz="2856"/>
            </a:lvl2pPr>
            <a:lvl3pPr marL="932597" indent="0">
              <a:buNone/>
              <a:defRPr sz="2448"/>
            </a:lvl3pPr>
            <a:lvl4pPr marL="1398895" indent="0">
              <a:buNone/>
              <a:defRPr sz="2040"/>
            </a:lvl4pPr>
            <a:lvl5pPr marL="1865193" indent="0">
              <a:buNone/>
              <a:defRPr sz="2040"/>
            </a:lvl5pPr>
            <a:lvl6pPr marL="2331491" indent="0">
              <a:buNone/>
              <a:defRPr sz="2040"/>
            </a:lvl6pPr>
            <a:lvl7pPr marL="2797790" indent="0">
              <a:buNone/>
              <a:defRPr sz="2040"/>
            </a:lvl7pPr>
            <a:lvl8pPr marL="3264088" indent="0">
              <a:buNone/>
              <a:defRPr sz="2040"/>
            </a:lvl8pPr>
            <a:lvl9pPr marL="3730386" indent="0">
              <a:buNone/>
              <a:defRPr sz="2040"/>
            </a:lvl9pPr>
          </a:lstStyle>
          <a:p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FB3A532-6BD4-44F2-B52C-65518CFC212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56628" y="2098357"/>
            <a:ext cx="4011087" cy="3887467"/>
          </a:xfrm>
        </p:spPr>
        <p:txBody>
          <a:bodyPr/>
          <a:lstStyle>
            <a:lvl1pPr marL="0" indent="0">
              <a:buNone/>
              <a:defRPr sz="1632"/>
            </a:lvl1pPr>
            <a:lvl2pPr marL="466298" indent="0">
              <a:buNone/>
              <a:defRPr sz="1428"/>
            </a:lvl2pPr>
            <a:lvl3pPr marL="932597" indent="0">
              <a:buNone/>
              <a:defRPr sz="1224"/>
            </a:lvl3pPr>
            <a:lvl4pPr marL="1398895" indent="0">
              <a:buNone/>
              <a:defRPr sz="1020"/>
            </a:lvl4pPr>
            <a:lvl5pPr marL="1865193" indent="0">
              <a:buNone/>
              <a:defRPr sz="1020"/>
            </a:lvl5pPr>
            <a:lvl6pPr marL="2331491" indent="0">
              <a:buNone/>
              <a:defRPr sz="1020"/>
            </a:lvl6pPr>
            <a:lvl7pPr marL="2797790" indent="0">
              <a:buNone/>
              <a:defRPr sz="1020"/>
            </a:lvl7pPr>
            <a:lvl8pPr marL="3264088" indent="0">
              <a:buNone/>
              <a:defRPr sz="1020"/>
            </a:lvl8pPr>
            <a:lvl9pPr marL="3730386" indent="0">
              <a:buNone/>
              <a:defRPr sz="102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19A314-3314-4912-BA39-30225FF8C9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781E68-B349-404A-BD0A-9E1CB3E9E318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88807B3-73B6-4E4B-B508-A1413E4288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86F6860-0E3D-477C-8114-19C46F1608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466D64-94D5-4B37-808A-9098561C6433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33762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CC7F5F-D3AE-4AA2-8C29-61F2141FAB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6628" y="466302"/>
            <a:ext cx="4011087" cy="1632056"/>
          </a:xfrm>
        </p:spPr>
        <p:txBody>
          <a:bodyPr anchor="b"/>
          <a:lstStyle>
            <a:lvl1pPr>
              <a:defRPr sz="3264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ABD3682-8EC3-455E-9C42-781F33DB9E2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287122" y="1007083"/>
            <a:ext cx="6295965" cy="4970646"/>
          </a:xfrm>
        </p:spPr>
        <p:txBody>
          <a:bodyPr/>
          <a:lstStyle>
            <a:lvl1pPr marL="0" indent="0">
              <a:buNone/>
              <a:defRPr sz="3264"/>
            </a:lvl1pPr>
            <a:lvl2pPr marL="466298" indent="0">
              <a:buNone/>
              <a:defRPr sz="2856"/>
            </a:lvl2pPr>
            <a:lvl3pPr marL="932597" indent="0">
              <a:buNone/>
              <a:defRPr sz="2448"/>
            </a:lvl3pPr>
            <a:lvl4pPr marL="1398895" indent="0">
              <a:buNone/>
              <a:defRPr sz="2040"/>
            </a:lvl4pPr>
            <a:lvl5pPr marL="1865193" indent="0">
              <a:buNone/>
              <a:defRPr sz="2040"/>
            </a:lvl5pPr>
            <a:lvl6pPr marL="2331491" indent="0">
              <a:buNone/>
              <a:defRPr sz="2040"/>
            </a:lvl6pPr>
            <a:lvl7pPr marL="2797790" indent="0">
              <a:buNone/>
              <a:defRPr sz="2040"/>
            </a:lvl7pPr>
            <a:lvl8pPr marL="3264088" indent="0">
              <a:buNone/>
              <a:defRPr sz="2040"/>
            </a:lvl8pPr>
            <a:lvl9pPr marL="3730386" indent="0">
              <a:buNone/>
              <a:defRPr sz="2040"/>
            </a:lvl9pPr>
          </a:lstStyle>
          <a:p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FCCAFFB-462F-4AD2-9FC1-FDE273C58DB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56628" y="2098357"/>
            <a:ext cx="4011087" cy="3887467"/>
          </a:xfrm>
        </p:spPr>
        <p:txBody>
          <a:bodyPr/>
          <a:lstStyle>
            <a:lvl1pPr marL="0" indent="0">
              <a:buNone/>
              <a:defRPr sz="1632"/>
            </a:lvl1pPr>
            <a:lvl2pPr marL="466298" indent="0">
              <a:buNone/>
              <a:defRPr sz="1428"/>
            </a:lvl2pPr>
            <a:lvl3pPr marL="932597" indent="0">
              <a:buNone/>
              <a:defRPr sz="1224"/>
            </a:lvl3pPr>
            <a:lvl4pPr marL="1398895" indent="0">
              <a:buNone/>
              <a:defRPr sz="1020"/>
            </a:lvl4pPr>
            <a:lvl5pPr marL="1865193" indent="0">
              <a:buNone/>
              <a:defRPr sz="1020"/>
            </a:lvl5pPr>
            <a:lvl6pPr marL="2331491" indent="0">
              <a:buNone/>
              <a:defRPr sz="1020"/>
            </a:lvl6pPr>
            <a:lvl7pPr marL="2797790" indent="0">
              <a:buNone/>
              <a:defRPr sz="1020"/>
            </a:lvl7pPr>
            <a:lvl8pPr marL="3264088" indent="0">
              <a:buNone/>
              <a:defRPr sz="1020"/>
            </a:lvl8pPr>
            <a:lvl9pPr marL="3730386" indent="0">
              <a:buNone/>
              <a:defRPr sz="102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FBFAF57-5E07-4FA5-B4F5-859D845A9C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47F7F1-0E89-4D7B-8516-36A4AC75346A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67F514-14CB-4A21-8B35-DD4109376A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E7409D4-7523-4978-8ABF-D361CD7336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792400-19F6-4B13-9EA1-2A330825251F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924284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01C5E3-C673-4042-99EC-23BAD3B39B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63EF107-B5A2-463E-9023-E7832F8D4E9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012CA2E-7076-4EC9-B554-A2D27C95A6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781E68-B349-404A-BD0A-9E1CB3E9E318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79FEF9-A32B-4C57-9151-6F299F7DA5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726E7D-FD91-40DE-B592-A200BF295F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466D64-94D5-4B37-808A-9098561C6433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805893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8ECDA1B-3015-46C9-9137-057553BAD53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899852" y="372394"/>
            <a:ext cx="2681615" cy="5927537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6CBB5E8-461E-4E95-A6E6-AAF7A85537E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55008" y="372394"/>
            <a:ext cx="7889389" cy="5927537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AA291C-B517-4E23-96CC-B4261D010B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781E68-B349-404A-BD0A-9E1CB3E9E318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E2546D-1F9F-479C-839E-652F60E423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8EA624-538D-4383-85F0-C6F58D5087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466D64-94D5-4B37-808A-9098561C6433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93037318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 (event n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>
            <a:grpSpLocks noChangeAspect="1"/>
          </p:cNvGrpSpPr>
          <p:nvPr userDrawn="1"/>
        </p:nvGrpSpPr>
        <p:grpSpPr bwMode="white">
          <a:xfrm>
            <a:off x="468308" y="479425"/>
            <a:ext cx="1448129" cy="310896"/>
            <a:chOff x="457200" y="1643393"/>
            <a:chExt cx="4492753" cy="964540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white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8" name="Freeform 12"/>
            <p:cNvSpPr>
              <a:spLocks noEditPoints="1"/>
            </p:cNvSpPr>
            <p:nvPr/>
          </p:nvSpPr>
          <p:spPr bwMode="white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597"/>
              <a:endParaRPr lang="en-US" sz="1800">
                <a:solidFill>
                  <a:srgbClr val="353535"/>
                </a:solidFill>
              </a:endParaRPr>
            </a:p>
          </p:txBody>
        </p:sp>
      </p:grp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04630" y="493939"/>
            <a:ext cx="6959571" cy="1325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4933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288">
          <p15:clr>
            <a:srgbClr val="C35EA4"/>
          </p15:clr>
        </p15:guide>
        <p15:guide id="2" pos="7546">
          <p15:clr>
            <a:srgbClr val="C35EA4"/>
          </p15:clr>
        </p15:guide>
        <p15:guide id="3" orient="horz" pos="302">
          <p15:clr>
            <a:srgbClr val="C35EA4"/>
          </p15:clr>
        </p15:guide>
        <p15:guide id="4" orient="horz" pos="4104">
          <p15:clr>
            <a:srgbClr val="C35EA4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ANIMA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5"/>
          <p:cNvSpPr>
            <a:spLocks noChangeArrowheads="1"/>
          </p:cNvSpPr>
          <p:nvPr userDrawn="1"/>
        </p:nvSpPr>
        <p:spPr bwMode="auto">
          <a:xfrm>
            <a:off x="3176" y="4395789"/>
            <a:ext cx="12433300" cy="2601913"/>
          </a:xfrm>
          <a:prstGeom prst="rect">
            <a:avLst/>
          </a:prstGeom>
          <a:solidFill>
            <a:srgbClr val="4DA0E2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97"/>
            <a:endParaRPr lang="en-US" sz="180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20" name="Rectangle 7"/>
          <p:cNvSpPr>
            <a:spLocks noChangeArrowheads="1"/>
          </p:cNvSpPr>
          <p:nvPr userDrawn="1"/>
        </p:nvSpPr>
        <p:spPr bwMode="auto">
          <a:xfrm>
            <a:off x="1" y="5843588"/>
            <a:ext cx="12433301" cy="1154113"/>
          </a:xfrm>
          <a:prstGeom prst="rect">
            <a:avLst/>
          </a:prstGeom>
          <a:solidFill>
            <a:srgbClr val="00188F"/>
          </a:solidFill>
          <a:ln>
            <a:noFill/>
          </a:ln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97"/>
            <a:endParaRPr lang="en-US" sz="180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21" name="Rectangle 8"/>
          <p:cNvSpPr>
            <a:spLocks noChangeArrowheads="1"/>
          </p:cNvSpPr>
          <p:nvPr userDrawn="1"/>
        </p:nvSpPr>
        <p:spPr bwMode="auto">
          <a:xfrm>
            <a:off x="3176" y="3409951"/>
            <a:ext cx="12430127" cy="282575"/>
          </a:xfrm>
          <a:prstGeom prst="rect">
            <a:avLst/>
          </a:prstGeom>
          <a:solidFill>
            <a:srgbClr val="25B9E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97"/>
            <a:endParaRPr lang="en-US" sz="180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22" name="Rectangle 21"/>
          <p:cNvSpPr/>
          <p:nvPr userDrawn="1"/>
        </p:nvSpPr>
        <p:spPr bwMode="white">
          <a:xfrm>
            <a:off x="0" y="-318"/>
            <a:ext cx="12435840" cy="6995160"/>
          </a:xfrm>
          <a:prstGeom prst="rect">
            <a:avLst/>
          </a:prstGeom>
          <a:solidFill>
            <a:srgbClr val="0078D7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54" tIns="146283" rIns="182854" bIns="14628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29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ker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" name="Rectangle 6"/>
          <p:cNvSpPr>
            <a:spLocks noChangeArrowheads="1"/>
          </p:cNvSpPr>
          <p:nvPr userDrawn="1"/>
        </p:nvSpPr>
        <p:spPr bwMode="auto">
          <a:xfrm>
            <a:off x="3176" y="4395789"/>
            <a:ext cx="12433300" cy="2601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defTabSz="932597"/>
            <a:endParaRPr lang="en-US" sz="180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2" y="3955786"/>
            <a:ext cx="7315137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 bwMode="black">
          <a:xfrm>
            <a:off x="468308" y="479425"/>
            <a:ext cx="1448129" cy="310896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597"/>
              <a:endParaRPr lang="en-US" sz="1800">
                <a:solidFill>
                  <a:srgbClr val="FFFFFF"/>
                </a:solidFill>
              </a:endParaRPr>
            </a:p>
          </p:txBody>
        </p:sp>
      </p:grpSp>
      <p:sp>
        <p:nvSpPr>
          <p:cNvPr id="11" name="TextBox 7"/>
          <p:cNvSpPr txBox="1"/>
          <p:nvPr userDrawn="1"/>
        </p:nvSpPr>
        <p:spPr bwMode="white">
          <a:xfrm>
            <a:off x="4443286" y="6696086"/>
            <a:ext cx="3549904" cy="16466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49" spc="15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  <p:sp>
        <p:nvSpPr>
          <p:cNvPr id="12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506905" y="294305"/>
            <a:ext cx="3657600" cy="578303"/>
          </a:xfrm>
        </p:spPr>
        <p:txBody>
          <a:bodyPr lIns="182880" tIns="146304" rIns="182880" bIns="146304"/>
          <a:lstStyle>
            <a:lvl1pPr marL="0" indent="0" algn="r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/>
              <a:t>Session Code</a:t>
            </a: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74703" y="6116467"/>
            <a:ext cx="3657600" cy="578303"/>
          </a:xfrm>
        </p:spPr>
        <p:txBody>
          <a:bodyPr lIns="182880" tIns="146304" rIns="182880" bIns="146304" anchor="b"/>
          <a:lstStyle>
            <a:lvl1pPr marL="0" indent="0" algn="l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/>
              <a:t>Yammer hashtag</a:t>
            </a:r>
          </a:p>
        </p:txBody>
      </p:sp>
    </p:spTree>
    <p:extLst>
      <p:ext uri="{BB962C8B-B14F-4D97-AF65-F5344CB8AC3E}">
        <p14:creationId xmlns:p14="http://schemas.microsoft.com/office/powerpoint/2010/main" val="38147353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accel="24000" decel="76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3.25011E-6 L 1.00728 3.25011E-6 " pathEditMode="relative" rAng="0" ptsTypes="AA">
                                      <p:cBhvr>
                                        <p:cTn id="6" dur="7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7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3" presetClass="path" presetSubtype="0" accel="24000" decel="76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0 3.25011E-6 L 1.00728 3.25011E-6 " pathEditMode="relative" rAng="0" ptsTypes="AA">
                                      <p:cBhvr>
                                        <p:cTn id="8" dur="7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7" y="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3" presetClass="path" presetSubtype="0" accel="24000" decel="7600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animMotion origin="layout" path="M 0 3.25011E-6 L 1.00728 3.25011E-6 " pathEditMode="relative" rAng="0" ptsTypes="AA">
                                      <p:cBhvr>
                                        <p:cTn id="10" dur="7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7" y="0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9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3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455 4.96142E-6 L -4.34261E-6 4.96142E-6 " pathEditMode="relative" rAng="0" ptsTypes="AA">
                                      <p:cBhvr>
                                        <p:cTn id="17" dur="9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8" presetID="6" presetClass="emph" presetSubtype="0" accel="100000" autoRev="1" fill="hold" grpId="2" nodeType="withEffect">
                                  <p:stCondLst>
                                    <p:cond delay="50"/>
                                  </p:stCondLst>
                                  <p:childTnLst>
                                    <p:animScale>
                                      <p:cBhvr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9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3" presetClass="path" presetSubtype="0" decel="10000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0.01455 2.42851E-6 L -3.02783E-6 2.42851E-6 " pathEditMode="relative" rAng="0" ptsTypes="AA">
                                      <p:cBhvr>
                                        <p:cTn id="24" dur="9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6" presetClass="emph" presetSubtype="0" accel="100000" autoRev="1" fill="hold" grpId="2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26" dur="500" fill="hold"/>
                                        <p:tgtEl>
                                          <p:spTgt spid="5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9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63" presetClass="pat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31" dur="9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32" presetID="6" presetClass="emph" presetSubtype="0" accel="100000" autoRev="1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33" dur="500" fill="hold"/>
                                        <p:tgtEl>
                                          <p:spTgt spid="7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9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63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38" dur="9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6" presetClass="emph" presetSubtype="0" accel="100000" autoRev="1" fill="hold" grpId="2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40" dur="500" fill="hold"/>
                                        <p:tgtEl>
                                          <p:spTgt spid="11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9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2.13345E-6 L 1.62369E-6 2.13345E-6 " pathEditMode="relative" rAng="0" ptsTypes="AA">
                                      <p:cBhvr>
                                        <p:cTn id="45" dur="9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7" dur="500" fill="hold"/>
                                        <p:tgtEl>
                                          <p:spTgt spid="12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9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-2.09714E-6 L -4.54174E-6 -2.09714E-6 " pathEditMode="relative" rAng="0" ptsTypes="AA">
                                      <p:cBhvr>
                                        <p:cTn id="52" dur="9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53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4" dur="500" fill="hold"/>
                                        <p:tgtEl>
                                          <p:spTgt spid="13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21" grpId="0" animBg="1"/>
      <p:bldP spid="22" grpId="0" animBg="1"/>
      <p:bldP spid="9" grpId="0"/>
      <p:bldP spid="9" grpId="1"/>
      <p:bldP spid="9" grpId="2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8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/>
      <p:bldP spid="5" grpId="2"/>
      <p:bldP spid="11" grpId="0"/>
      <p:bldP spid="11" grpId="1"/>
      <p:bldP spid="11" grpId="2"/>
      <p:bldP spid="12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1"/>
      <p:bldP spid="12" grpId="2"/>
      <p:bldP spid="13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1"/>
      <p:bldP spid="13" grpId="2"/>
    </p:bld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399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2" y="3955786"/>
            <a:ext cx="7315137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99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 bwMode="black">
          <a:xfrm>
            <a:off x="468308" y="479425"/>
            <a:ext cx="1448129" cy="310896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597"/>
              <a:endParaRPr lang="en-US" sz="1800">
                <a:solidFill>
                  <a:srgbClr val="FFFFFF"/>
                </a:solidFill>
              </a:endParaRPr>
            </a:p>
          </p:txBody>
        </p:sp>
      </p:grpSp>
      <p:sp>
        <p:nvSpPr>
          <p:cNvPr id="11" name="TextBox 7"/>
          <p:cNvSpPr txBox="1"/>
          <p:nvPr userDrawn="1"/>
        </p:nvSpPr>
        <p:spPr bwMode="white">
          <a:xfrm>
            <a:off x="4419577" y="6696086"/>
            <a:ext cx="3597322" cy="16466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49" spc="15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  <p:sp>
        <p:nvSpPr>
          <p:cNvPr id="12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506905" y="294305"/>
            <a:ext cx="3657600" cy="578303"/>
          </a:xfrm>
        </p:spPr>
        <p:txBody>
          <a:bodyPr lIns="182880" tIns="146304" rIns="182880" bIns="146304"/>
          <a:lstStyle>
            <a:lvl1pPr marL="0" indent="0" algn="r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/>
              <a:t>Session Code</a:t>
            </a: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74703" y="6116467"/>
            <a:ext cx="3657600" cy="578303"/>
          </a:xfrm>
        </p:spPr>
        <p:txBody>
          <a:bodyPr lIns="182880" tIns="146304" rIns="182880" bIns="146304" anchor="b"/>
          <a:lstStyle>
            <a:lvl1pPr marL="0" indent="0" algn="l">
              <a:buNone/>
              <a:defRPr sz="2000">
                <a:latin typeface="+mn-lt"/>
              </a:defRPr>
            </a:lvl1pPr>
            <a:lvl2pPr marL="342834" indent="0">
              <a:buNone/>
              <a:defRPr sz="2000"/>
            </a:lvl2pPr>
            <a:lvl3pPr marL="571390" indent="0">
              <a:buNone/>
              <a:defRPr sz="2000"/>
            </a:lvl3pPr>
            <a:lvl4pPr marL="799946" indent="0">
              <a:buNone/>
              <a:defRPr sz="2000"/>
            </a:lvl4pPr>
            <a:lvl5pPr marL="1028503" indent="0">
              <a:buNone/>
              <a:defRPr sz="2000"/>
            </a:lvl5pPr>
          </a:lstStyle>
          <a:p>
            <a:pPr lvl="0"/>
            <a:r>
              <a:rPr lang="en-US"/>
              <a:t>Yammer hashtag</a:t>
            </a:r>
          </a:p>
        </p:txBody>
      </p:sp>
    </p:spTree>
    <p:extLst>
      <p:ext uri="{BB962C8B-B14F-4D97-AF65-F5344CB8AC3E}">
        <p14:creationId xmlns:p14="http://schemas.microsoft.com/office/powerpoint/2010/main" val="10547847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- ANIMA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5"/>
          <p:cNvSpPr>
            <a:spLocks noChangeArrowheads="1"/>
          </p:cNvSpPr>
          <p:nvPr userDrawn="1"/>
        </p:nvSpPr>
        <p:spPr bwMode="auto">
          <a:xfrm>
            <a:off x="3177" y="4395790"/>
            <a:ext cx="12433300" cy="2601913"/>
          </a:xfrm>
          <a:prstGeom prst="rect">
            <a:avLst/>
          </a:prstGeom>
          <a:solidFill>
            <a:srgbClr val="4DA0E2"/>
          </a:solidFill>
          <a:ln>
            <a:noFill/>
          </a:ln>
        </p:spPr>
        <p:txBody>
          <a:bodyPr vert="horz" wrap="square" lIns="91414" tIns="45706" rIns="91414" bIns="45706" numCol="1" anchor="t" anchorCtr="0" compatLnSpc="1">
            <a:prstTxWarp prst="textNoShape">
              <a:avLst/>
            </a:prstTxWarp>
          </a:bodyPr>
          <a:lstStyle/>
          <a:p>
            <a:pPr defTabSz="932597"/>
            <a:endParaRPr lang="en-US" sz="180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20" name="Rectangle 7"/>
          <p:cNvSpPr>
            <a:spLocks noChangeArrowheads="1"/>
          </p:cNvSpPr>
          <p:nvPr userDrawn="1"/>
        </p:nvSpPr>
        <p:spPr bwMode="auto">
          <a:xfrm>
            <a:off x="2" y="5843588"/>
            <a:ext cx="12433301" cy="1154113"/>
          </a:xfrm>
          <a:prstGeom prst="rect">
            <a:avLst/>
          </a:prstGeom>
          <a:solidFill>
            <a:srgbClr val="00188F"/>
          </a:solidFill>
          <a:ln>
            <a:noFill/>
          </a:ln>
        </p:spPr>
        <p:txBody>
          <a:bodyPr vert="horz" wrap="square" lIns="91414" tIns="45706" rIns="91414" bIns="45706" numCol="1" anchor="t" anchorCtr="0" compatLnSpc="1">
            <a:prstTxWarp prst="textNoShape">
              <a:avLst/>
            </a:prstTxWarp>
          </a:bodyPr>
          <a:lstStyle/>
          <a:p>
            <a:pPr defTabSz="932597"/>
            <a:endParaRPr lang="en-US" sz="180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21" name="Rectangle 8"/>
          <p:cNvSpPr>
            <a:spLocks noChangeArrowheads="1"/>
          </p:cNvSpPr>
          <p:nvPr userDrawn="1"/>
        </p:nvSpPr>
        <p:spPr bwMode="auto">
          <a:xfrm>
            <a:off x="3177" y="3409952"/>
            <a:ext cx="12430127" cy="282575"/>
          </a:xfrm>
          <a:prstGeom prst="rect">
            <a:avLst/>
          </a:prstGeom>
          <a:solidFill>
            <a:srgbClr val="25B9E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14" tIns="45706" rIns="91414" bIns="45706" numCol="1" anchor="t" anchorCtr="0" compatLnSpc="1">
            <a:prstTxWarp prst="textNoShape">
              <a:avLst/>
            </a:prstTxWarp>
          </a:bodyPr>
          <a:lstStyle/>
          <a:p>
            <a:pPr defTabSz="932597"/>
            <a:endParaRPr lang="en-US" sz="180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22" name="Rectangle 21"/>
          <p:cNvSpPr/>
          <p:nvPr userDrawn="1"/>
        </p:nvSpPr>
        <p:spPr bwMode="white">
          <a:xfrm>
            <a:off x="0" y="-318"/>
            <a:ext cx="12435840" cy="6995160"/>
          </a:xfrm>
          <a:prstGeom prst="rect">
            <a:avLst/>
          </a:prstGeom>
          <a:solidFill>
            <a:srgbClr val="0078D7"/>
          </a:solidFill>
          <a:ln w="9525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11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400" ker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23" name="Rectangle 6"/>
          <p:cNvSpPr>
            <a:spLocks noChangeArrowheads="1"/>
          </p:cNvSpPr>
          <p:nvPr userDrawn="1"/>
        </p:nvSpPr>
        <p:spPr bwMode="auto">
          <a:xfrm>
            <a:off x="3177" y="4395790"/>
            <a:ext cx="12433300" cy="2601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14" tIns="45706" rIns="91414" bIns="45706" numCol="1" anchor="t" anchorCtr="0" compatLnSpc="1">
            <a:prstTxWarp prst="textNoShape">
              <a:avLst/>
            </a:prstTxWarp>
          </a:bodyPr>
          <a:lstStyle/>
          <a:p>
            <a:pPr defTabSz="932597"/>
            <a:endParaRPr lang="en-US" sz="180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398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3" y="3955786"/>
            <a:ext cx="7315137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98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 bwMode="black">
          <a:xfrm>
            <a:off x="468308" y="479425"/>
            <a:ext cx="1448129" cy="310896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597"/>
              <a:endParaRPr lang="en-US" sz="1800">
                <a:solidFill>
                  <a:srgbClr val="FFFFFF"/>
                </a:solidFill>
              </a:endParaRPr>
            </a:p>
          </p:txBody>
        </p:sp>
      </p:grpSp>
      <p:sp>
        <p:nvSpPr>
          <p:cNvPr id="11" name="TextBox 7"/>
          <p:cNvSpPr txBox="1"/>
          <p:nvPr userDrawn="1"/>
        </p:nvSpPr>
        <p:spPr bwMode="white">
          <a:xfrm>
            <a:off x="4446556" y="6696184"/>
            <a:ext cx="3543363" cy="16447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48" spc="15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</a:rPr>
              <a:t>MICROSOFT CONFIDENTIAL – INTERNAL ONLY</a:t>
            </a:r>
          </a:p>
        </p:txBody>
      </p:sp>
      <p:sp>
        <p:nvSpPr>
          <p:cNvPr id="12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506905" y="294306"/>
            <a:ext cx="3657600" cy="578303"/>
          </a:xfrm>
        </p:spPr>
        <p:txBody>
          <a:bodyPr lIns="182880" tIns="146304" rIns="182880" bIns="146304"/>
          <a:lstStyle>
            <a:lvl1pPr marL="0" indent="0" algn="r">
              <a:buNone/>
              <a:defRPr sz="2000">
                <a:latin typeface="+mn-lt"/>
              </a:defRPr>
            </a:lvl1pPr>
            <a:lvl2pPr marL="342768" indent="0">
              <a:buNone/>
              <a:defRPr sz="2000"/>
            </a:lvl2pPr>
            <a:lvl3pPr marL="571281" indent="0">
              <a:buNone/>
              <a:defRPr sz="2000"/>
            </a:lvl3pPr>
            <a:lvl4pPr marL="799792" indent="0">
              <a:buNone/>
              <a:defRPr sz="2000"/>
            </a:lvl4pPr>
            <a:lvl5pPr marL="1028305" indent="0">
              <a:buNone/>
              <a:defRPr sz="2000"/>
            </a:lvl5pPr>
          </a:lstStyle>
          <a:p>
            <a:pPr lvl="0"/>
            <a:r>
              <a:rPr lang="en-US"/>
              <a:t>Session Code</a:t>
            </a: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74703" y="6116468"/>
            <a:ext cx="3657600" cy="578303"/>
          </a:xfrm>
        </p:spPr>
        <p:txBody>
          <a:bodyPr lIns="182880" tIns="146304" rIns="182880" bIns="146304" anchor="b"/>
          <a:lstStyle>
            <a:lvl1pPr marL="0" indent="0" algn="l">
              <a:buNone/>
              <a:defRPr sz="2000">
                <a:latin typeface="+mn-lt"/>
              </a:defRPr>
            </a:lvl1pPr>
            <a:lvl2pPr marL="342768" indent="0">
              <a:buNone/>
              <a:defRPr sz="2000"/>
            </a:lvl2pPr>
            <a:lvl3pPr marL="571281" indent="0">
              <a:buNone/>
              <a:defRPr sz="2000"/>
            </a:lvl3pPr>
            <a:lvl4pPr marL="799792" indent="0">
              <a:buNone/>
              <a:defRPr sz="2000"/>
            </a:lvl4pPr>
            <a:lvl5pPr marL="1028305" indent="0">
              <a:buNone/>
              <a:defRPr sz="2000"/>
            </a:lvl5pPr>
          </a:lstStyle>
          <a:p>
            <a:pPr lvl="0"/>
            <a:r>
              <a:rPr lang="en-US"/>
              <a:t>Yammer hashtag</a:t>
            </a:r>
          </a:p>
        </p:txBody>
      </p:sp>
    </p:spTree>
    <p:extLst>
      <p:ext uri="{BB962C8B-B14F-4D97-AF65-F5344CB8AC3E}">
        <p14:creationId xmlns:p14="http://schemas.microsoft.com/office/powerpoint/2010/main" val="4480534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accel="24000" decel="76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3.25011E-6 L 1.00728 3.25011E-6 " pathEditMode="relative" rAng="0" ptsTypes="AA">
                                      <p:cBhvr>
                                        <p:cTn id="6" dur="7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7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3" presetClass="path" presetSubtype="0" accel="24000" decel="76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0 3.25011E-6 L 1.00728 3.25011E-6 " pathEditMode="relative" rAng="0" ptsTypes="AA">
                                      <p:cBhvr>
                                        <p:cTn id="8" dur="7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7" y="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3" presetClass="path" presetSubtype="0" accel="24000" decel="76000" fill="hold" grpId="0" nodeType="withEffect">
                                  <p:stCondLst>
                                    <p:cond delay="150"/>
                                  </p:stCondLst>
                                  <p:childTnLst>
                                    <p:animMotion origin="layout" path="M 0 3.25011E-6 L 1.00728 3.25011E-6 " pathEditMode="relative" rAng="0" ptsTypes="AA">
                                      <p:cBhvr>
                                        <p:cTn id="10" dur="7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357" y="0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9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3" presetClass="path" presetSubtype="0" decel="100000" fill="hold" grpId="1" nodeType="withEffect">
                                  <p:stCondLst>
                                    <p:cond delay="750"/>
                                  </p:stCondLst>
                                  <p:childTnLst>
                                    <p:animMotion origin="layout" path="M -0.01455 4.96142E-6 L -4.34261E-6 4.96142E-6 " pathEditMode="relative" rAng="0" ptsTypes="AA">
                                      <p:cBhvr>
                                        <p:cTn id="17" dur="9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18" presetID="6" presetClass="emph" presetSubtype="0" accel="100000" autoRev="1" fill="hold" grpId="2" nodeType="withEffect">
                                  <p:stCondLst>
                                    <p:cond delay="50"/>
                                  </p:stCondLst>
                                  <p:childTnLst>
                                    <p:animScale>
                                      <p:cBhvr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9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3" presetClass="path" presetSubtype="0" decel="100000" fill="hold" grpId="1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0.01455 2.42851E-6 L -3.02783E-6 2.42851E-6 " pathEditMode="relative" rAng="0" ptsTypes="AA">
                                      <p:cBhvr>
                                        <p:cTn id="24" dur="9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6" presetClass="emph" presetSubtype="0" accel="100000" autoRev="1" fill="hold" grpId="2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26" dur="500" fill="hold"/>
                                        <p:tgtEl>
                                          <p:spTgt spid="5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9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63" presetClass="pat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31" dur="9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32" presetID="6" presetClass="emph" presetSubtype="0" accel="100000" autoRev="1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33" dur="500" fill="hold"/>
                                        <p:tgtEl>
                                          <p:spTgt spid="7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9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63" presetClass="path" presetSubtype="0" decel="10000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01455 -1.34362E-6 L -3.90605E-7 -1.34362E-6 " pathEditMode="relative" rAng="0" ptsTypes="AA">
                                      <p:cBhvr>
                                        <p:cTn id="38" dur="9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6" presetClass="emph" presetSubtype="0" accel="100000" autoRev="1" fill="hold" grpId="2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40" dur="500" fill="hold"/>
                                        <p:tgtEl>
                                          <p:spTgt spid="11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9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2.13345E-6 L 1.62369E-6 2.13345E-6 " pathEditMode="relative" rAng="0" ptsTypes="AA">
                                      <p:cBhvr>
                                        <p:cTn id="45" dur="9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7" dur="500" fill="hold"/>
                                        <p:tgtEl>
                                          <p:spTgt spid="12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9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63" presetClass="path" presetSubtype="0" decel="100000" fill="hold" grpId="1" nodeType="withEffect">
                                  <p:stCondLst>
                                    <p:cond delay="700"/>
                                  </p:stCondLst>
                                  <p:childTnLst>
                                    <p:animMotion origin="layout" path="M -0.01455 -2.09714E-6 L -4.54174E-6 -2.09714E-6 " pathEditMode="relative" rAng="0" ptsTypes="AA">
                                      <p:cBhvr>
                                        <p:cTn id="52" dur="9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28" y="0"/>
                                    </p:animMotion>
                                  </p:childTnLst>
                                </p:cTn>
                              </p:par>
                              <p:par>
                                <p:cTn id="53" presetID="6" presetClass="emph" presetSubtype="0" accel="100000" autoRev="1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4" dur="500" fill="hold"/>
                                        <p:tgtEl>
                                          <p:spTgt spid="13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  <p:bldP spid="21" grpId="0" animBg="1"/>
      <p:bldP spid="22" grpId="0" animBg="1"/>
      <p:bldP spid="9" grpId="0"/>
      <p:bldP spid="9" grpId="1"/>
      <p:bldP spid="9" grpId="2"/>
      <p:bldP spid="5" grpId="0">
        <p:tmplLst>
          <p:tmpl>
            <p:tnLst>
              <p:par>
                <p:cTn presetID="10" presetClass="entr" presetSubtype="0" fill="hold" nodeType="withEffect">
                  <p:stCondLst>
                    <p:cond delay="8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" grpId="1"/>
      <p:bldP spid="5" grpId="2"/>
      <p:bldP spid="11" grpId="0"/>
      <p:bldP spid="11" grpId="1"/>
      <p:bldP spid="11" grpId="2"/>
      <p:bldP spid="12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1"/>
      <p:bldP spid="12" grpId="2"/>
      <p:bldP spid="13" grpId="0">
        <p:tmplLst>
          <p:tmpl>
            <p:tnLst>
              <p:par>
                <p:cTn presetID="10" presetClass="entr" presetSubtype="0" fill="hold" nodeType="withEffect">
                  <p:stCondLst>
                    <p:cond delay="7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95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3" grpId="1"/>
      <p:bldP spid="13" grpId="2"/>
    </p:bld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74702" y="2125678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398" spc="-100" baseline="0">
                <a:gradFill>
                  <a:gsLst>
                    <a:gs pos="62564">
                      <a:schemeClr val="tx1"/>
                    </a:gs>
                    <a:gs pos="55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703" y="3955786"/>
            <a:ext cx="7315137" cy="1828007"/>
          </a:xfrm>
          <a:noFill/>
        </p:spPr>
        <p:txBody>
          <a:bodyPr lIns="164592" tIns="109728" rIns="164592" bIns="109728">
            <a:noAutofit/>
          </a:bodyPr>
          <a:lstStyle>
            <a:lvl1pPr marL="0" indent="0">
              <a:spcBef>
                <a:spcPts val="0"/>
              </a:spcBef>
              <a:buNone/>
              <a:defRPr sz="3198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Speaker name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 bwMode="black">
          <a:xfrm>
            <a:off x="468308" y="479425"/>
            <a:ext cx="1448129" cy="310896"/>
            <a:chOff x="457200" y="1643393"/>
            <a:chExt cx="4492753" cy="96454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457200" y="1643393"/>
              <a:ext cx="964540" cy="964540"/>
            </a:xfrm>
            <a:prstGeom prst="rect">
              <a:avLst/>
            </a:prstGeom>
          </p:spPr>
        </p:pic>
        <p:sp>
          <p:nvSpPr>
            <p:cNvPr id="10" name="Freeform 12"/>
            <p:cNvSpPr>
              <a:spLocks noEditPoints="1"/>
            </p:cNvSpPr>
            <p:nvPr/>
          </p:nvSpPr>
          <p:spPr bwMode="black">
            <a:xfrm>
              <a:off x="1703514" y="1792710"/>
              <a:ext cx="3246439" cy="635329"/>
            </a:xfrm>
            <a:custGeom>
              <a:avLst/>
              <a:gdLst>
                <a:gd name="T0" fmla="*/ 218 w 1139"/>
                <a:gd name="T1" fmla="*/ 217 h 220"/>
                <a:gd name="T2" fmla="*/ 185 w 1139"/>
                <a:gd name="T3" fmla="*/ 52 h 220"/>
                <a:gd name="T4" fmla="*/ 120 w 1139"/>
                <a:gd name="T5" fmla="*/ 217 h 220"/>
                <a:gd name="T6" fmla="*/ 32 w 1139"/>
                <a:gd name="T7" fmla="*/ 52 h 220"/>
                <a:gd name="T8" fmla="*/ 33 w 1139"/>
                <a:gd name="T9" fmla="*/ 93 h 220"/>
                <a:gd name="T10" fmla="*/ 0 w 1139"/>
                <a:gd name="T11" fmla="*/ 15 h 220"/>
                <a:gd name="T12" fmla="*/ 109 w 1139"/>
                <a:gd name="T13" fmla="*/ 168 h 220"/>
                <a:gd name="T14" fmla="*/ 171 w 1139"/>
                <a:gd name="T15" fmla="*/ 15 h 220"/>
                <a:gd name="T16" fmla="*/ 285 w 1139"/>
                <a:gd name="T17" fmla="*/ 72 h 220"/>
                <a:gd name="T18" fmla="*/ 269 w 1139"/>
                <a:gd name="T19" fmla="*/ 11 h 220"/>
                <a:gd name="T20" fmla="*/ 254 w 1139"/>
                <a:gd name="T21" fmla="*/ 45 h 220"/>
                <a:gd name="T22" fmla="*/ 289 w 1139"/>
                <a:gd name="T23" fmla="*/ 31 h 220"/>
                <a:gd name="T24" fmla="*/ 405 w 1139"/>
                <a:gd name="T25" fmla="*/ 71 h 220"/>
                <a:gd name="T26" fmla="*/ 318 w 1139"/>
                <a:gd name="T27" fmla="*/ 107 h 220"/>
                <a:gd name="T28" fmla="*/ 343 w 1139"/>
                <a:gd name="T29" fmla="*/ 211 h 220"/>
                <a:gd name="T30" fmla="*/ 422 w 1139"/>
                <a:gd name="T31" fmla="*/ 210 h 220"/>
                <a:gd name="T32" fmla="*/ 404 w 1139"/>
                <a:gd name="T33" fmla="*/ 189 h 220"/>
                <a:gd name="T34" fmla="*/ 344 w 1139"/>
                <a:gd name="T35" fmla="*/ 145 h 220"/>
                <a:gd name="T36" fmla="*/ 420 w 1139"/>
                <a:gd name="T37" fmla="*/ 108 h 220"/>
                <a:gd name="T38" fmla="*/ 421 w 1139"/>
                <a:gd name="T39" fmla="*/ 76 h 220"/>
                <a:gd name="T40" fmla="*/ 495 w 1139"/>
                <a:gd name="T41" fmla="*/ 78 h 220"/>
                <a:gd name="T42" fmla="*/ 481 w 1139"/>
                <a:gd name="T43" fmla="*/ 72 h 220"/>
                <a:gd name="T44" fmla="*/ 481 w 1139"/>
                <a:gd name="T45" fmla="*/ 217 h 220"/>
                <a:gd name="T46" fmla="*/ 512 w 1139"/>
                <a:gd name="T47" fmla="*/ 100 h 220"/>
                <a:gd name="T48" fmla="*/ 531 w 1139"/>
                <a:gd name="T49" fmla="*/ 106 h 220"/>
                <a:gd name="T50" fmla="*/ 517 w 1139"/>
                <a:gd name="T51" fmla="*/ 70 h 220"/>
                <a:gd name="T52" fmla="*/ 661 w 1139"/>
                <a:gd name="T53" fmla="*/ 199 h 220"/>
                <a:gd name="T54" fmla="*/ 533 w 1139"/>
                <a:gd name="T55" fmla="*/ 146 h 220"/>
                <a:gd name="T56" fmla="*/ 663 w 1139"/>
                <a:gd name="T57" fmla="*/ 89 h 220"/>
                <a:gd name="T58" fmla="*/ 608 w 1139"/>
                <a:gd name="T59" fmla="*/ 97 h 220"/>
                <a:gd name="T60" fmla="*/ 579 w 1139"/>
                <a:gd name="T61" fmla="*/ 180 h 220"/>
                <a:gd name="T62" fmla="*/ 646 w 1139"/>
                <a:gd name="T63" fmla="*/ 144 h 220"/>
                <a:gd name="T64" fmla="*/ 732 w 1139"/>
                <a:gd name="T65" fmla="*/ 110 h 220"/>
                <a:gd name="T66" fmla="*/ 770 w 1139"/>
                <a:gd name="T67" fmla="*/ 98 h 220"/>
                <a:gd name="T68" fmla="*/ 786 w 1139"/>
                <a:gd name="T69" fmla="*/ 75 h 220"/>
                <a:gd name="T70" fmla="*/ 753 w 1139"/>
                <a:gd name="T71" fmla="*/ 69 h 220"/>
                <a:gd name="T72" fmla="*/ 701 w 1139"/>
                <a:gd name="T73" fmla="*/ 131 h 220"/>
                <a:gd name="T74" fmla="*/ 750 w 1139"/>
                <a:gd name="T75" fmla="*/ 164 h 220"/>
                <a:gd name="T76" fmla="*/ 738 w 1139"/>
                <a:gd name="T77" fmla="*/ 193 h 220"/>
                <a:gd name="T78" fmla="*/ 698 w 1139"/>
                <a:gd name="T79" fmla="*/ 179 h 220"/>
                <a:gd name="T80" fmla="*/ 717 w 1139"/>
                <a:gd name="T81" fmla="*/ 218 h 220"/>
                <a:gd name="T82" fmla="*/ 794 w 1139"/>
                <a:gd name="T83" fmla="*/ 175 h 220"/>
                <a:gd name="T84" fmla="*/ 938 w 1139"/>
                <a:gd name="T85" fmla="*/ 89 h 220"/>
                <a:gd name="T86" fmla="*/ 882 w 1139"/>
                <a:gd name="T87" fmla="*/ 220 h 220"/>
                <a:gd name="T88" fmla="*/ 829 w 1139"/>
                <a:gd name="T89" fmla="*/ 89 h 220"/>
                <a:gd name="T90" fmla="*/ 922 w 1139"/>
                <a:gd name="T91" fmla="*/ 144 h 220"/>
                <a:gd name="T92" fmla="*/ 855 w 1139"/>
                <a:gd name="T93" fmla="*/ 109 h 220"/>
                <a:gd name="T94" fmla="*/ 884 w 1139"/>
                <a:gd name="T95" fmla="*/ 192 h 220"/>
                <a:gd name="T96" fmla="*/ 1139 w 1139"/>
                <a:gd name="T97" fmla="*/ 100 h 220"/>
                <a:gd name="T98" fmla="*/ 1104 w 1139"/>
                <a:gd name="T99" fmla="*/ 29 h 220"/>
                <a:gd name="T100" fmla="*/ 1070 w 1139"/>
                <a:gd name="T101" fmla="*/ 40 h 220"/>
                <a:gd name="T102" fmla="*/ 1019 w 1139"/>
                <a:gd name="T103" fmla="*/ 54 h 220"/>
                <a:gd name="T104" fmla="*/ 1055 w 1139"/>
                <a:gd name="T105" fmla="*/ 32 h 220"/>
                <a:gd name="T106" fmla="*/ 1056 w 1139"/>
                <a:gd name="T107" fmla="*/ 3 h 220"/>
                <a:gd name="T108" fmla="*/ 991 w 1139"/>
                <a:gd name="T109" fmla="*/ 25 h 220"/>
                <a:gd name="T110" fmla="*/ 961 w 1139"/>
                <a:gd name="T111" fmla="*/ 72 h 220"/>
                <a:gd name="T112" fmla="*/ 985 w 1139"/>
                <a:gd name="T113" fmla="*/ 217 h 220"/>
                <a:gd name="T114" fmla="*/ 1070 w 1139"/>
                <a:gd name="T115" fmla="*/ 100 h 220"/>
                <a:gd name="T116" fmla="*/ 1127 w 1139"/>
                <a:gd name="T117" fmla="*/ 219 h 220"/>
                <a:gd name="T118" fmla="*/ 1139 w 1139"/>
                <a:gd name="T119" fmla="*/ 187 h 220"/>
                <a:gd name="T120" fmla="*/ 1123 w 1139"/>
                <a:gd name="T121" fmla="*/ 192 h 220"/>
                <a:gd name="T122" fmla="*/ 1104 w 1139"/>
                <a:gd name="T123" fmla="*/ 10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9" h="220">
                  <a:moveTo>
                    <a:pt x="171" y="15"/>
                  </a:moveTo>
                  <a:cubicBezTo>
                    <a:pt x="218" y="15"/>
                    <a:pt x="218" y="15"/>
                    <a:pt x="218" y="15"/>
                  </a:cubicBezTo>
                  <a:cubicBezTo>
                    <a:pt x="218" y="217"/>
                    <a:pt x="218" y="217"/>
                    <a:pt x="218" y="217"/>
                  </a:cubicBezTo>
                  <a:cubicBezTo>
                    <a:pt x="184" y="217"/>
                    <a:pt x="184" y="217"/>
                    <a:pt x="184" y="217"/>
                  </a:cubicBezTo>
                  <a:cubicBezTo>
                    <a:pt x="184" y="89"/>
                    <a:pt x="184" y="89"/>
                    <a:pt x="184" y="89"/>
                  </a:cubicBezTo>
                  <a:cubicBezTo>
                    <a:pt x="184" y="80"/>
                    <a:pt x="184" y="67"/>
                    <a:pt x="185" y="52"/>
                  </a:cubicBezTo>
                  <a:cubicBezTo>
                    <a:pt x="185" y="52"/>
                    <a:pt x="185" y="52"/>
                    <a:pt x="185" y="52"/>
                  </a:cubicBezTo>
                  <a:cubicBezTo>
                    <a:pt x="183" y="58"/>
                    <a:pt x="182" y="65"/>
                    <a:pt x="180" y="68"/>
                  </a:cubicBezTo>
                  <a:cubicBezTo>
                    <a:pt x="120" y="217"/>
                    <a:pt x="120" y="217"/>
                    <a:pt x="120" y="217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37" y="70"/>
                    <a:pt x="37" y="70"/>
                    <a:pt x="37" y="70"/>
                  </a:cubicBezTo>
                  <a:cubicBezTo>
                    <a:pt x="36" y="66"/>
                    <a:pt x="34" y="60"/>
                    <a:pt x="32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2" y="56"/>
                    <a:pt x="32" y="60"/>
                    <a:pt x="32" y="65"/>
                  </a:cubicBezTo>
                  <a:cubicBezTo>
                    <a:pt x="33" y="76"/>
                    <a:pt x="33" y="85"/>
                    <a:pt x="33" y="93"/>
                  </a:cubicBezTo>
                  <a:cubicBezTo>
                    <a:pt x="33" y="217"/>
                    <a:pt x="33" y="217"/>
                    <a:pt x="33" y="217"/>
                  </a:cubicBezTo>
                  <a:cubicBezTo>
                    <a:pt x="0" y="217"/>
                    <a:pt x="0" y="217"/>
                    <a:pt x="0" y="217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100" y="142"/>
                    <a:pt x="100" y="142"/>
                    <a:pt x="100" y="142"/>
                  </a:cubicBezTo>
                  <a:cubicBezTo>
                    <a:pt x="105" y="153"/>
                    <a:pt x="108" y="162"/>
                    <a:pt x="109" y="168"/>
                  </a:cubicBezTo>
                  <a:cubicBezTo>
                    <a:pt x="110" y="168"/>
                    <a:pt x="110" y="168"/>
                    <a:pt x="110" y="168"/>
                  </a:cubicBezTo>
                  <a:cubicBezTo>
                    <a:pt x="119" y="142"/>
                    <a:pt x="119" y="142"/>
                    <a:pt x="119" y="142"/>
                  </a:cubicBezTo>
                  <a:lnTo>
                    <a:pt x="171" y="15"/>
                  </a:lnTo>
                  <a:close/>
                  <a:moveTo>
                    <a:pt x="251" y="217"/>
                  </a:moveTo>
                  <a:cubicBezTo>
                    <a:pt x="285" y="217"/>
                    <a:pt x="285" y="217"/>
                    <a:pt x="285" y="217"/>
                  </a:cubicBezTo>
                  <a:cubicBezTo>
                    <a:pt x="285" y="72"/>
                    <a:pt x="285" y="72"/>
                    <a:pt x="285" y="72"/>
                  </a:cubicBezTo>
                  <a:cubicBezTo>
                    <a:pt x="251" y="72"/>
                    <a:pt x="251" y="72"/>
                    <a:pt x="251" y="72"/>
                  </a:cubicBezTo>
                  <a:lnTo>
                    <a:pt x="251" y="217"/>
                  </a:lnTo>
                  <a:close/>
                  <a:moveTo>
                    <a:pt x="269" y="11"/>
                  </a:moveTo>
                  <a:cubicBezTo>
                    <a:pt x="263" y="11"/>
                    <a:pt x="258" y="13"/>
                    <a:pt x="254" y="17"/>
                  </a:cubicBezTo>
                  <a:cubicBezTo>
                    <a:pt x="250" y="20"/>
                    <a:pt x="248" y="25"/>
                    <a:pt x="248" y="31"/>
                  </a:cubicBezTo>
                  <a:cubicBezTo>
                    <a:pt x="248" y="36"/>
                    <a:pt x="250" y="41"/>
                    <a:pt x="254" y="45"/>
                  </a:cubicBezTo>
                  <a:cubicBezTo>
                    <a:pt x="258" y="48"/>
                    <a:pt x="263" y="50"/>
                    <a:pt x="269" y="50"/>
                  </a:cubicBezTo>
                  <a:cubicBezTo>
                    <a:pt x="274" y="50"/>
                    <a:pt x="279" y="48"/>
                    <a:pt x="283" y="45"/>
                  </a:cubicBezTo>
                  <a:cubicBezTo>
                    <a:pt x="287" y="41"/>
                    <a:pt x="289" y="36"/>
                    <a:pt x="289" y="31"/>
                  </a:cubicBezTo>
                  <a:cubicBezTo>
                    <a:pt x="289" y="25"/>
                    <a:pt x="287" y="21"/>
                    <a:pt x="283" y="17"/>
                  </a:cubicBezTo>
                  <a:cubicBezTo>
                    <a:pt x="279" y="13"/>
                    <a:pt x="274" y="11"/>
                    <a:pt x="269" y="11"/>
                  </a:cubicBezTo>
                  <a:close/>
                  <a:moveTo>
                    <a:pt x="405" y="71"/>
                  </a:moveTo>
                  <a:cubicBezTo>
                    <a:pt x="399" y="69"/>
                    <a:pt x="393" y="69"/>
                    <a:pt x="386" y="69"/>
                  </a:cubicBezTo>
                  <a:cubicBezTo>
                    <a:pt x="371" y="69"/>
                    <a:pt x="357" y="72"/>
                    <a:pt x="345" y="79"/>
                  </a:cubicBezTo>
                  <a:cubicBezTo>
                    <a:pt x="333" y="85"/>
                    <a:pt x="324" y="95"/>
                    <a:pt x="318" y="107"/>
                  </a:cubicBezTo>
                  <a:cubicBezTo>
                    <a:pt x="312" y="119"/>
                    <a:pt x="309" y="133"/>
                    <a:pt x="309" y="148"/>
                  </a:cubicBezTo>
                  <a:cubicBezTo>
                    <a:pt x="309" y="162"/>
                    <a:pt x="312" y="174"/>
                    <a:pt x="318" y="185"/>
                  </a:cubicBezTo>
                  <a:cubicBezTo>
                    <a:pt x="324" y="196"/>
                    <a:pt x="332" y="205"/>
                    <a:pt x="343" y="211"/>
                  </a:cubicBezTo>
                  <a:cubicBezTo>
                    <a:pt x="354" y="217"/>
                    <a:pt x="366" y="220"/>
                    <a:pt x="380" y="220"/>
                  </a:cubicBezTo>
                  <a:cubicBezTo>
                    <a:pt x="396" y="220"/>
                    <a:pt x="410" y="217"/>
                    <a:pt x="421" y="211"/>
                  </a:cubicBezTo>
                  <a:cubicBezTo>
                    <a:pt x="422" y="210"/>
                    <a:pt x="422" y="210"/>
                    <a:pt x="422" y="210"/>
                  </a:cubicBezTo>
                  <a:cubicBezTo>
                    <a:pt x="422" y="179"/>
                    <a:pt x="422" y="179"/>
                    <a:pt x="422" y="179"/>
                  </a:cubicBezTo>
                  <a:cubicBezTo>
                    <a:pt x="420" y="180"/>
                    <a:pt x="420" y="180"/>
                    <a:pt x="420" y="180"/>
                  </a:cubicBezTo>
                  <a:cubicBezTo>
                    <a:pt x="415" y="184"/>
                    <a:pt x="410" y="187"/>
                    <a:pt x="404" y="189"/>
                  </a:cubicBezTo>
                  <a:cubicBezTo>
                    <a:pt x="398" y="191"/>
                    <a:pt x="392" y="192"/>
                    <a:pt x="387" y="192"/>
                  </a:cubicBezTo>
                  <a:cubicBezTo>
                    <a:pt x="374" y="192"/>
                    <a:pt x="363" y="188"/>
                    <a:pt x="355" y="180"/>
                  </a:cubicBezTo>
                  <a:cubicBezTo>
                    <a:pt x="348" y="171"/>
                    <a:pt x="344" y="160"/>
                    <a:pt x="344" y="145"/>
                  </a:cubicBezTo>
                  <a:cubicBezTo>
                    <a:pt x="344" y="131"/>
                    <a:pt x="348" y="119"/>
                    <a:pt x="356" y="110"/>
                  </a:cubicBezTo>
                  <a:cubicBezTo>
                    <a:pt x="364" y="101"/>
                    <a:pt x="375" y="97"/>
                    <a:pt x="388" y="97"/>
                  </a:cubicBezTo>
                  <a:cubicBezTo>
                    <a:pt x="399" y="97"/>
                    <a:pt x="410" y="101"/>
                    <a:pt x="420" y="108"/>
                  </a:cubicBezTo>
                  <a:cubicBezTo>
                    <a:pt x="422" y="109"/>
                    <a:pt x="422" y="109"/>
                    <a:pt x="422" y="109"/>
                  </a:cubicBezTo>
                  <a:cubicBezTo>
                    <a:pt x="422" y="76"/>
                    <a:pt x="422" y="76"/>
                    <a:pt x="422" y="76"/>
                  </a:cubicBezTo>
                  <a:cubicBezTo>
                    <a:pt x="421" y="76"/>
                    <a:pt x="421" y="76"/>
                    <a:pt x="421" y="76"/>
                  </a:cubicBezTo>
                  <a:cubicBezTo>
                    <a:pt x="417" y="74"/>
                    <a:pt x="412" y="72"/>
                    <a:pt x="405" y="71"/>
                  </a:cubicBezTo>
                  <a:close/>
                  <a:moveTo>
                    <a:pt x="517" y="70"/>
                  </a:moveTo>
                  <a:cubicBezTo>
                    <a:pt x="509" y="70"/>
                    <a:pt x="501" y="72"/>
                    <a:pt x="495" y="78"/>
                  </a:cubicBezTo>
                  <a:cubicBezTo>
                    <a:pt x="489" y="83"/>
                    <a:pt x="485" y="89"/>
                    <a:pt x="482" y="97"/>
                  </a:cubicBezTo>
                  <a:cubicBezTo>
                    <a:pt x="481" y="97"/>
                    <a:pt x="481" y="97"/>
                    <a:pt x="481" y="97"/>
                  </a:cubicBezTo>
                  <a:cubicBezTo>
                    <a:pt x="481" y="72"/>
                    <a:pt x="481" y="72"/>
                    <a:pt x="481" y="72"/>
                  </a:cubicBezTo>
                  <a:cubicBezTo>
                    <a:pt x="447" y="72"/>
                    <a:pt x="447" y="72"/>
                    <a:pt x="447" y="72"/>
                  </a:cubicBezTo>
                  <a:cubicBezTo>
                    <a:pt x="447" y="217"/>
                    <a:pt x="447" y="217"/>
                    <a:pt x="447" y="217"/>
                  </a:cubicBezTo>
                  <a:cubicBezTo>
                    <a:pt x="481" y="217"/>
                    <a:pt x="481" y="217"/>
                    <a:pt x="481" y="217"/>
                  </a:cubicBezTo>
                  <a:cubicBezTo>
                    <a:pt x="481" y="143"/>
                    <a:pt x="481" y="143"/>
                    <a:pt x="481" y="143"/>
                  </a:cubicBezTo>
                  <a:cubicBezTo>
                    <a:pt x="481" y="130"/>
                    <a:pt x="484" y="120"/>
                    <a:pt x="490" y="112"/>
                  </a:cubicBezTo>
                  <a:cubicBezTo>
                    <a:pt x="495" y="104"/>
                    <a:pt x="503" y="100"/>
                    <a:pt x="512" y="100"/>
                  </a:cubicBezTo>
                  <a:cubicBezTo>
                    <a:pt x="515" y="100"/>
                    <a:pt x="518" y="101"/>
                    <a:pt x="522" y="102"/>
                  </a:cubicBezTo>
                  <a:cubicBezTo>
                    <a:pt x="526" y="103"/>
                    <a:pt x="528" y="104"/>
                    <a:pt x="530" y="10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31" y="72"/>
                    <a:pt x="531" y="72"/>
                    <a:pt x="531" y="72"/>
                  </a:cubicBezTo>
                  <a:cubicBezTo>
                    <a:pt x="528" y="70"/>
                    <a:pt x="523" y="70"/>
                    <a:pt x="517" y="70"/>
                  </a:cubicBezTo>
                  <a:close/>
                  <a:moveTo>
                    <a:pt x="663" y="89"/>
                  </a:moveTo>
                  <a:cubicBezTo>
                    <a:pt x="675" y="102"/>
                    <a:pt x="682" y="120"/>
                    <a:pt x="682" y="143"/>
                  </a:cubicBezTo>
                  <a:cubicBezTo>
                    <a:pt x="682" y="166"/>
                    <a:pt x="675" y="185"/>
                    <a:pt x="661" y="199"/>
                  </a:cubicBezTo>
                  <a:cubicBezTo>
                    <a:pt x="648" y="213"/>
                    <a:pt x="629" y="220"/>
                    <a:pt x="606" y="220"/>
                  </a:cubicBezTo>
                  <a:cubicBezTo>
                    <a:pt x="584" y="220"/>
                    <a:pt x="566" y="213"/>
                    <a:pt x="553" y="200"/>
                  </a:cubicBezTo>
                  <a:cubicBezTo>
                    <a:pt x="540" y="187"/>
                    <a:pt x="533" y="169"/>
                    <a:pt x="533" y="146"/>
                  </a:cubicBezTo>
                  <a:cubicBezTo>
                    <a:pt x="533" y="122"/>
                    <a:pt x="540" y="103"/>
                    <a:pt x="553" y="89"/>
                  </a:cubicBezTo>
                  <a:cubicBezTo>
                    <a:pt x="567" y="76"/>
                    <a:pt x="586" y="69"/>
                    <a:pt x="610" y="69"/>
                  </a:cubicBezTo>
                  <a:cubicBezTo>
                    <a:pt x="632" y="69"/>
                    <a:pt x="650" y="75"/>
                    <a:pt x="663" y="89"/>
                  </a:cubicBezTo>
                  <a:close/>
                  <a:moveTo>
                    <a:pt x="646" y="144"/>
                  </a:moveTo>
                  <a:cubicBezTo>
                    <a:pt x="646" y="129"/>
                    <a:pt x="643" y="117"/>
                    <a:pt x="636" y="109"/>
                  </a:cubicBezTo>
                  <a:cubicBezTo>
                    <a:pt x="629" y="101"/>
                    <a:pt x="620" y="97"/>
                    <a:pt x="608" y="97"/>
                  </a:cubicBezTo>
                  <a:cubicBezTo>
                    <a:pt x="596" y="97"/>
                    <a:pt x="586" y="101"/>
                    <a:pt x="579" y="109"/>
                  </a:cubicBezTo>
                  <a:cubicBezTo>
                    <a:pt x="572" y="118"/>
                    <a:pt x="568" y="130"/>
                    <a:pt x="568" y="145"/>
                  </a:cubicBezTo>
                  <a:cubicBezTo>
                    <a:pt x="568" y="160"/>
                    <a:pt x="572" y="172"/>
                    <a:pt x="579" y="180"/>
                  </a:cubicBezTo>
                  <a:cubicBezTo>
                    <a:pt x="586" y="188"/>
                    <a:pt x="596" y="192"/>
                    <a:pt x="608" y="192"/>
                  </a:cubicBezTo>
                  <a:cubicBezTo>
                    <a:pt x="621" y="192"/>
                    <a:pt x="630" y="188"/>
                    <a:pt x="637" y="180"/>
                  </a:cubicBezTo>
                  <a:cubicBezTo>
                    <a:pt x="643" y="172"/>
                    <a:pt x="646" y="160"/>
                    <a:pt x="646" y="144"/>
                  </a:cubicBezTo>
                  <a:close/>
                  <a:moveTo>
                    <a:pt x="757" y="132"/>
                  </a:moveTo>
                  <a:cubicBezTo>
                    <a:pt x="746" y="128"/>
                    <a:pt x="739" y="124"/>
                    <a:pt x="737" y="121"/>
                  </a:cubicBezTo>
                  <a:cubicBezTo>
                    <a:pt x="734" y="119"/>
                    <a:pt x="732" y="115"/>
                    <a:pt x="732" y="110"/>
                  </a:cubicBezTo>
                  <a:cubicBezTo>
                    <a:pt x="732" y="106"/>
                    <a:pt x="734" y="103"/>
                    <a:pt x="738" y="100"/>
                  </a:cubicBezTo>
                  <a:cubicBezTo>
                    <a:pt x="741" y="97"/>
                    <a:pt x="746" y="96"/>
                    <a:pt x="752" y="96"/>
                  </a:cubicBezTo>
                  <a:cubicBezTo>
                    <a:pt x="758" y="96"/>
                    <a:pt x="764" y="97"/>
                    <a:pt x="770" y="98"/>
                  </a:cubicBezTo>
                  <a:cubicBezTo>
                    <a:pt x="776" y="100"/>
                    <a:pt x="781" y="103"/>
                    <a:pt x="785" y="105"/>
                  </a:cubicBezTo>
                  <a:cubicBezTo>
                    <a:pt x="786" y="106"/>
                    <a:pt x="786" y="106"/>
                    <a:pt x="786" y="106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6" y="75"/>
                    <a:pt x="786" y="75"/>
                    <a:pt x="786" y="75"/>
                  </a:cubicBezTo>
                  <a:cubicBezTo>
                    <a:pt x="782" y="73"/>
                    <a:pt x="777" y="72"/>
                    <a:pt x="770" y="70"/>
                  </a:cubicBezTo>
                  <a:cubicBezTo>
                    <a:pt x="764" y="69"/>
                    <a:pt x="758" y="69"/>
                    <a:pt x="753" y="69"/>
                  </a:cubicBezTo>
                  <a:cubicBezTo>
                    <a:pt x="737" y="69"/>
                    <a:pt x="724" y="73"/>
                    <a:pt x="714" y="81"/>
                  </a:cubicBezTo>
                  <a:cubicBezTo>
                    <a:pt x="703" y="89"/>
                    <a:pt x="698" y="100"/>
                    <a:pt x="698" y="113"/>
                  </a:cubicBezTo>
                  <a:cubicBezTo>
                    <a:pt x="698" y="120"/>
                    <a:pt x="699" y="126"/>
                    <a:pt x="701" y="131"/>
                  </a:cubicBezTo>
                  <a:cubicBezTo>
                    <a:pt x="704" y="136"/>
                    <a:pt x="707" y="141"/>
                    <a:pt x="712" y="144"/>
                  </a:cubicBezTo>
                  <a:cubicBezTo>
                    <a:pt x="716" y="148"/>
                    <a:pt x="723" y="152"/>
                    <a:pt x="733" y="156"/>
                  </a:cubicBezTo>
                  <a:cubicBezTo>
                    <a:pt x="740" y="159"/>
                    <a:pt x="746" y="162"/>
                    <a:pt x="750" y="164"/>
                  </a:cubicBezTo>
                  <a:cubicBezTo>
                    <a:pt x="754" y="166"/>
                    <a:pt x="756" y="168"/>
                    <a:pt x="758" y="171"/>
                  </a:cubicBezTo>
                  <a:cubicBezTo>
                    <a:pt x="759" y="173"/>
                    <a:pt x="760" y="175"/>
                    <a:pt x="760" y="179"/>
                  </a:cubicBezTo>
                  <a:cubicBezTo>
                    <a:pt x="760" y="188"/>
                    <a:pt x="753" y="193"/>
                    <a:pt x="738" y="193"/>
                  </a:cubicBezTo>
                  <a:cubicBezTo>
                    <a:pt x="732" y="193"/>
                    <a:pt x="726" y="192"/>
                    <a:pt x="719" y="190"/>
                  </a:cubicBezTo>
                  <a:cubicBezTo>
                    <a:pt x="712" y="187"/>
                    <a:pt x="705" y="184"/>
                    <a:pt x="700" y="180"/>
                  </a:cubicBezTo>
                  <a:cubicBezTo>
                    <a:pt x="698" y="179"/>
                    <a:pt x="698" y="179"/>
                    <a:pt x="698" y="179"/>
                  </a:cubicBezTo>
                  <a:cubicBezTo>
                    <a:pt x="698" y="212"/>
                    <a:pt x="698" y="212"/>
                    <a:pt x="698" y="212"/>
                  </a:cubicBezTo>
                  <a:cubicBezTo>
                    <a:pt x="699" y="212"/>
                    <a:pt x="699" y="212"/>
                    <a:pt x="699" y="212"/>
                  </a:cubicBezTo>
                  <a:cubicBezTo>
                    <a:pt x="703" y="215"/>
                    <a:pt x="710" y="216"/>
                    <a:pt x="717" y="218"/>
                  </a:cubicBezTo>
                  <a:cubicBezTo>
                    <a:pt x="724" y="219"/>
                    <a:pt x="731" y="220"/>
                    <a:pt x="736" y="220"/>
                  </a:cubicBezTo>
                  <a:cubicBezTo>
                    <a:pt x="754" y="220"/>
                    <a:pt x="768" y="216"/>
                    <a:pt x="778" y="208"/>
                  </a:cubicBezTo>
                  <a:cubicBezTo>
                    <a:pt x="789" y="199"/>
                    <a:pt x="794" y="188"/>
                    <a:pt x="794" y="175"/>
                  </a:cubicBezTo>
                  <a:cubicBezTo>
                    <a:pt x="794" y="165"/>
                    <a:pt x="791" y="157"/>
                    <a:pt x="786" y="150"/>
                  </a:cubicBezTo>
                  <a:cubicBezTo>
                    <a:pt x="780" y="143"/>
                    <a:pt x="770" y="137"/>
                    <a:pt x="757" y="132"/>
                  </a:cubicBezTo>
                  <a:close/>
                  <a:moveTo>
                    <a:pt x="938" y="89"/>
                  </a:moveTo>
                  <a:cubicBezTo>
                    <a:pt x="951" y="102"/>
                    <a:pt x="957" y="120"/>
                    <a:pt x="957" y="143"/>
                  </a:cubicBezTo>
                  <a:cubicBezTo>
                    <a:pt x="957" y="166"/>
                    <a:pt x="951" y="185"/>
                    <a:pt x="937" y="199"/>
                  </a:cubicBezTo>
                  <a:cubicBezTo>
                    <a:pt x="924" y="213"/>
                    <a:pt x="905" y="220"/>
                    <a:pt x="882" y="220"/>
                  </a:cubicBezTo>
                  <a:cubicBezTo>
                    <a:pt x="860" y="220"/>
                    <a:pt x="842" y="213"/>
                    <a:pt x="829" y="200"/>
                  </a:cubicBezTo>
                  <a:cubicBezTo>
                    <a:pt x="816" y="187"/>
                    <a:pt x="809" y="169"/>
                    <a:pt x="809" y="146"/>
                  </a:cubicBezTo>
                  <a:cubicBezTo>
                    <a:pt x="809" y="122"/>
                    <a:pt x="816" y="103"/>
                    <a:pt x="829" y="89"/>
                  </a:cubicBezTo>
                  <a:cubicBezTo>
                    <a:pt x="843" y="76"/>
                    <a:pt x="862" y="69"/>
                    <a:pt x="885" y="69"/>
                  </a:cubicBezTo>
                  <a:cubicBezTo>
                    <a:pt x="908" y="69"/>
                    <a:pt x="926" y="75"/>
                    <a:pt x="938" y="89"/>
                  </a:cubicBezTo>
                  <a:close/>
                  <a:moveTo>
                    <a:pt x="922" y="144"/>
                  </a:moveTo>
                  <a:cubicBezTo>
                    <a:pt x="922" y="129"/>
                    <a:pt x="919" y="117"/>
                    <a:pt x="912" y="109"/>
                  </a:cubicBezTo>
                  <a:cubicBezTo>
                    <a:pt x="905" y="101"/>
                    <a:pt x="896" y="97"/>
                    <a:pt x="884" y="97"/>
                  </a:cubicBezTo>
                  <a:cubicBezTo>
                    <a:pt x="871" y="97"/>
                    <a:pt x="862" y="101"/>
                    <a:pt x="855" y="109"/>
                  </a:cubicBezTo>
                  <a:cubicBezTo>
                    <a:pt x="848" y="118"/>
                    <a:pt x="844" y="130"/>
                    <a:pt x="844" y="145"/>
                  </a:cubicBezTo>
                  <a:cubicBezTo>
                    <a:pt x="844" y="160"/>
                    <a:pt x="848" y="172"/>
                    <a:pt x="855" y="180"/>
                  </a:cubicBezTo>
                  <a:cubicBezTo>
                    <a:pt x="862" y="188"/>
                    <a:pt x="871" y="192"/>
                    <a:pt x="884" y="192"/>
                  </a:cubicBezTo>
                  <a:cubicBezTo>
                    <a:pt x="896" y="192"/>
                    <a:pt x="906" y="188"/>
                    <a:pt x="912" y="180"/>
                  </a:cubicBezTo>
                  <a:cubicBezTo>
                    <a:pt x="919" y="172"/>
                    <a:pt x="922" y="160"/>
                    <a:pt x="922" y="144"/>
                  </a:cubicBezTo>
                  <a:close/>
                  <a:moveTo>
                    <a:pt x="1139" y="100"/>
                  </a:moveTo>
                  <a:cubicBezTo>
                    <a:pt x="1139" y="72"/>
                    <a:pt x="1139" y="72"/>
                    <a:pt x="1139" y="72"/>
                  </a:cubicBezTo>
                  <a:cubicBezTo>
                    <a:pt x="1104" y="72"/>
                    <a:pt x="1104" y="72"/>
                    <a:pt x="1104" y="72"/>
                  </a:cubicBezTo>
                  <a:cubicBezTo>
                    <a:pt x="1104" y="29"/>
                    <a:pt x="1104" y="29"/>
                    <a:pt x="1104" y="29"/>
                  </a:cubicBezTo>
                  <a:cubicBezTo>
                    <a:pt x="1103" y="29"/>
                    <a:pt x="1103" y="29"/>
                    <a:pt x="1103" y="29"/>
                  </a:cubicBezTo>
                  <a:cubicBezTo>
                    <a:pt x="1071" y="39"/>
                    <a:pt x="1071" y="39"/>
                    <a:pt x="1071" y="39"/>
                  </a:cubicBezTo>
                  <a:cubicBezTo>
                    <a:pt x="1070" y="40"/>
                    <a:pt x="1070" y="40"/>
                    <a:pt x="1070" y="40"/>
                  </a:cubicBezTo>
                  <a:cubicBezTo>
                    <a:pt x="1070" y="72"/>
                    <a:pt x="1070" y="72"/>
                    <a:pt x="1070" y="72"/>
                  </a:cubicBezTo>
                  <a:cubicBezTo>
                    <a:pt x="1019" y="72"/>
                    <a:pt x="1019" y="72"/>
                    <a:pt x="1019" y="72"/>
                  </a:cubicBezTo>
                  <a:cubicBezTo>
                    <a:pt x="1019" y="54"/>
                    <a:pt x="1019" y="54"/>
                    <a:pt x="1019" y="54"/>
                  </a:cubicBezTo>
                  <a:cubicBezTo>
                    <a:pt x="1019" y="46"/>
                    <a:pt x="1021" y="39"/>
                    <a:pt x="1025" y="35"/>
                  </a:cubicBezTo>
                  <a:cubicBezTo>
                    <a:pt x="1028" y="30"/>
                    <a:pt x="1034" y="28"/>
                    <a:pt x="1040" y="28"/>
                  </a:cubicBezTo>
                  <a:cubicBezTo>
                    <a:pt x="1045" y="28"/>
                    <a:pt x="1050" y="29"/>
                    <a:pt x="1055" y="32"/>
                  </a:cubicBezTo>
                  <a:cubicBezTo>
                    <a:pt x="1057" y="32"/>
                    <a:pt x="1057" y="32"/>
                    <a:pt x="1057" y="32"/>
                  </a:cubicBezTo>
                  <a:cubicBezTo>
                    <a:pt x="1057" y="3"/>
                    <a:pt x="1057" y="3"/>
                    <a:pt x="1057" y="3"/>
                  </a:cubicBezTo>
                  <a:cubicBezTo>
                    <a:pt x="1056" y="3"/>
                    <a:pt x="1056" y="3"/>
                    <a:pt x="1056" y="3"/>
                  </a:cubicBezTo>
                  <a:cubicBezTo>
                    <a:pt x="1051" y="1"/>
                    <a:pt x="1045" y="0"/>
                    <a:pt x="1037" y="0"/>
                  </a:cubicBezTo>
                  <a:cubicBezTo>
                    <a:pt x="1027" y="0"/>
                    <a:pt x="1018" y="3"/>
                    <a:pt x="1010" y="7"/>
                  </a:cubicBezTo>
                  <a:cubicBezTo>
                    <a:pt x="1002" y="11"/>
                    <a:pt x="996" y="17"/>
                    <a:pt x="991" y="25"/>
                  </a:cubicBezTo>
                  <a:cubicBezTo>
                    <a:pt x="987" y="33"/>
                    <a:pt x="985" y="42"/>
                    <a:pt x="985" y="52"/>
                  </a:cubicBezTo>
                  <a:cubicBezTo>
                    <a:pt x="985" y="72"/>
                    <a:pt x="985" y="72"/>
                    <a:pt x="985" y="72"/>
                  </a:cubicBezTo>
                  <a:cubicBezTo>
                    <a:pt x="961" y="72"/>
                    <a:pt x="961" y="72"/>
                    <a:pt x="961" y="72"/>
                  </a:cubicBezTo>
                  <a:cubicBezTo>
                    <a:pt x="961" y="100"/>
                    <a:pt x="961" y="100"/>
                    <a:pt x="961" y="100"/>
                  </a:cubicBezTo>
                  <a:cubicBezTo>
                    <a:pt x="985" y="100"/>
                    <a:pt x="985" y="100"/>
                    <a:pt x="985" y="100"/>
                  </a:cubicBezTo>
                  <a:cubicBezTo>
                    <a:pt x="985" y="217"/>
                    <a:pt x="985" y="217"/>
                    <a:pt x="985" y="217"/>
                  </a:cubicBezTo>
                  <a:cubicBezTo>
                    <a:pt x="1019" y="217"/>
                    <a:pt x="1019" y="217"/>
                    <a:pt x="1019" y="217"/>
                  </a:cubicBezTo>
                  <a:cubicBezTo>
                    <a:pt x="1019" y="100"/>
                    <a:pt x="1019" y="100"/>
                    <a:pt x="1019" y="100"/>
                  </a:cubicBezTo>
                  <a:cubicBezTo>
                    <a:pt x="1070" y="100"/>
                    <a:pt x="1070" y="100"/>
                    <a:pt x="1070" y="100"/>
                  </a:cubicBezTo>
                  <a:cubicBezTo>
                    <a:pt x="1070" y="174"/>
                    <a:pt x="1070" y="174"/>
                    <a:pt x="1070" y="174"/>
                  </a:cubicBezTo>
                  <a:cubicBezTo>
                    <a:pt x="1070" y="205"/>
                    <a:pt x="1084" y="220"/>
                    <a:pt x="1113" y="220"/>
                  </a:cubicBezTo>
                  <a:cubicBezTo>
                    <a:pt x="1118" y="220"/>
                    <a:pt x="1122" y="220"/>
                    <a:pt x="1127" y="219"/>
                  </a:cubicBezTo>
                  <a:cubicBezTo>
                    <a:pt x="1133" y="217"/>
                    <a:pt x="1136" y="216"/>
                    <a:pt x="1138" y="215"/>
                  </a:cubicBezTo>
                  <a:cubicBezTo>
                    <a:pt x="1139" y="215"/>
                    <a:pt x="1139" y="215"/>
                    <a:pt x="1139" y="215"/>
                  </a:cubicBezTo>
                  <a:cubicBezTo>
                    <a:pt x="1139" y="187"/>
                    <a:pt x="1139" y="187"/>
                    <a:pt x="1139" y="187"/>
                  </a:cubicBezTo>
                  <a:cubicBezTo>
                    <a:pt x="1137" y="188"/>
                    <a:pt x="1137" y="188"/>
                    <a:pt x="1137" y="188"/>
                  </a:cubicBezTo>
                  <a:cubicBezTo>
                    <a:pt x="1135" y="189"/>
                    <a:pt x="1133" y="190"/>
                    <a:pt x="1130" y="191"/>
                  </a:cubicBezTo>
                  <a:cubicBezTo>
                    <a:pt x="1127" y="192"/>
                    <a:pt x="1125" y="192"/>
                    <a:pt x="1123" y="192"/>
                  </a:cubicBezTo>
                  <a:cubicBezTo>
                    <a:pt x="1117" y="192"/>
                    <a:pt x="1112" y="190"/>
                    <a:pt x="1109" y="187"/>
                  </a:cubicBezTo>
                  <a:cubicBezTo>
                    <a:pt x="1106" y="183"/>
                    <a:pt x="1104" y="177"/>
                    <a:pt x="1104" y="168"/>
                  </a:cubicBezTo>
                  <a:cubicBezTo>
                    <a:pt x="1104" y="100"/>
                    <a:pt x="1104" y="100"/>
                    <a:pt x="1104" y="100"/>
                  </a:cubicBezTo>
                  <a:lnTo>
                    <a:pt x="1139" y="1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32597"/>
              <a:endParaRPr lang="en-US" sz="1800">
                <a:solidFill>
                  <a:srgbClr val="FFFFFF"/>
                </a:solidFill>
              </a:endParaRPr>
            </a:p>
          </p:txBody>
        </p:sp>
      </p:grpSp>
      <p:sp>
        <p:nvSpPr>
          <p:cNvPr id="11" name="TextBox 7"/>
          <p:cNvSpPr txBox="1"/>
          <p:nvPr userDrawn="1"/>
        </p:nvSpPr>
        <p:spPr bwMode="white">
          <a:xfrm>
            <a:off x="4422030" y="6696184"/>
            <a:ext cx="3592417" cy="164473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defPPr>
              <a:defRPr lang="en-US"/>
            </a:defPPr>
            <a:lvl1pPr marL="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8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63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45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27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09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algn="l" defTabSz="9143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48" spc="150">
                <a:gradFill>
                  <a:gsLst>
                    <a:gs pos="0">
                      <a:srgbClr val="FFFFFF">
                        <a:alpha val="50000"/>
                      </a:srgbClr>
                    </a:gs>
                    <a:gs pos="86000">
                      <a:srgbClr val="FFFFFF">
                        <a:alpha val="50000"/>
                      </a:srgbClr>
                    </a:gs>
                  </a:gsLst>
                  <a:lin ang="5400000" scaled="0"/>
                </a:gradFill>
                <a:latin typeface="Segoe UI" panose="020B0502040204020203" pitchFamily="34" charset="0"/>
              </a:rPr>
              <a:t>MICROSOFT CONFIDENTIAL – INTERNAL ONLY</a:t>
            </a:r>
          </a:p>
        </p:txBody>
      </p:sp>
      <p:sp>
        <p:nvSpPr>
          <p:cNvPr id="12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8506905" y="294306"/>
            <a:ext cx="3657600" cy="578303"/>
          </a:xfrm>
        </p:spPr>
        <p:txBody>
          <a:bodyPr lIns="182880" tIns="146304" rIns="182880" bIns="146304"/>
          <a:lstStyle>
            <a:lvl1pPr marL="0" indent="0" algn="r">
              <a:buNone/>
              <a:defRPr sz="2000">
                <a:latin typeface="+mn-lt"/>
              </a:defRPr>
            </a:lvl1pPr>
            <a:lvl2pPr marL="342768" indent="0">
              <a:buNone/>
              <a:defRPr sz="2000"/>
            </a:lvl2pPr>
            <a:lvl3pPr marL="571281" indent="0">
              <a:buNone/>
              <a:defRPr sz="2000"/>
            </a:lvl3pPr>
            <a:lvl4pPr marL="799792" indent="0">
              <a:buNone/>
              <a:defRPr sz="2000"/>
            </a:lvl4pPr>
            <a:lvl5pPr marL="1028305" indent="0">
              <a:buNone/>
              <a:defRPr sz="2000"/>
            </a:lvl5pPr>
          </a:lstStyle>
          <a:p>
            <a:pPr lvl="0"/>
            <a:r>
              <a:rPr lang="en-US"/>
              <a:t>Session Code</a:t>
            </a:r>
          </a:p>
        </p:txBody>
      </p:sp>
      <p:sp>
        <p:nvSpPr>
          <p:cNvPr id="13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274703" y="6116468"/>
            <a:ext cx="3657600" cy="578303"/>
          </a:xfrm>
        </p:spPr>
        <p:txBody>
          <a:bodyPr lIns="182880" tIns="146304" rIns="182880" bIns="146304" anchor="b"/>
          <a:lstStyle>
            <a:lvl1pPr marL="0" indent="0" algn="l">
              <a:buNone/>
              <a:defRPr sz="2000">
                <a:latin typeface="+mn-lt"/>
              </a:defRPr>
            </a:lvl1pPr>
            <a:lvl2pPr marL="342768" indent="0">
              <a:buNone/>
              <a:defRPr sz="2000"/>
            </a:lvl2pPr>
            <a:lvl3pPr marL="571281" indent="0">
              <a:buNone/>
              <a:defRPr sz="2000"/>
            </a:lvl3pPr>
            <a:lvl4pPr marL="799792" indent="0">
              <a:buNone/>
              <a:defRPr sz="2000"/>
            </a:lvl4pPr>
            <a:lvl5pPr marL="1028305" indent="0">
              <a:buNone/>
              <a:defRPr sz="2000"/>
            </a:lvl5pPr>
          </a:lstStyle>
          <a:p>
            <a:pPr lvl="0"/>
            <a:r>
              <a:rPr lang="en-US"/>
              <a:t>Yammer hashtag</a:t>
            </a:r>
          </a:p>
        </p:txBody>
      </p:sp>
    </p:spTree>
    <p:extLst>
      <p:ext uri="{BB962C8B-B14F-4D97-AF65-F5344CB8AC3E}">
        <p14:creationId xmlns:p14="http://schemas.microsoft.com/office/powerpoint/2010/main" val="35248178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identiali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560424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9" y="1212851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557" indent="0">
              <a:buNone/>
              <a:defRPr/>
            </a:lvl3pPr>
            <a:lvl4pPr marL="457112" indent="0">
              <a:buNone/>
              <a:defRPr/>
            </a:lvl4pPr>
            <a:lvl5pPr marL="685669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77171667"/>
      </p:ext>
    </p:extLst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50"/>
            <a:ext cx="11887200" cy="2092881"/>
          </a:xfrm>
        </p:spPr>
        <p:txBody>
          <a:bodyPr>
            <a:spAutoFit/>
          </a:bodyPr>
          <a:lstStyle>
            <a:lvl1pPr>
              <a:defRPr sz="3999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84775627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1.xml"/><Relationship Id="rId13" Type="http://schemas.openxmlformats.org/officeDocument/2006/relationships/slideLayout" Target="../slideLayouts/slideLayout186.xml"/><Relationship Id="rId18" Type="http://schemas.openxmlformats.org/officeDocument/2006/relationships/slideLayout" Target="../slideLayouts/slideLayout191.xml"/><Relationship Id="rId26" Type="http://schemas.openxmlformats.org/officeDocument/2006/relationships/slideLayout" Target="../slideLayouts/slideLayout199.xml"/><Relationship Id="rId3" Type="http://schemas.openxmlformats.org/officeDocument/2006/relationships/slideLayout" Target="../slideLayouts/slideLayout176.xml"/><Relationship Id="rId21" Type="http://schemas.openxmlformats.org/officeDocument/2006/relationships/slideLayout" Target="../slideLayouts/slideLayout194.xml"/><Relationship Id="rId34" Type="http://schemas.openxmlformats.org/officeDocument/2006/relationships/slideLayout" Target="../slideLayouts/slideLayout207.xml"/><Relationship Id="rId7" Type="http://schemas.openxmlformats.org/officeDocument/2006/relationships/slideLayout" Target="../slideLayouts/slideLayout180.xml"/><Relationship Id="rId12" Type="http://schemas.openxmlformats.org/officeDocument/2006/relationships/slideLayout" Target="../slideLayouts/slideLayout185.xml"/><Relationship Id="rId17" Type="http://schemas.openxmlformats.org/officeDocument/2006/relationships/slideLayout" Target="../slideLayouts/slideLayout190.xml"/><Relationship Id="rId25" Type="http://schemas.openxmlformats.org/officeDocument/2006/relationships/slideLayout" Target="../slideLayouts/slideLayout198.xml"/><Relationship Id="rId33" Type="http://schemas.openxmlformats.org/officeDocument/2006/relationships/slideLayout" Target="../slideLayouts/slideLayout206.xml"/><Relationship Id="rId2" Type="http://schemas.openxmlformats.org/officeDocument/2006/relationships/slideLayout" Target="../slideLayouts/slideLayout175.xml"/><Relationship Id="rId16" Type="http://schemas.openxmlformats.org/officeDocument/2006/relationships/slideLayout" Target="../slideLayouts/slideLayout189.xml"/><Relationship Id="rId20" Type="http://schemas.openxmlformats.org/officeDocument/2006/relationships/slideLayout" Target="../slideLayouts/slideLayout193.xml"/><Relationship Id="rId29" Type="http://schemas.openxmlformats.org/officeDocument/2006/relationships/slideLayout" Target="../slideLayouts/slideLayout202.xml"/><Relationship Id="rId1" Type="http://schemas.openxmlformats.org/officeDocument/2006/relationships/slideLayout" Target="../slideLayouts/slideLayout174.xml"/><Relationship Id="rId6" Type="http://schemas.openxmlformats.org/officeDocument/2006/relationships/slideLayout" Target="../slideLayouts/slideLayout179.xml"/><Relationship Id="rId11" Type="http://schemas.openxmlformats.org/officeDocument/2006/relationships/slideLayout" Target="../slideLayouts/slideLayout184.xml"/><Relationship Id="rId24" Type="http://schemas.openxmlformats.org/officeDocument/2006/relationships/slideLayout" Target="../slideLayouts/slideLayout197.xml"/><Relationship Id="rId32" Type="http://schemas.openxmlformats.org/officeDocument/2006/relationships/slideLayout" Target="../slideLayouts/slideLayout205.xml"/><Relationship Id="rId5" Type="http://schemas.openxmlformats.org/officeDocument/2006/relationships/slideLayout" Target="../slideLayouts/slideLayout178.xml"/><Relationship Id="rId15" Type="http://schemas.openxmlformats.org/officeDocument/2006/relationships/slideLayout" Target="../slideLayouts/slideLayout188.xml"/><Relationship Id="rId23" Type="http://schemas.openxmlformats.org/officeDocument/2006/relationships/slideLayout" Target="../slideLayouts/slideLayout196.xml"/><Relationship Id="rId28" Type="http://schemas.openxmlformats.org/officeDocument/2006/relationships/slideLayout" Target="../slideLayouts/slideLayout201.xml"/><Relationship Id="rId36" Type="http://schemas.openxmlformats.org/officeDocument/2006/relationships/image" Target="../media/image41.png"/><Relationship Id="rId10" Type="http://schemas.openxmlformats.org/officeDocument/2006/relationships/slideLayout" Target="../slideLayouts/slideLayout183.xml"/><Relationship Id="rId19" Type="http://schemas.openxmlformats.org/officeDocument/2006/relationships/slideLayout" Target="../slideLayouts/slideLayout192.xml"/><Relationship Id="rId31" Type="http://schemas.openxmlformats.org/officeDocument/2006/relationships/slideLayout" Target="../slideLayouts/slideLayout204.xml"/><Relationship Id="rId4" Type="http://schemas.openxmlformats.org/officeDocument/2006/relationships/slideLayout" Target="../slideLayouts/slideLayout177.xml"/><Relationship Id="rId9" Type="http://schemas.openxmlformats.org/officeDocument/2006/relationships/slideLayout" Target="../slideLayouts/slideLayout182.xml"/><Relationship Id="rId14" Type="http://schemas.openxmlformats.org/officeDocument/2006/relationships/slideLayout" Target="../slideLayouts/slideLayout187.xml"/><Relationship Id="rId22" Type="http://schemas.openxmlformats.org/officeDocument/2006/relationships/slideLayout" Target="../slideLayouts/slideLayout195.xml"/><Relationship Id="rId27" Type="http://schemas.openxmlformats.org/officeDocument/2006/relationships/slideLayout" Target="../slideLayouts/slideLayout200.xml"/><Relationship Id="rId30" Type="http://schemas.openxmlformats.org/officeDocument/2006/relationships/slideLayout" Target="../slideLayouts/slideLayout203.xml"/><Relationship Id="rId35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5.xml"/><Relationship Id="rId13" Type="http://schemas.openxmlformats.org/officeDocument/2006/relationships/slideLayout" Target="../slideLayouts/slideLayout220.xml"/><Relationship Id="rId18" Type="http://schemas.openxmlformats.org/officeDocument/2006/relationships/slideLayout" Target="../slideLayouts/slideLayout225.xml"/><Relationship Id="rId26" Type="http://schemas.openxmlformats.org/officeDocument/2006/relationships/slideLayout" Target="../slideLayouts/slideLayout233.xml"/><Relationship Id="rId3" Type="http://schemas.openxmlformats.org/officeDocument/2006/relationships/slideLayout" Target="../slideLayouts/slideLayout210.xml"/><Relationship Id="rId21" Type="http://schemas.openxmlformats.org/officeDocument/2006/relationships/slideLayout" Target="../slideLayouts/slideLayout228.xml"/><Relationship Id="rId7" Type="http://schemas.openxmlformats.org/officeDocument/2006/relationships/slideLayout" Target="../slideLayouts/slideLayout214.xml"/><Relationship Id="rId12" Type="http://schemas.openxmlformats.org/officeDocument/2006/relationships/slideLayout" Target="../slideLayouts/slideLayout219.xml"/><Relationship Id="rId17" Type="http://schemas.openxmlformats.org/officeDocument/2006/relationships/slideLayout" Target="../slideLayouts/slideLayout224.xml"/><Relationship Id="rId25" Type="http://schemas.openxmlformats.org/officeDocument/2006/relationships/slideLayout" Target="../slideLayouts/slideLayout232.xml"/><Relationship Id="rId33" Type="http://schemas.openxmlformats.org/officeDocument/2006/relationships/theme" Target="../theme/theme11.xml"/><Relationship Id="rId2" Type="http://schemas.openxmlformats.org/officeDocument/2006/relationships/slideLayout" Target="../slideLayouts/slideLayout209.xml"/><Relationship Id="rId16" Type="http://schemas.openxmlformats.org/officeDocument/2006/relationships/slideLayout" Target="../slideLayouts/slideLayout223.xml"/><Relationship Id="rId20" Type="http://schemas.openxmlformats.org/officeDocument/2006/relationships/slideLayout" Target="../slideLayouts/slideLayout227.xml"/><Relationship Id="rId29" Type="http://schemas.openxmlformats.org/officeDocument/2006/relationships/slideLayout" Target="../slideLayouts/slideLayout236.xml"/><Relationship Id="rId1" Type="http://schemas.openxmlformats.org/officeDocument/2006/relationships/slideLayout" Target="../slideLayouts/slideLayout208.xml"/><Relationship Id="rId6" Type="http://schemas.openxmlformats.org/officeDocument/2006/relationships/slideLayout" Target="../slideLayouts/slideLayout213.xml"/><Relationship Id="rId11" Type="http://schemas.openxmlformats.org/officeDocument/2006/relationships/slideLayout" Target="../slideLayouts/slideLayout218.xml"/><Relationship Id="rId24" Type="http://schemas.openxmlformats.org/officeDocument/2006/relationships/slideLayout" Target="../slideLayouts/slideLayout231.xml"/><Relationship Id="rId32" Type="http://schemas.openxmlformats.org/officeDocument/2006/relationships/slideLayout" Target="../slideLayouts/slideLayout239.xml"/><Relationship Id="rId5" Type="http://schemas.openxmlformats.org/officeDocument/2006/relationships/slideLayout" Target="../slideLayouts/slideLayout212.xml"/><Relationship Id="rId15" Type="http://schemas.openxmlformats.org/officeDocument/2006/relationships/slideLayout" Target="../slideLayouts/slideLayout222.xml"/><Relationship Id="rId23" Type="http://schemas.openxmlformats.org/officeDocument/2006/relationships/slideLayout" Target="../slideLayouts/slideLayout230.xml"/><Relationship Id="rId28" Type="http://schemas.openxmlformats.org/officeDocument/2006/relationships/slideLayout" Target="../slideLayouts/slideLayout235.xml"/><Relationship Id="rId10" Type="http://schemas.openxmlformats.org/officeDocument/2006/relationships/slideLayout" Target="../slideLayouts/slideLayout217.xml"/><Relationship Id="rId19" Type="http://schemas.openxmlformats.org/officeDocument/2006/relationships/slideLayout" Target="../slideLayouts/slideLayout226.xml"/><Relationship Id="rId31" Type="http://schemas.openxmlformats.org/officeDocument/2006/relationships/slideLayout" Target="../slideLayouts/slideLayout238.xml"/><Relationship Id="rId4" Type="http://schemas.openxmlformats.org/officeDocument/2006/relationships/slideLayout" Target="../slideLayouts/slideLayout211.xml"/><Relationship Id="rId9" Type="http://schemas.openxmlformats.org/officeDocument/2006/relationships/slideLayout" Target="../slideLayouts/slideLayout216.xml"/><Relationship Id="rId14" Type="http://schemas.openxmlformats.org/officeDocument/2006/relationships/slideLayout" Target="../slideLayouts/slideLayout221.xml"/><Relationship Id="rId22" Type="http://schemas.openxmlformats.org/officeDocument/2006/relationships/slideLayout" Target="../slideLayouts/slideLayout229.xml"/><Relationship Id="rId27" Type="http://schemas.openxmlformats.org/officeDocument/2006/relationships/slideLayout" Target="../slideLayouts/slideLayout234.xml"/><Relationship Id="rId30" Type="http://schemas.openxmlformats.org/officeDocument/2006/relationships/slideLayout" Target="../slideLayouts/slideLayout237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7.xml"/><Relationship Id="rId13" Type="http://schemas.openxmlformats.org/officeDocument/2006/relationships/slideLayout" Target="../slideLayouts/slideLayout252.xml"/><Relationship Id="rId18" Type="http://schemas.openxmlformats.org/officeDocument/2006/relationships/slideLayout" Target="../slideLayouts/slideLayout257.xml"/><Relationship Id="rId3" Type="http://schemas.openxmlformats.org/officeDocument/2006/relationships/slideLayout" Target="../slideLayouts/slideLayout242.xml"/><Relationship Id="rId21" Type="http://schemas.openxmlformats.org/officeDocument/2006/relationships/theme" Target="../theme/theme12.xml"/><Relationship Id="rId7" Type="http://schemas.openxmlformats.org/officeDocument/2006/relationships/slideLayout" Target="../slideLayouts/slideLayout246.xml"/><Relationship Id="rId12" Type="http://schemas.openxmlformats.org/officeDocument/2006/relationships/slideLayout" Target="../slideLayouts/slideLayout251.xml"/><Relationship Id="rId17" Type="http://schemas.openxmlformats.org/officeDocument/2006/relationships/slideLayout" Target="../slideLayouts/slideLayout256.xml"/><Relationship Id="rId2" Type="http://schemas.openxmlformats.org/officeDocument/2006/relationships/slideLayout" Target="../slideLayouts/slideLayout241.xml"/><Relationship Id="rId16" Type="http://schemas.openxmlformats.org/officeDocument/2006/relationships/slideLayout" Target="../slideLayouts/slideLayout255.xml"/><Relationship Id="rId20" Type="http://schemas.openxmlformats.org/officeDocument/2006/relationships/slideLayout" Target="../slideLayouts/slideLayout259.xml"/><Relationship Id="rId1" Type="http://schemas.openxmlformats.org/officeDocument/2006/relationships/slideLayout" Target="../slideLayouts/slideLayout240.xml"/><Relationship Id="rId6" Type="http://schemas.openxmlformats.org/officeDocument/2006/relationships/slideLayout" Target="../slideLayouts/slideLayout245.xml"/><Relationship Id="rId11" Type="http://schemas.openxmlformats.org/officeDocument/2006/relationships/slideLayout" Target="../slideLayouts/slideLayout250.xml"/><Relationship Id="rId5" Type="http://schemas.openxmlformats.org/officeDocument/2006/relationships/slideLayout" Target="../slideLayouts/slideLayout244.xml"/><Relationship Id="rId15" Type="http://schemas.openxmlformats.org/officeDocument/2006/relationships/slideLayout" Target="../slideLayouts/slideLayout254.xml"/><Relationship Id="rId10" Type="http://schemas.openxmlformats.org/officeDocument/2006/relationships/slideLayout" Target="../slideLayouts/slideLayout249.xml"/><Relationship Id="rId19" Type="http://schemas.openxmlformats.org/officeDocument/2006/relationships/slideLayout" Target="../slideLayouts/slideLayout258.xml"/><Relationship Id="rId4" Type="http://schemas.openxmlformats.org/officeDocument/2006/relationships/slideLayout" Target="../slideLayouts/slideLayout243.xml"/><Relationship Id="rId9" Type="http://schemas.openxmlformats.org/officeDocument/2006/relationships/slideLayout" Target="../slideLayouts/slideLayout248.xml"/><Relationship Id="rId14" Type="http://schemas.openxmlformats.org/officeDocument/2006/relationships/slideLayout" Target="../slideLayouts/slideLayout253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7.xml"/><Relationship Id="rId13" Type="http://schemas.openxmlformats.org/officeDocument/2006/relationships/image" Target="../media/image57.png"/><Relationship Id="rId3" Type="http://schemas.openxmlformats.org/officeDocument/2006/relationships/slideLayout" Target="../slideLayouts/slideLayout262.xml"/><Relationship Id="rId7" Type="http://schemas.openxmlformats.org/officeDocument/2006/relationships/slideLayout" Target="../slideLayouts/slideLayout266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261.xml"/><Relationship Id="rId1" Type="http://schemas.openxmlformats.org/officeDocument/2006/relationships/slideLayout" Target="../slideLayouts/slideLayout260.xml"/><Relationship Id="rId6" Type="http://schemas.openxmlformats.org/officeDocument/2006/relationships/slideLayout" Target="../slideLayouts/slideLayout265.xml"/><Relationship Id="rId11" Type="http://schemas.openxmlformats.org/officeDocument/2006/relationships/slideLayout" Target="../slideLayouts/slideLayout270.xml"/><Relationship Id="rId5" Type="http://schemas.openxmlformats.org/officeDocument/2006/relationships/slideLayout" Target="../slideLayouts/slideLayout264.xml"/><Relationship Id="rId10" Type="http://schemas.openxmlformats.org/officeDocument/2006/relationships/slideLayout" Target="../slideLayouts/slideLayout269.xml"/><Relationship Id="rId4" Type="http://schemas.openxmlformats.org/officeDocument/2006/relationships/slideLayout" Target="../slideLayouts/slideLayout263.xml"/><Relationship Id="rId9" Type="http://schemas.openxmlformats.org/officeDocument/2006/relationships/slideLayout" Target="../slideLayouts/slideLayout268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8.xml"/><Relationship Id="rId13" Type="http://schemas.openxmlformats.org/officeDocument/2006/relationships/slideLayout" Target="../slideLayouts/slideLayout283.xml"/><Relationship Id="rId3" Type="http://schemas.openxmlformats.org/officeDocument/2006/relationships/slideLayout" Target="../slideLayouts/slideLayout273.xml"/><Relationship Id="rId7" Type="http://schemas.openxmlformats.org/officeDocument/2006/relationships/slideLayout" Target="../slideLayouts/slideLayout277.xml"/><Relationship Id="rId12" Type="http://schemas.openxmlformats.org/officeDocument/2006/relationships/slideLayout" Target="../slideLayouts/slideLayout282.xml"/><Relationship Id="rId2" Type="http://schemas.openxmlformats.org/officeDocument/2006/relationships/slideLayout" Target="../slideLayouts/slideLayout272.xml"/><Relationship Id="rId1" Type="http://schemas.openxmlformats.org/officeDocument/2006/relationships/slideLayout" Target="../slideLayouts/slideLayout271.xml"/><Relationship Id="rId6" Type="http://schemas.openxmlformats.org/officeDocument/2006/relationships/slideLayout" Target="../slideLayouts/slideLayout276.xml"/><Relationship Id="rId11" Type="http://schemas.openxmlformats.org/officeDocument/2006/relationships/slideLayout" Target="../slideLayouts/slideLayout281.xml"/><Relationship Id="rId5" Type="http://schemas.openxmlformats.org/officeDocument/2006/relationships/slideLayout" Target="../slideLayouts/slideLayout275.xml"/><Relationship Id="rId10" Type="http://schemas.openxmlformats.org/officeDocument/2006/relationships/slideLayout" Target="../slideLayouts/slideLayout280.xml"/><Relationship Id="rId4" Type="http://schemas.openxmlformats.org/officeDocument/2006/relationships/slideLayout" Target="../slideLayouts/slideLayout274.xml"/><Relationship Id="rId9" Type="http://schemas.openxmlformats.org/officeDocument/2006/relationships/slideLayout" Target="../slideLayouts/slideLayout279.xml"/><Relationship Id="rId14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6.xml"/><Relationship Id="rId2" Type="http://schemas.openxmlformats.org/officeDocument/2006/relationships/slideLayout" Target="../slideLayouts/slideLayout285.xml"/><Relationship Id="rId1" Type="http://schemas.openxmlformats.org/officeDocument/2006/relationships/slideLayout" Target="../slideLayouts/slideLayout284.xml"/><Relationship Id="rId5" Type="http://schemas.openxmlformats.org/officeDocument/2006/relationships/theme" Target="../theme/theme15.xml"/><Relationship Id="rId4" Type="http://schemas.openxmlformats.org/officeDocument/2006/relationships/slideLayout" Target="../slideLayouts/slideLayout287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5.xml"/><Relationship Id="rId13" Type="http://schemas.openxmlformats.org/officeDocument/2006/relationships/slideLayout" Target="../slideLayouts/slideLayout300.xml"/><Relationship Id="rId18" Type="http://schemas.openxmlformats.org/officeDocument/2006/relationships/slideLayout" Target="../slideLayouts/slideLayout305.xml"/><Relationship Id="rId3" Type="http://schemas.openxmlformats.org/officeDocument/2006/relationships/slideLayout" Target="../slideLayouts/slideLayout290.xml"/><Relationship Id="rId21" Type="http://schemas.openxmlformats.org/officeDocument/2006/relationships/theme" Target="../theme/theme16.xml"/><Relationship Id="rId7" Type="http://schemas.openxmlformats.org/officeDocument/2006/relationships/slideLayout" Target="../slideLayouts/slideLayout294.xml"/><Relationship Id="rId12" Type="http://schemas.openxmlformats.org/officeDocument/2006/relationships/slideLayout" Target="../slideLayouts/slideLayout299.xml"/><Relationship Id="rId17" Type="http://schemas.openxmlformats.org/officeDocument/2006/relationships/slideLayout" Target="../slideLayouts/slideLayout304.xml"/><Relationship Id="rId2" Type="http://schemas.openxmlformats.org/officeDocument/2006/relationships/slideLayout" Target="../slideLayouts/slideLayout289.xml"/><Relationship Id="rId16" Type="http://schemas.openxmlformats.org/officeDocument/2006/relationships/slideLayout" Target="../slideLayouts/slideLayout303.xml"/><Relationship Id="rId20" Type="http://schemas.openxmlformats.org/officeDocument/2006/relationships/slideLayout" Target="../slideLayouts/slideLayout307.xml"/><Relationship Id="rId1" Type="http://schemas.openxmlformats.org/officeDocument/2006/relationships/slideLayout" Target="../slideLayouts/slideLayout288.xml"/><Relationship Id="rId6" Type="http://schemas.openxmlformats.org/officeDocument/2006/relationships/slideLayout" Target="../slideLayouts/slideLayout293.xml"/><Relationship Id="rId11" Type="http://schemas.openxmlformats.org/officeDocument/2006/relationships/slideLayout" Target="../slideLayouts/slideLayout298.xml"/><Relationship Id="rId5" Type="http://schemas.openxmlformats.org/officeDocument/2006/relationships/slideLayout" Target="../slideLayouts/slideLayout292.xml"/><Relationship Id="rId15" Type="http://schemas.openxmlformats.org/officeDocument/2006/relationships/slideLayout" Target="../slideLayouts/slideLayout302.xml"/><Relationship Id="rId10" Type="http://schemas.openxmlformats.org/officeDocument/2006/relationships/slideLayout" Target="../slideLayouts/slideLayout297.xml"/><Relationship Id="rId19" Type="http://schemas.openxmlformats.org/officeDocument/2006/relationships/slideLayout" Target="../slideLayouts/slideLayout306.xml"/><Relationship Id="rId4" Type="http://schemas.openxmlformats.org/officeDocument/2006/relationships/slideLayout" Target="../slideLayouts/slideLayout291.xml"/><Relationship Id="rId9" Type="http://schemas.openxmlformats.org/officeDocument/2006/relationships/slideLayout" Target="../slideLayouts/slideLayout296.xml"/><Relationship Id="rId14" Type="http://schemas.openxmlformats.org/officeDocument/2006/relationships/slideLayout" Target="../slideLayouts/slideLayout301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5.xml"/><Relationship Id="rId13" Type="http://schemas.openxmlformats.org/officeDocument/2006/relationships/image" Target="../media/image57.png"/><Relationship Id="rId3" Type="http://schemas.openxmlformats.org/officeDocument/2006/relationships/slideLayout" Target="../slideLayouts/slideLayout310.xml"/><Relationship Id="rId7" Type="http://schemas.openxmlformats.org/officeDocument/2006/relationships/slideLayout" Target="../slideLayouts/slideLayout314.xml"/><Relationship Id="rId12" Type="http://schemas.openxmlformats.org/officeDocument/2006/relationships/theme" Target="../theme/theme17.xml"/><Relationship Id="rId2" Type="http://schemas.openxmlformats.org/officeDocument/2006/relationships/slideLayout" Target="../slideLayouts/slideLayout309.xml"/><Relationship Id="rId1" Type="http://schemas.openxmlformats.org/officeDocument/2006/relationships/slideLayout" Target="../slideLayouts/slideLayout308.xml"/><Relationship Id="rId6" Type="http://schemas.openxmlformats.org/officeDocument/2006/relationships/slideLayout" Target="../slideLayouts/slideLayout313.xml"/><Relationship Id="rId11" Type="http://schemas.openxmlformats.org/officeDocument/2006/relationships/slideLayout" Target="../slideLayouts/slideLayout318.xml"/><Relationship Id="rId5" Type="http://schemas.openxmlformats.org/officeDocument/2006/relationships/slideLayout" Target="../slideLayouts/slideLayout312.xml"/><Relationship Id="rId10" Type="http://schemas.openxmlformats.org/officeDocument/2006/relationships/slideLayout" Target="../slideLayouts/slideLayout317.xml"/><Relationship Id="rId4" Type="http://schemas.openxmlformats.org/officeDocument/2006/relationships/slideLayout" Target="../slideLayouts/slideLayout311.xml"/><Relationship Id="rId9" Type="http://schemas.openxmlformats.org/officeDocument/2006/relationships/slideLayout" Target="../slideLayouts/slideLayout316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6.xml"/><Relationship Id="rId13" Type="http://schemas.openxmlformats.org/officeDocument/2006/relationships/slideLayout" Target="../slideLayouts/slideLayout331.xml"/><Relationship Id="rId18" Type="http://schemas.openxmlformats.org/officeDocument/2006/relationships/slideLayout" Target="../slideLayouts/slideLayout336.xml"/><Relationship Id="rId26" Type="http://schemas.openxmlformats.org/officeDocument/2006/relationships/slideLayout" Target="../slideLayouts/slideLayout344.xml"/><Relationship Id="rId3" Type="http://schemas.openxmlformats.org/officeDocument/2006/relationships/slideLayout" Target="../slideLayouts/slideLayout321.xml"/><Relationship Id="rId21" Type="http://schemas.openxmlformats.org/officeDocument/2006/relationships/slideLayout" Target="../slideLayouts/slideLayout339.xml"/><Relationship Id="rId34" Type="http://schemas.openxmlformats.org/officeDocument/2006/relationships/theme" Target="../theme/theme18.xml"/><Relationship Id="rId7" Type="http://schemas.openxmlformats.org/officeDocument/2006/relationships/slideLayout" Target="../slideLayouts/slideLayout325.xml"/><Relationship Id="rId12" Type="http://schemas.openxmlformats.org/officeDocument/2006/relationships/slideLayout" Target="../slideLayouts/slideLayout330.xml"/><Relationship Id="rId17" Type="http://schemas.openxmlformats.org/officeDocument/2006/relationships/slideLayout" Target="../slideLayouts/slideLayout335.xml"/><Relationship Id="rId25" Type="http://schemas.openxmlformats.org/officeDocument/2006/relationships/slideLayout" Target="../slideLayouts/slideLayout343.xml"/><Relationship Id="rId33" Type="http://schemas.openxmlformats.org/officeDocument/2006/relationships/slideLayout" Target="../slideLayouts/slideLayout351.xml"/><Relationship Id="rId2" Type="http://schemas.openxmlformats.org/officeDocument/2006/relationships/slideLayout" Target="../slideLayouts/slideLayout320.xml"/><Relationship Id="rId16" Type="http://schemas.openxmlformats.org/officeDocument/2006/relationships/slideLayout" Target="../slideLayouts/slideLayout334.xml"/><Relationship Id="rId20" Type="http://schemas.openxmlformats.org/officeDocument/2006/relationships/slideLayout" Target="../slideLayouts/slideLayout338.xml"/><Relationship Id="rId29" Type="http://schemas.openxmlformats.org/officeDocument/2006/relationships/slideLayout" Target="../slideLayouts/slideLayout347.xml"/><Relationship Id="rId1" Type="http://schemas.openxmlformats.org/officeDocument/2006/relationships/slideLayout" Target="../slideLayouts/slideLayout319.xml"/><Relationship Id="rId6" Type="http://schemas.openxmlformats.org/officeDocument/2006/relationships/slideLayout" Target="../slideLayouts/slideLayout324.xml"/><Relationship Id="rId11" Type="http://schemas.openxmlformats.org/officeDocument/2006/relationships/slideLayout" Target="../slideLayouts/slideLayout329.xml"/><Relationship Id="rId24" Type="http://schemas.openxmlformats.org/officeDocument/2006/relationships/slideLayout" Target="../slideLayouts/slideLayout342.xml"/><Relationship Id="rId32" Type="http://schemas.openxmlformats.org/officeDocument/2006/relationships/slideLayout" Target="../slideLayouts/slideLayout350.xml"/><Relationship Id="rId5" Type="http://schemas.openxmlformats.org/officeDocument/2006/relationships/slideLayout" Target="../slideLayouts/slideLayout323.xml"/><Relationship Id="rId15" Type="http://schemas.openxmlformats.org/officeDocument/2006/relationships/slideLayout" Target="../slideLayouts/slideLayout333.xml"/><Relationship Id="rId23" Type="http://schemas.openxmlformats.org/officeDocument/2006/relationships/slideLayout" Target="../slideLayouts/slideLayout341.xml"/><Relationship Id="rId28" Type="http://schemas.openxmlformats.org/officeDocument/2006/relationships/slideLayout" Target="../slideLayouts/slideLayout346.xml"/><Relationship Id="rId10" Type="http://schemas.openxmlformats.org/officeDocument/2006/relationships/slideLayout" Target="../slideLayouts/slideLayout328.xml"/><Relationship Id="rId19" Type="http://schemas.openxmlformats.org/officeDocument/2006/relationships/slideLayout" Target="../slideLayouts/slideLayout337.xml"/><Relationship Id="rId31" Type="http://schemas.openxmlformats.org/officeDocument/2006/relationships/slideLayout" Target="../slideLayouts/slideLayout349.xml"/><Relationship Id="rId4" Type="http://schemas.openxmlformats.org/officeDocument/2006/relationships/slideLayout" Target="../slideLayouts/slideLayout322.xml"/><Relationship Id="rId9" Type="http://schemas.openxmlformats.org/officeDocument/2006/relationships/slideLayout" Target="../slideLayouts/slideLayout327.xml"/><Relationship Id="rId14" Type="http://schemas.openxmlformats.org/officeDocument/2006/relationships/slideLayout" Target="../slideLayouts/slideLayout332.xml"/><Relationship Id="rId22" Type="http://schemas.openxmlformats.org/officeDocument/2006/relationships/slideLayout" Target="../slideLayouts/slideLayout340.xml"/><Relationship Id="rId27" Type="http://schemas.openxmlformats.org/officeDocument/2006/relationships/slideLayout" Target="../slideLayouts/slideLayout345.xml"/><Relationship Id="rId30" Type="http://schemas.openxmlformats.org/officeDocument/2006/relationships/slideLayout" Target="../slideLayouts/slideLayout348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9.xml"/><Relationship Id="rId3" Type="http://schemas.openxmlformats.org/officeDocument/2006/relationships/slideLayout" Target="../slideLayouts/slideLayout354.xml"/><Relationship Id="rId7" Type="http://schemas.openxmlformats.org/officeDocument/2006/relationships/slideLayout" Target="../slideLayouts/slideLayout358.xml"/><Relationship Id="rId2" Type="http://schemas.openxmlformats.org/officeDocument/2006/relationships/slideLayout" Target="../slideLayouts/slideLayout353.xml"/><Relationship Id="rId1" Type="http://schemas.openxmlformats.org/officeDocument/2006/relationships/slideLayout" Target="../slideLayouts/slideLayout352.xml"/><Relationship Id="rId6" Type="http://schemas.openxmlformats.org/officeDocument/2006/relationships/slideLayout" Target="../slideLayouts/slideLayout357.xml"/><Relationship Id="rId11" Type="http://schemas.openxmlformats.org/officeDocument/2006/relationships/theme" Target="../theme/theme19.xml"/><Relationship Id="rId5" Type="http://schemas.openxmlformats.org/officeDocument/2006/relationships/slideLayout" Target="../slideLayouts/slideLayout356.xml"/><Relationship Id="rId10" Type="http://schemas.openxmlformats.org/officeDocument/2006/relationships/slideLayout" Target="../slideLayouts/slideLayout361.xml"/><Relationship Id="rId4" Type="http://schemas.openxmlformats.org/officeDocument/2006/relationships/slideLayout" Target="../slideLayouts/slideLayout355.xml"/><Relationship Id="rId9" Type="http://schemas.openxmlformats.org/officeDocument/2006/relationships/slideLayout" Target="../slideLayouts/slideLayout36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_rels/slideMaster2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74.xml"/><Relationship Id="rId18" Type="http://schemas.openxmlformats.org/officeDocument/2006/relationships/slideLayout" Target="../slideLayouts/slideLayout379.xml"/><Relationship Id="rId26" Type="http://schemas.openxmlformats.org/officeDocument/2006/relationships/slideLayout" Target="../slideLayouts/slideLayout387.xml"/><Relationship Id="rId39" Type="http://schemas.openxmlformats.org/officeDocument/2006/relationships/slideLayout" Target="../slideLayouts/slideLayout400.xml"/><Relationship Id="rId3" Type="http://schemas.openxmlformats.org/officeDocument/2006/relationships/slideLayout" Target="../slideLayouts/slideLayout364.xml"/><Relationship Id="rId21" Type="http://schemas.openxmlformats.org/officeDocument/2006/relationships/slideLayout" Target="../slideLayouts/slideLayout382.xml"/><Relationship Id="rId34" Type="http://schemas.openxmlformats.org/officeDocument/2006/relationships/slideLayout" Target="../slideLayouts/slideLayout395.xml"/><Relationship Id="rId42" Type="http://schemas.openxmlformats.org/officeDocument/2006/relationships/slideLayout" Target="../slideLayouts/slideLayout403.xml"/><Relationship Id="rId47" Type="http://schemas.openxmlformats.org/officeDocument/2006/relationships/slideLayout" Target="../slideLayouts/slideLayout408.xml"/><Relationship Id="rId50" Type="http://schemas.openxmlformats.org/officeDocument/2006/relationships/slideLayout" Target="../slideLayouts/slideLayout411.xml"/><Relationship Id="rId7" Type="http://schemas.openxmlformats.org/officeDocument/2006/relationships/slideLayout" Target="../slideLayouts/slideLayout368.xml"/><Relationship Id="rId12" Type="http://schemas.openxmlformats.org/officeDocument/2006/relationships/slideLayout" Target="../slideLayouts/slideLayout373.xml"/><Relationship Id="rId17" Type="http://schemas.openxmlformats.org/officeDocument/2006/relationships/slideLayout" Target="../slideLayouts/slideLayout378.xml"/><Relationship Id="rId25" Type="http://schemas.openxmlformats.org/officeDocument/2006/relationships/slideLayout" Target="../slideLayouts/slideLayout386.xml"/><Relationship Id="rId33" Type="http://schemas.openxmlformats.org/officeDocument/2006/relationships/slideLayout" Target="../slideLayouts/slideLayout394.xml"/><Relationship Id="rId38" Type="http://schemas.openxmlformats.org/officeDocument/2006/relationships/slideLayout" Target="../slideLayouts/slideLayout399.xml"/><Relationship Id="rId46" Type="http://schemas.openxmlformats.org/officeDocument/2006/relationships/slideLayout" Target="../slideLayouts/slideLayout407.xml"/><Relationship Id="rId2" Type="http://schemas.openxmlformats.org/officeDocument/2006/relationships/slideLayout" Target="../slideLayouts/slideLayout363.xml"/><Relationship Id="rId16" Type="http://schemas.openxmlformats.org/officeDocument/2006/relationships/slideLayout" Target="../slideLayouts/slideLayout377.xml"/><Relationship Id="rId20" Type="http://schemas.openxmlformats.org/officeDocument/2006/relationships/slideLayout" Target="../slideLayouts/slideLayout381.xml"/><Relationship Id="rId29" Type="http://schemas.openxmlformats.org/officeDocument/2006/relationships/slideLayout" Target="../slideLayouts/slideLayout390.xml"/><Relationship Id="rId41" Type="http://schemas.openxmlformats.org/officeDocument/2006/relationships/slideLayout" Target="../slideLayouts/slideLayout402.xml"/><Relationship Id="rId1" Type="http://schemas.openxmlformats.org/officeDocument/2006/relationships/slideLayout" Target="../slideLayouts/slideLayout362.xml"/><Relationship Id="rId6" Type="http://schemas.openxmlformats.org/officeDocument/2006/relationships/slideLayout" Target="../slideLayouts/slideLayout367.xml"/><Relationship Id="rId11" Type="http://schemas.openxmlformats.org/officeDocument/2006/relationships/slideLayout" Target="../slideLayouts/slideLayout372.xml"/><Relationship Id="rId24" Type="http://schemas.openxmlformats.org/officeDocument/2006/relationships/slideLayout" Target="../slideLayouts/slideLayout385.xml"/><Relationship Id="rId32" Type="http://schemas.openxmlformats.org/officeDocument/2006/relationships/slideLayout" Target="../slideLayouts/slideLayout393.xml"/><Relationship Id="rId37" Type="http://schemas.openxmlformats.org/officeDocument/2006/relationships/slideLayout" Target="../slideLayouts/slideLayout398.xml"/><Relationship Id="rId40" Type="http://schemas.openxmlformats.org/officeDocument/2006/relationships/slideLayout" Target="../slideLayouts/slideLayout401.xml"/><Relationship Id="rId45" Type="http://schemas.openxmlformats.org/officeDocument/2006/relationships/slideLayout" Target="../slideLayouts/slideLayout406.xml"/><Relationship Id="rId5" Type="http://schemas.openxmlformats.org/officeDocument/2006/relationships/slideLayout" Target="../slideLayouts/slideLayout366.xml"/><Relationship Id="rId15" Type="http://schemas.openxmlformats.org/officeDocument/2006/relationships/slideLayout" Target="../slideLayouts/slideLayout376.xml"/><Relationship Id="rId23" Type="http://schemas.openxmlformats.org/officeDocument/2006/relationships/slideLayout" Target="../slideLayouts/slideLayout384.xml"/><Relationship Id="rId28" Type="http://schemas.openxmlformats.org/officeDocument/2006/relationships/slideLayout" Target="../slideLayouts/slideLayout389.xml"/><Relationship Id="rId36" Type="http://schemas.openxmlformats.org/officeDocument/2006/relationships/slideLayout" Target="../slideLayouts/slideLayout397.xml"/><Relationship Id="rId49" Type="http://schemas.openxmlformats.org/officeDocument/2006/relationships/slideLayout" Target="../slideLayouts/slideLayout410.xml"/><Relationship Id="rId10" Type="http://schemas.openxmlformats.org/officeDocument/2006/relationships/slideLayout" Target="../slideLayouts/slideLayout371.xml"/><Relationship Id="rId19" Type="http://schemas.openxmlformats.org/officeDocument/2006/relationships/slideLayout" Target="../slideLayouts/slideLayout380.xml"/><Relationship Id="rId31" Type="http://schemas.openxmlformats.org/officeDocument/2006/relationships/slideLayout" Target="../slideLayouts/slideLayout392.xml"/><Relationship Id="rId44" Type="http://schemas.openxmlformats.org/officeDocument/2006/relationships/slideLayout" Target="../slideLayouts/slideLayout405.xml"/><Relationship Id="rId52" Type="http://schemas.openxmlformats.org/officeDocument/2006/relationships/image" Target="../media/image62.emf"/><Relationship Id="rId4" Type="http://schemas.openxmlformats.org/officeDocument/2006/relationships/slideLayout" Target="../slideLayouts/slideLayout365.xml"/><Relationship Id="rId9" Type="http://schemas.openxmlformats.org/officeDocument/2006/relationships/slideLayout" Target="../slideLayouts/slideLayout370.xml"/><Relationship Id="rId14" Type="http://schemas.openxmlformats.org/officeDocument/2006/relationships/slideLayout" Target="../slideLayouts/slideLayout375.xml"/><Relationship Id="rId22" Type="http://schemas.openxmlformats.org/officeDocument/2006/relationships/slideLayout" Target="../slideLayouts/slideLayout383.xml"/><Relationship Id="rId27" Type="http://schemas.openxmlformats.org/officeDocument/2006/relationships/slideLayout" Target="../slideLayouts/slideLayout388.xml"/><Relationship Id="rId30" Type="http://schemas.openxmlformats.org/officeDocument/2006/relationships/slideLayout" Target="../slideLayouts/slideLayout391.xml"/><Relationship Id="rId35" Type="http://schemas.openxmlformats.org/officeDocument/2006/relationships/slideLayout" Target="../slideLayouts/slideLayout396.xml"/><Relationship Id="rId43" Type="http://schemas.openxmlformats.org/officeDocument/2006/relationships/slideLayout" Target="../slideLayouts/slideLayout404.xml"/><Relationship Id="rId48" Type="http://schemas.openxmlformats.org/officeDocument/2006/relationships/slideLayout" Target="../slideLayouts/slideLayout409.xml"/><Relationship Id="rId8" Type="http://schemas.openxmlformats.org/officeDocument/2006/relationships/slideLayout" Target="../slideLayouts/slideLayout369.xml"/><Relationship Id="rId51" Type="http://schemas.openxmlformats.org/officeDocument/2006/relationships/theme" Target="../theme/theme20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9.xml"/><Relationship Id="rId13" Type="http://schemas.openxmlformats.org/officeDocument/2006/relationships/slideLayout" Target="../slideLayouts/slideLayout424.xml"/><Relationship Id="rId18" Type="http://schemas.openxmlformats.org/officeDocument/2006/relationships/slideLayout" Target="../slideLayouts/slideLayout429.xml"/><Relationship Id="rId26" Type="http://schemas.openxmlformats.org/officeDocument/2006/relationships/slideLayout" Target="../slideLayouts/slideLayout437.xml"/><Relationship Id="rId3" Type="http://schemas.openxmlformats.org/officeDocument/2006/relationships/slideLayout" Target="../slideLayouts/slideLayout414.xml"/><Relationship Id="rId21" Type="http://schemas.openxmlformats.org/officeDocument/2006/relationships/slideLayout" Target="../slideLayouts/slideLayout432.xml"/><Relationship Id="rId34" Type="http://schemas.openxmlformats.org/officeDocument/2006/relationships/slideLayout" Target="../slideLayouts/slideLayout445.xml"/><Relationship Id="rId7" Type="http://schemas.openxmlformats.org/officeDocument/2006/relationships/slideLayout" Target="../slideLayouts/slideLayout418.xml"/><Relationship Id="rId12" Type="http://schemas.openxmlformats.org/officeDocument/2006/relationships/slideLayout" Target="../slideLayouts/slideLayout423.xml"/><Relationship Id="rId17" Type="http://schemas.openxmlformats.org/officeDocument/2006/relationships/slideLayout" Target="../slideLayouts/slideLayout428.xml"/><Relationship Id="rId25" Type="http://schemas.openxmlformats.org/officeDocument/2006/relationships/slideLayout" Target="../slideLayouts/slideLayout436.xml"/><Relationship Id="rId33" Type="http://schemas.openxmlformats.org/officeDocument/2006/relationships/slideLayout" Target="../slideLayouts/slideLayout444.xml"/><Relationship Id="rId2" Type="http://schemas.openxmlformats.org/officeDocument/2006/relationships/slideLayout" Target="../slideLayouts/slideLayout413.xml"/><Relationship Id="rId16" Type="http://schemas.openxmlformats.org/officeDocument/2006/relationships/slideLayout" Target="../slideLayouts/slideLayout427.xml"/><Relationship Id="rId20" Type="http://schemas.openxmlformats.org/officeDocument/2006/relationships/slideLayout" Target="../slideLayouts/slideLayout431.xml"/><Relationship Id="rId29" Type="http://schemas.openxmlformats.org/officeDocument/2006/relationships/slideLayout" Target="../slideLayouts/slideLayout440.xml"/><Relationship Id="rId1" Type="http://schemas.openxmlformats.org/officeDocument/2006/relationships/slideLayout" Target="../slideLayouts/slideLayout412.xml"/><Relationship Id="rId6" Type="http://schemas.openxmlformats.org/officeDocument/2006/relationships/slideLayout" Target="../slideLayouts/slideLayout417.xml"/><Relationship Id="rId11" Type="http://schemas.openxmlformats.org/officeDocument/2006/relationships/slideLayout" Target="../slideLayouts/slideLayout422.xml"/><Relationship Id="rId24" Type="http://schemas.openxmlformats.org/officeDocument/2006/relationships/slideLayout" Target="../slideLayouts/slideLayout435.xml"/><Relationship Id="rId32" Type="http://schemas.openxmlformats.org/officeDocument/2006/relationships/slideLayout" Target="../slideLayouts/slideLayout443.xml"/><Relationship Id="rId5" Type="http://schemas.openxmlformats.org/officeDocument/2006/relationships/slideLayout" Target="../slideLayouts/slideLayout416.xml"/><Relationship Id="rId15" Type="http://schemas.openxmlformats.org/officeDocument/2006/relationships/slideLayout" Target="../slideLayouts/slideLayout426.xml"/><Relationship Id="rId23" Type="http://schemas.openxmlformats.org/officeDocument/2006/relationships/slideLayout" Target="../slideLayouts/slideLayout434.xml"/><Relationship Id="rId28" Type="http://schemas.openxmlformats.org/officeDocument/2006/relationships/slideLayout" Target="../slideLayouts/slideLayout439.xml"/><Relationship Id="rId36" Type="http://schemas.openxmlformats.org/officeDocument/2006/relationships/image" Target="../media/image41.png"/><Relationship Id="rId10" Type="http://schemas.openxmlformats.org/officeDocument/2006/relationships/slideLayout" Target="../slideLayouts/slideLayout421.xml"/><Relationship Id="rId19" Type="http://schemas.openxmlformats.org/officeDocument/2006/relationships/slideLayout" Target="../slideLayouts/slideLayout430.xml"/><Relationship Id="rId31" Type="http://schemas.openxmlformats.org/officeDocument/2006/relationships/slideLayout" Target="../slideLayouts/slideLayout442.xml"/><Relationship Id="rId4" Type="http://schemas.openxmlformats.org/officeDocument/2006/relationships/slideLayout" Target="../slideLayouts/slideLayout415.xml"/><Relationship Id="rId9" Type="http://schemas.openxmlformats.org/officeDocument/2006/relationships/slideLayout" Target="../slideLayouts/slideLayout420.xml"/><Relationship Id="rId14" Type="http://schemas.openxmlformats.org/officeDocument/2006/relationships/slideLayout" Target="../slideLayouts/slideLayout425.xml"/><Relationship Id="rId22" Type="http://schemas.openxmlformats.org/officeDocument/2006/relationships/slideLayout" Target="../slideLayouts/slideLayout433.xml"/><Relationship Id="rId27" Type="http://schemas.openxmlformats.org/officeDocument/2006/relationships/slideLayout" Target="../slideLayouts/slideLayout438.xml"/><Relationship Id="rId30" Type="http://schemas.openxmlformats.org/officeDocument/2006/relationships/slideLayout" Target="../slideLayouts/slideLayout441.xml"/><Relationship Id="rId35" Type="http://schemas.openxmlformats.org/officeDocument/2006/relationships/theme" Target="../theme/theme21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3.xml"/><Relationship Id="rId3" Type="http://schemas.openxmlformats.org/officeDocument/2006/relationships/slideLayout" Target="../slideLayouts/slideLayout448.xml"/><Relationship Id="rId7" Type="http://schemas.openxmlformats.org/officeDocument/2006/relationships/slideLayout" Target="../slideLayouts/slideLayout452.xml"/><Relationship Id="rId12" Type="http://schemas.openxmlformats.org/officeDocument/2006/relationships/theme" Target="../theme/theme22.xml"/><Relationship Id="rId2" Type="http://schemas.openxmlformats.org/officeDocument/2006/relationships/slideLayout" Target="../slideLayouts/slideLayout447.xml"/><Relationship Id="rId1" Type="http://schemas.openxmlformats.org/officeDocument/2006/relationships/slideLayout" Target="../slideLayouts/slideLayout446.xml"/><Relationship Id="rId6" Type="http://schemas.openxmlformats.org/officeDocument/2006/relationships/slideLayout" Target="../slideLayouts/slideLayout451.xml"/><Relationship Id="rId11" Type="http://schemas.openxmlformats.org/officeDocument/2006/relationships/slideLayout" Target="../slideLayouts/slideLayout456.xml"/><Relationship Id="rId5" Type="http://schemas.openxmlformats.org/officeDocument/2006/relationships/slideLayout" Target="../slideLayouts/slideLayout450.xml"/><Relationship Id="rId10" Type="http://schemas.openxmlformats.org/officeDocument/2006/relationships/slideLayout" Target="../slideLayouts/slideLayout455.xml"/><Relationship Id="rId4" Type="http://schemas.openxmlformats.org/officeDocument/2006/relationships/slideLayout" Target="../slideLayouts/slideLayout449.xml"/><Relationship Id="rId9" Type="http://schemas.openxmlformats.org/officeDocument/2006/relationships/slideLayout" Target="../slideLayouts/slideLayout454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4.xml"/><Relationship Id="rId13" Type="http://schemas.openxmlformats.org/officeDocument/2006/relationships/slideLayout" Target="../slideLayouts/slideLayout469.xml"/><Relationship Id="rId18" Type="http://schemas.openxmlformats.org/officeDocument/2006/relationships/slideLayout" Target="../slideLayouts/slideLayout474.xml"/><Relationship Id="rId26" Type="http://schemas.openxmlformats.org/officeDocument/2006/relationships/slideLayout" Target="../slideLayouts/slideLayout482.xml"/><Relationship Id="rId39" Type="http://schemas.openxmlformats.org/officeDocument/2006/relationships/image" Target="../media/image41.png"/><Relationship Id="rId3" Type="http://schemas.openxmlformats.org/officeDocument/2006/relationships/slideLayout" Target="../slideLayouts/slideLayout459.xml"/><Relationship Id="rId21" Type="http://schemas.openxmlformats.org/officeDocument/2006/relationships/slideLayout" Target="../slideLayouts/slideLayout477.xml"/><Relationship Id="rId34" Type="http://schemas.openxmlformats.org/officeDocument/2006/relationships/slideLayout" Target="../slideLayouts/slideLayout490.xml"/><Relationship Id="rId7" Type="http://schemas.openxmlformats.org/officeDocument/2006/relationships/slideLayout" Target="../slideLayouts/slideLayout463.xml"/><Relationship Id="rId12" Type="http://schemas.openxmlformats.org/officeDocument/2006/relationships/slideLayout" Target="../slideLayouts/slideLayout468.xml"/><Relationship Id="rId17" Type="http://schemas.openxmlformats.org/officeDocument/2006/relationships/slideLayout" Target="../slideLayouts/slideLayout473.xml"/><Relationship Id="rId25" Type="http://schemas.openxmlformats.org/officeDocument/2006/relationships/slideLayout" Target="../slideLayouts/slideLayout481.xml"/><Relationship Id="rId33" Type="http://schemas.openxmlformats.org/officeDocument/2006/relationships/slideLayout" Target="../slideLayouts/slideLayout489.xml"/><Relationship Id="rId38" Type="http://schemas.openxmlformats.org/officeDocument/2006/relationships/theme" Target="../theme/theme23.xml"/><Relationship Id="rId2" Type="http://schemas.openxmlformats.org/officeDocument/2006/relationships/slideLayout" Target="../slideLayouts/slideLayout458.xml"/><Relationship Id="rId16" Type="http://schemas.openxmlformats.org/officeDocument/2006/relationships/slideLayout" Target="../slideLayouts/slideLayout472.xml"/><Relationship Id="rId20" Type="http://schemas.openxmlformats.org/officeDocument/2006/relationships/slideLayout" Target="../slideLayouts/slideLayout476.xml"/><Relationship Id="rId29" Type="http://schemas.openxmlformats.org/officeDocument/2006/relationships/slideLayout" Target="../slideLayouts/slideLayout485.xml"/><Relationship Id="rId1" Type="http://schemas.openxmlformats.org/officeDocument/2006/relationships/slideLayout" Target="../slideLayouts/slideLayout457.xml"/><Relationship Id="rId6" Type="http://schemas.openxmlformats.org/officeDocument/2006/relationships/slideLayout" Target="../slideLayouts/slideLayout462.xml"/><Relationship Id="rId11" Type="http://schemas.openxmlformats.org/officeDocument/2006/relationships/slideLayout" Target="../slideLayouts/slideLayout467.xml"/><Relationship Id="rId24" Type="http://schemas.openxmlformats.org/officeDocument/2006/relationships/slideLayout" Target="../slideLayouts/slideLayout480.xml"/><Relationship Id="rId32" Type="http://schemas.openxmlformats.org/officeDocument/2006/relationships/slideLayout" Target="../slideLayouts/slideLayout488.xml"/><Relationship Id="rId37" Type="http://schemas.openxmlformats.org/officeDocument/2006/relationships/slideLayout" Target="../slideLayouts/slideLayout493.xml"/><Relationship Id="rId5" Type="http://schemas.openxmlformats.org/officeDocument/2006/relationships/slideLayout" Target="../slideLayouts/slideLayout461.xml"/><Relationship Id="rId15" Type="http://schemas.openxmlformats.org/officeDocument/2006/relationships/slideLayout" Target="../slideLayouts/slideLayout471.xml"/><Relationship Id="rId23" Type="http://schemas.openxmlformats.org/officeDocument/2006/relationships/slideLayout" Target="../slideLayouts/slideLayout479.xml"/><Relationship Id="rId28" Type="http://schemas.openxmlformats.org/officeDocument/2006/relationships/slideLayout" Target="../slideLayouts/slideLayout484.xml"/><Relationship Id="rId36" Type="http://schemas.openxmlformats.org/officeDocument/2006/relationships/slideLayout" Target="../slideLayouts/slideLayout492.xml"/><Relationship Id="rId10" Type="http://schemas.openxmlformats.org/officeDocument/2006/relationships/slideLayout" Target="../slideLayouts/slideLayout466.xml"/><Relationship Id="rId19" Type="http://schemas.openxmlformats.org/officeDocument/2006/relationships/slideLayout" Target="../slideLayouts/slideLayout475.xml"/><Relationship Id="rId31" Type="http://schemas.openxmlformats.org/officeDocument/2006/relationships/slideLayout" Target="../slideLayouts/slideLayout487.xml"/><Relationship Id="rId4" Type="http://schemas.openxmlformats.org/officeDocument/2006/relationships/slideLayout" Target="../slideLayouts/slideLayout460.xml"/><Relationship Id="rId9" Type="http://schemas.openxmlformats.org/officeDocument/2006/relationships/slideLayout" Target="../slideLayouts/slideLayout465.xml"/><Relationship Id="rId14" Type="http://schemas.openxmlformats.org/officeDocument/2006/relationships/slideLayout" Target="../slideLayouts/slideLayout470.xml"/><Relationship Id="rId22" Type="http://schemas.openxmlformats.org/officeDocument/2006/relationships/slideLayout" Target="../slideLayouts/slideLayout478.xml"/><Relationship Id="rId27" Type="http://schemas.openxmlformats.org/officeDocument/2006/relationships/slideLayout" Target="../slideLayouts/slideLayout483.xml"/><Relationship Id="rId30" Type="http://schemas.openxmlformats.org/officeDocument/2006/relationships/slideLayout" Target="../slideLayouts/slideLayout486.xml"/><Relationship Id="rId35" Type="http://schemas.openxmlformats.org/officeDocument/2006/relationships/slideLayout" Target="../slideLayouts/slideLayout491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1.xml"/><Relationship Id="rId13" Type="http://schemas.openxmlformats.org/officeDocument/2006/relationships/slideLayout" Target="../slideLayouts/slideLayout506.xml"/><Relationship Id="rId18" Type="http://schemas.openxmlformats.org/officeDocument/2006/relationships/slideLayout" Target="../slideLayouts/slideLayout511.xml"/><Relationship Id="rId26" Type="http://schemas.openxmlformats.org/officeDocument/2006/relationships/slideLayout" Target="../slideLayouts/slideLayout519.xml"/><Relationship Id="rId3" Type="http://schemas.openxmlformats.org/officeDocument/2006/relationships/slideLayout" Target="../slideLayouts/slideLayout496.xml"/><Relationship Id="rId21" Type="http://schemas.openxmlformats.org/officeDocument/2006/relationships/slideLayout" Target="../slideLayouts/slideLayout514.xml"/><Relationship Id="rId34" Type="http://schemas.openxmlformats.org/officeDocument/2006/relationships/theme" Target="../theme/theme24.xml"/><Relationship Id="rId7" Type="http://schemas.openxmlformats.org/officeDocument/2006/relationships/slideLayout" Target="../slideLayouts/slideLayout500.xml"/><Relationship Id="rId12" Type="http://schemas.openxmlformats.org/officeDocument/2006/relationships/slideLayout" Target="../slideLayouts/slideLayout505.xml"/><Relationship Id="rId17" Type="http://schemas.openxmlformats.org/officeDocument/2006/relationships/slideLayout" Target="../slideLayouts/slideLayout510.xml"/><Relationship Id="rId25" Type="http://schemas.openxmlformats.org/officeDocument/2006/relationships/slideLayout" Target="../slideLayouts/slideLayout518.xml"/><Relationship Id="rId33" Type="http://schemas.openxmlformats.org/officeDocument/2006/relationships/slideLayout" Target="../slideLayouts/slideLayout526.xml"/><Relationship Id="rId2" Type="http://schemas.openxmlformats.org/officeDocument/2006/relationships/slideLayout" Target="../slideLayouts/slideLayout495.xml"/><Relationship Id="rId16" Type="http://schemas.openxmlformats.org/officeDocument/2006/relationships/slideLayout" Target="../slideLayouts/slideLayout509.xml"/><Relationship Id="rId20" Type="http://schemas.openxmlformats.org/officeDocument/2006/relationships/slideLayout" Target="../slideLayouts/slideLayout513.xml"/><Relationship Id="rId29" Type="http://schemas.openxmlformats.org/officeDocument/2006/relationships/slideLayout" Target="../slideLayouts/slideLayout522.xml"/><Relationship Id="rId1" Type="http://schemas.openxmlformats.org/officeDocument/2006/relationships/slideLayout" Target="../slideLayouts/slideLayout494.xml"/><Relationship Id="rId6" Type="http://schemas.openxmlformats.org/officeDocument/2006/relationships/slideLayout" Target="../slideLayouts/slideLayout499.xml"/><Relationship Id="rId11" Type="http://schemas.openxmlformats.org/officeDocument/2006/relationships/slideLayout" Target="../slideLayouts/slideLayout504.xml"/><Relationship Id="rId24" Type="http://schemas.openxmlformats.org/officeDocument/2006/relationships/slideLayout" Target="../slideLayouts/slideLayout517.xml"/><Relationship Id="rId32" Type="http://schemas.openxmlformats.org/officeDocument/2006/relationships/slideLayout" Target="../slideLayouts/slideLayout525.xml"/><Relationship Id="rId5" Type="http://schemas.openxmlformats.org/officeDocument/2006/relationships/slideLayout" Target="../slideLayouts/slideLayout498.xml"/><Relationship Id="rId15" Type="http://schemas.openxmlformats.org/officeDocument/2006/relationships/slideLayout" Target="../slideLayouts/slideLayout508.xml"/><Relationship Id="rId23" Type="http://schemas.openxmlformats.org/officeDocument/2006/relationships/slideLayout" Target="../slideLayouts/slideLayout516.xml"/><Relationship Id="rId28" Type="http://schemas.openxmlformats.org/officeDocument/2006/relationships/slideLayout" Target="../slideLayouts/slideLayout521.xml"/><Relationship Id="rId10" Type="http://schemas.openxmlformats.org/officeDocument/2006/relationships/slideLayout" Target="../slideLayouts/slideLayout503.xml"/><Relationship Id="rId19" Type="http://schemas.openxmlformats.org/officeDocument/2006/relationships/slideLayout" Target="../slideLayouts/slideLayout512.xml"/><Relationship Id="rId31" Type="http://schemas.openxmlformats.org/officeDocument/2006/relationships/slideLayout" Target="../slideLayouts/slideLayout524.xml"/><Relationship Id="rId4" Type="http://schemas.openxmlformats.org/officeDocument/2006/relationships/slideLayout" Target="../slideLayouts/slideLayout497.xml"/><Relationship Id="rId9" Type="http://schemas.openxmlformats.org/officeDocument/2006/relationships/slideLayout" Target="../slideLayouts/slideLayout502.xml"/><Relationship Id="rId14" Type="http://schemas.openxmlformats.org/officeDocument/2006/relationships/slideLayout" Target="../slideLayouts/slideLayout507.xml"/><Relationship Id="rId22" Type="http://schemas.openxmlformats.org/officeDocument/2006/relationships/slideLayout" Target="../slideLayouts/slideLayout515.xml"/><Relationship Id="rId27" Type="http://schemas.openxmlformats.org/officeDocument/2006/relationships/slideLayout" Target="../slideLayouts/slideLayout520.xml"/><Relationship Id="rId30" Type="http://schemas.openxmlformats.org/officeDocument/2006/relationships/slideLayout" Target="../slideLayouts/slideLayout523.x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4.xml"/><Relationship Id="rId13" Type="http://schemas.openxmlformats.org/officeDocument/2006/relationships/slideLayout" Target="../slideLayouts/slideLayout539.xml"/><Relationship Id="rId3" Type="http://schemas.openxmlformats.org/officeDocument/2006/relationships/slideLayout" Target="../slideLayouts/slideLayout529.xml"/><Relationship Id="rId7" Type="http://schemas.openxmlformats.org/officeDocument/2006/relationships/slideLayout" Target="../slideLayouts/slideLayout533.xml"/><Relationship Id="rId12" Type="http://schemas.openxmlformats.org/officeDocument/2006/relationships/slideLayout" Target="../slideLayouts/slideLayout538.xml"/><Relationship Id="rId2" Type="http://schemas.openxmlformats.org/officeDocument/2006/relationships/slideLayout" Target="../slideLayouts/slideLayout528.xml"/><Relationship Id="rId1" Type="http://schemas.openxmlformats.org/officeDocument/2006/relationships/slideLayout" Target="../slideLayouts/slideLayout527.xml"/><Relationship Id="rId6" Type="http://schemas.openxmlformats.org/officeDocument/2006/relationships/slideLayout" Target="../slideLayouts/slideLayout532.xml"/><Relationship Id="rId11" Type="http://schemas.openxmlformats.org/officeDocument/2006/relationships/slideLayout" Target="../slideLayouts/slideLayout537.xml"/><Relationship Id="rId5" Type="http://schemas.openxmlformats.org/officeDocument/2006/relationships/slideLayout" Target="../slideLayouts/slideLayout531.xml"/><Relationship Id="rId10" Type="http://schemas.openxmlformats.org/officeDocument/2006/relationships/slideLayout" Target="../slideLayouts/slideLayout536.xml"/><Relationship Id="rId4" Type="http://schemas.openxmlformats.org/officeDocument/2006/relationships/slideLayout" Target="../slideLayouts/slideLayout530.xml"/><Relationship Id="rId9" Type="http://schemas.openxmlformats.org/officeDocument/2006/relationships/slideLayout" Target="../slideLayouts/slideLayout535.xml"/><Relationship Id="rId14" Type="http://schemas.openxmlformats.org/officeDocument/2006/relationships/theme" Target="../theme/theme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26" Type="http://schemas.openxmlformats.org/officeDocument/2006/relationships/slideLayout" Target="../slideLayouts/slideLayout51.xml"/><Relationship Id="rId39" Type="http://schemas.openxmlformats.org/officeDocument/2006/relationships/slideLayout" Target="../slideLayouts/slideLayout64.xml"/><Relationship Id="rId3" Type="http://schemas.openxmlformats.org/officeDocument/2006/relationships/slideLayout" Target="../slideLayouts/slideLayout28.xml"/><Relationship Id="rId21" Type="http://schemas.openxmlformats.org/officeDocument/2006/relationships/slideLayout" Target="../slideLayouts/slideLayout46.xml"/><Relationship Id="rId34" Type="http://schemas.openxmlformats.org/officeDocument/2006/relationships/slideLayout" Target="../slideLayouts/slideLayout59.xml"/><Relationship Id="rId42" Type="http://schemas.openxmlformats.org/officeDocument/2006/relationships/slideLayout" Target="../slideLayouts/slideLayout67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5" Type="http://schemas.openxmlformats.org/officeDocument/2006/relationships/slideLayout" Target="../slideLayouts/slideLayout50.xml"/><Relationship Id="rId33" Type="http://schemas.openxmlformats.org/officeDocument/2006/relationships/slideLayout" Target="../slideLayouts/slideLayout58.xml"/><Relationship Id="rId38" Type="http://schemas.openxmlformats.org/officeDocument/2006/relationships/slideLayout" Target="../slideLayouts/slideLayout63.xml"/><Relationship Id="rId46" Type="http://schemas.openxmlformats.org/officeDocument/2006/relationships/image" Target="../media/image5.png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slideLayout" Target="../slideLayouts/slideLayout45.xml"/><Relationship Id="rId29" Type="http://schemas.openxmlformats.org/officeDocument/2006/relationships/slideLayout" Target="../slideLayouts/slideLayout54.xml"/><Relationship Id="rId41" Type="http://schemas.openxmlformats.org/officeDocument/2006/relationships/slideLayout" Target="../slideLayouts/slideLayout66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24" Type="http://schemas.openxmlformats.org/officeDocument/2006/relationships/slideLayout" Target="../slideLayouts/slideLayout49.xml"/><Relationship Id="rId32" Type="http://schemas.openxmlformats.org/officeDocument/2006/relationships/slideLayout" Target="../slideLayouts/slideLayout57.xml"/><Relationship Id="rId37" Type="http://schemas.openxmlformats.org/officeDocument/2006/relationships/slideLayout" Target="../slideLayouts/slideLayout62.xml"/><Relationship Id="rId40" Type="http://schemas.openxmlformats.org/officeDocument/2006/relationships/slideLayout" Target="../slideLayouts/slideLayout65.xml"/><Relationship Id="rId45" Type="http://schemas.openxmlformats.org/officeDocument/2006/relationships/theme" Target="../theme/theme3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23" Type="http://schemas.openxmlformats.org/officeDocument/2006/relationships/slideLayout" Target="../slideLayouts/slideLayout48.xml"/><Relationship Id="rId28" Type="http://schemas.openxmlformats.org/officeDocument/2006/relationships/slideLayout" Target="../slideLayouts/slideLayout53.xml"/><Relationship Id="rId36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35.xml"/><Relationship Id="rId19" Type="http://schemas.openxmlformats.org/officeDocument/2006/relationships/slideLayout" Target="../slideLayouts/slideLayout44.xml"/><Relationship Id="rId31" Type="http://schemas.openxmlformats.org/officeDocument/2006/relationships/slideLayout" Target="../slideLayouts/slideLayout56.xml"/><Relationship Id="rId44" Type="http://schemas.openxmlformats.org/officeDocument/2006/relationships/slideLayout" Target="../slideLayouts/slideLayout69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slideLayout" Target="../slideLayouts/slideLayout47.xml"/><Relationship Id="rId27" Type="http://schemas.openxmlformats.org/officeDocument/2006/relationships/slideLayout" Target="../slideLayouts/slideLayout52.xml"/><Relationship Id="rId30" Type="http://schemas.openxmlformats.org/officeDocument/2006/relationships/slideLayout" Target="../slideLayouts/slideLayout55.xml"/><Relationship Id="rId35" Type="http://schemas.openxmlformats.org/officeDocument/2006/relationships/slideLayout" Target="../slideLayouts/slideLayout60.xml"/><Relationship Id="rId43" Type="http://schemas.openxmlformats.org/officeDocument/2006/relationships/slideLayout" Target="../slideLayouts/slideLayout6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5" Type="http://schemas.openxmlformats.org/officeDocument/2006/relationships/slideLayout" Target="../slideLayouts/slideLayout85.xml"/><Relationship Id="rId10" Type="http://schemas.openxmlformats.org/officeDocument/2006/relationships/slideLayout" Target="../slideLayouts/slideLayout90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13" Type="http://schemas.openxmlformats.org/officeDocument/2006/relationships/slideLayout" Target="../slideLayouts/slideLayout104.xml"/><Relationship Id="rId18" Type="http://schemas.openxmlformats.org/officeDocument/2006/relationships/slideLayout" Target="../slideLayouts/slideLayout109.xml"/><Relationship Id="rId26" Type="http://schemas.openxmlformats.org/officeDocument/2006/relationships/slideLayout" Target="../slideLayouts/slideLayout117.xml"/><Relationship Id="rId39" Type="http://schemas.openxmlformats.org/officeDocument/2006/relationships/slideLayout" Target="../slideLayouts/slideLayout130.xml"/><Relationship Id="rId3" Type="http://schemas.openxmlformats.org/officeDocument/2006/relationships/slideLayout" Target="../slideLayouts/slideLayout94.xml"/><Relationship Id="rId21" Type="http://schemas.openxmlformats.org/officeDocument/2006/relationships/slideLayout" Target="../slideLayouts/slideLayout112.xml"/><Relationship Id="rId34" Type="http://schemas.openxmlformats.org/officeDocument/2006/relationships/slideLayout" Target="../slideLayouts/slideLayout125.xml"/><Relationship Id="rId42" Type="http://schemas.openxmlformats.org/officeDocument/2006/relationships/slideLayout" Target="../slideLayouts/slideLayout133.xml"/><Relationship Id="rId7" Type="http://schemas.openxmlformats.org/officeDocument/2006/relationships/slideLayout" Target="../slideLayouts/slideLayout98.xml"/><Relationship Id="rId12" Type="http://schemas.openxmlformats.org/officeDocument/2006/relationships/slideLayout" Target="../slideLayouts/slideLayout103.xml"/><Relationship Id="rId17" Type="http://schemas.openxmlformats.org/officeDocument/2006/relationships/slideLayout" Target="../slideLayouts/slideLayout108.xml"/><Relationship Id="rId25" Type="http://schemas.openxmlformats.org/officeDocument/2006/relationships/slideLayout" Target="../slideLayouts/slideLayout116.xml"/><Relationship Id="rId33" Type="http://schemas.openxmlformats.org/officeDocument/2006/relationships/slideLayout" Target="../slideLayouts/slideLayout124.xml"/><Relationship Id="rId38" Type="http://schemas.openxmlformats.org/officeDocument/2006/relationships/slideLayout" Target="../slideLayouts/slideLayout129.xml"/><Relationship Id="rId46" Type="http://schemas.openxmlformats.org/officeDocument/2006/relationships/image" Target="../media/image23.emf"/><Relationship Id="rId2" Type="http://schemas.openxmlformats.org/officeDocument/2006/relationships/slideLayout" Target="../slideLayouts/slideLayout93.xml"/><Relationship Id="rId16" Type="http://schemas.openxmlformats.org/officeDocument/2006/relationships/slideLayout" Target="../slideLayouts/slideLayout107.xml"/><Relationship Id="rId20" Type="http://schemas.openxmlformats.org/officeDocument/2006/relationships/slideLayout" Target="../slideLayouts/slideLayout111.xml"/><Relationship Id="rId29" Type="http://schemas.openxmlformats.org/officeDocument/2006/relationships/slideLayout" Target="../slideLayouts/slideLayout120.xml"/><Relationship Id="rId41" Type="http://schemas.openxmlformats.org/officeDocument/2006/relationships/slideLayout" Target="../slideLayouts/slideLayout132.xml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slideLayout" Target="../slideLayouts/slideLayout102.xml"/><Relationship Id="rId24" Type="http://schemas.openxmlformats.org/officeDocument/2006/relationships/slideLayout" Target="../slideLayouts/slideLayout115.xml"/><Relationship Id="rId32" Type="http://schemas.openxmlformats.org/officeDocument/2006/relationships/slideLayout" Target="../slideLayouts/slideLayout123.xml"/><Relationship Id="rId37" Type="http://schemas.openxmlformats.org/officeDocument/2006/relationships/slideLayout" Target="../slideLayouts/slideLayout128.xml"/><Relationship Id="rId40" Type="http://schemas.openxmlformats.org/officeDocument/2006/relationships/slideLayout" Target="../slideLayouts/slideLayout131.xml"/><Relationship Id="rId45" Type="http://schemas.openxmlformats.org/officeDocument/2006/relationships/theme" Target="../theme/theme6.xml"/><Relationship Id="rId5" Type="http://schemas.openxmlformats.org/officeDocument/2006/relationships/slideLayout" Target="../slideLayouts/slideLayout96.xml"/><Relationship Id="rId15" Type="http://schemas.openxmlformats.org/officeDocument/2006/relationships/slideLayout" Target="../slideLayouts/slideLayout106.xml"/><Relationship Id="rId23" Type="http://schemas.openxmlformats.org/officeDocument/2006/relationships/slideLayout" Target="../slideLayouts/slideLayout114.xml"/><Relationship Id="rId28" Type="http://schemas.openxmlformats.org/officeDocument/2006/relationships/slideLayout" Target="../slideLayouts/slideLayout119.xml"/><Relationship Id="rId36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01.xml"/><Relationship Id="rId19" Type="http://schemas.openxmlformats.org/officeDocument/2006/relationships/slideLayout" Target="../slideLayouts/slideLayout110.xml"/><Relationship Id="rId31" Type="http://schemas.openxmlformats.org/officeDocument/2006/relationships/slideLayout" Target="../slideLayouts/slideLayout122.xml"/><Relationship Id="rId44" Type="http://schemas.openxmlformats.org/officeDocument/2006/relationships/slideLayout" Target="../slideLayouts/slideLayout135.xml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Relationship Id="rId14" Type="http://schemas.openxmlformats.org/officeDocument/2006/relationships/slideLayout" Target="../slideLayouts/slideLayout105.xml"/><Relationship Id="rId22" Type="http://schemas.openxmlformats.org/officeDocument/2006/relationships/slideLayout" Target="../slideLayouts/slideLayout113.xml"/><Relationship Id="rId27" Type="http://schemas.openxmlformats.org/officeDocument/2006/relationships/slideLayout" Target="../slideLayouts/slideLayout118.xml"/><Relationship Id="rId30" Type="http://schemas.openxmlformats.org/officeDocument/2006/relationships/slideLayout" Target="../slideLayouts/slideLayout121.xml"/><Relationship Id="rId35" Type="http://schemas.openxmlformats.org/officeDocument/2006/relationships/slideLayout" Target="../slideLayouts/slideLayout126.xml"/><Relationship Id="rId43" Type="http://schemas.openxmlformats.org/officeDocument/2006/relationships/slideLayout" Target="../slideLayouts/slideLayout13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3.xml"/><Relationship Id="rId13" Type="http://schemas.openxmlformats.org/officeDocument/2006/relationships/slideLayout" Target="../slideLayouts/slideLayout148.xml"/><Relationship Id="rId3" Type="http://schemas.openxmlformats.org/officeDocument/2006/relationships/slideLayout" Target="../slideLayouts/slideLayout138.xml"/><Relationship Id="rId7" Type="http://schemas.openxmlformats.org/officeDocument/2006/relationships/slideLayout" Target="../slideLayouts/slideLayout142.xml"/><Relationship Id="rId12" Type="http://schemas.openxmlformats.org/officeDocument/2006/relationships/slideLayout" Target="../slideLayouts/slideLayout147.xml"/><Relationship Id="rId2" Type="http://schemas.openxmlformats.org/officeDocument/2006/relationships/slideLayout" Target="../slideLayouts/slideLayout137.xml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Relationship Id="rId11" Type="http://schemas.openxmlformats.org/officeDocument/2006/relationships/slideLayout" Target="../slideLayouts/slideLayout146.xml"/><Relationship Id="rId5" Type="http://schemas.openxmlformats.org/officeDocument/2006/relationships/slideLayout" Target="../slideLayouts/slideLayout140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145.xml"/><Relationship Id="rId4" Type="http://schemas.openxmlformats.org/officeDocument/2006/relationships/slideLayout" Target="../slideLayouts/slideLayout139.xml"/><Relationship Id="rId9" Type="http://schemas.openxmlformats.org/officeDocument/2006/relationships/slideLayout" Target="../slideLayouts/slideLayout144.xml"/><Relationship Id="rId14" Type="http://schemas.openxmlformats.org/officeDocument/2006/relationships/slideLayout" Target="../slideLayouts/slideLayout149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7.xml"/><Relationship Id="rId13" Type="http://schemas.openxmlformats.org/officeDocument/2006/relationships/slideLayout" Target="../slideLayouts/slideLayout162.xml"/><Relationship Id="rId18" Type="http://schemas.openxmlformats.org/officeDocument/2006/relationships/slideLayout" Target="../slideLayouts/slideLayout167.xml"/><Relationship Id="rId3" Type="http://schemas.openxmlformats.org/officeDocument/2006/relationships/slideLayout" Target="../slideLayouts/slideLayout152.xml"/><Relationship Id="rId21" Type="http://schemas.openxmlformats.org/officeDocument/2006/relationships/theme" Target="../theme/theme8.xml"/><Relationship Id="rId7" Type="http://schemas.openxmlformats.org/officeDocument/2006/relationships/slideLayout" Target="../slideLayouts/slideLayout156.xml"/><Relationship Id="rId12" Type="http://schemas.openxmlformats.org/officeDocument/2006/relationships/slideLayout" Target="../slideLayouts/slideLayout161.xml"/><Relationship Id="rId17" Type="http://schemas.openxmlformats.org/officeDocument/2006/relationships/slideLayout" Target="../slideLayouts/slideLayout166.xml"/><Relationship Id="rId2" Type="http://schemas.openxmlformats.org/officeDocument/2006/relationships/slideLayout" Target="../slideLayouts/slideLayout151.xml"/><Relationship Id="rId16" Type="http://schemas.openxmlformats.org/officeDocument/2006/relationships/slideLayout" Target="../slideLayouts/slideLayout165.xml"/><Relationship Id="rId20" Type="http://schemas.openxmlformats.org/officeDocument/2006/relationships/slideLayout" Target="../slideLayouts/slideLayout169.xml"/><Relationship Id="rId1" Type="http://schemas.openxmlformats.org/officeDocument/2006/relationships/slideLayout" Target="../slideLayouts/slideLayout150.xml"/><Relationship Id="rId6" Type="http://schemas.openxmlformats.org/officeDocument/2006/relationships/slideLayout" Target="../slideLayouts/slideLayout155.xml"/><Relationship Id="rId11" Type="http://schemas.openxmlformats.org/officeDocument/2006/relationships/slideLayout" Target="../slideLayouts/slideLayout160.xml"/><Relationship Id="rId5" Type="http://schemas.openxmlformats.org/officeDocument/2006/relationships/slideLayout" Target="../slideLayouts/slideLayout154.xml"/><Relationship Id="rId15" Type="http://schemas.openxmlformats.org/officeDocument/2006/relationships/slideLayout" Target="../slideLayouts/slideLayout164.xml"/><Relationship Id="rId10" Type="http://schemas.openxmlformats.org/officeDocument/2006/relationships/slideLayout" Target="../slideLayouts/slideLayout159.xml"/><Relationship Id="rId19" Type="http://schemas.openxmlformats.org/officeDocument/2006/relationships/slideLayout" Target="../slideLayouts/slideLayout168.xml"/><Relationship Id="rId4" Type="http://schemas.openxmlformats.org/officeDocument/2006/relationships/slideLayout" Target="../slideLayouts/slideLayout153.xml"/><Relationship Id="rId9" Type="http://schemas.openxmlformats.org/officeDocument/2006/relationships/slideLayout" Target="../slideLayouts/slideLayout158.xml"/><Relationship Id="rId14" Type="http://schemas.openxmlformats.org/officeDocument/2006/relationships/slideLayout" Target="../slideLayouts/slideLayout163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2.xml"/><Relationship Id="rId2" Type="http://schemas.openxmlformats.org/officeDocument/2006/relationships/slideLayout" Target="../slideLayouts/slideLayout171.xml"/><Relationship Id="rId1" Type="http://schemas.openxmlformats.org/officeDocument/2006/relationships/slideLayout" Target="../slideLayouts/slideLayout170.xml"/><Relationship Id="rId5" Type="http://schemas.openxmlformats.org/officeDocument/2006/relationships/theme" Target="../theme/theme9.xml"/><Relationship Id="rId4" Type="http://schemas.openxmlformats.org/officeDocument/2006/relationships/slideLayout" Target="../slideLayouts/slideLayout17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FFB1598-1B43-4615-8599-084CBAC35D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5008" y="372394"/>
            <a:ext cx="10726460" cy="13519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4CA796-9E87-4A6A-B50F-549B3F7B9FF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55008" y="1861968"/>
            <a:ext cx="10726460" cy="44379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1FF4137-32DB-4FA8-9EB7-CF1126F5FE4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5008" y="6482889"/>
            <a:ext cx="2798207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2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47F7F1-0E89-4D7B-8516-36A4AC75346A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C1DCE8-D78D-47BC-BDB0-B34AD30562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19583" y="6482889"/>
            <a:ext cx="4197310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2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17C9B7-F70D-491B-AAE7-5D4BD84BFA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83260" y="6482889"/>
            <a:ext cx="2798207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2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792400-19F6-4B13-9EA1-2A330825251F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176418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78" r:id="rId1"/>
    <p:sldLayoutId id="2147485079" r:id="rId2"/>
    <p:sldLayoutId id="2147485080" r:id="rId3"/>
    <p:sldLayoutId id="2147485081" r:id="rId4"/>
    <p:sldLayoutId id="2147485082" r:id="rId5"/>
    <p:sldLayoutId id="2147485083" r:id="rId6"/>
    <p:sldLayoutId id="2147485084" r:id="rId7"/>
    <p:sldLayoutId id="2147485085" r:id="rId8"/>
    <p:sldLayoutId id="2147485086" r:id="rId9"/>
    <p:sldLayoutId id="2147485087" r:id="rId10"/>
    <p:sldLayoutId id="2147485088" r:id="rId11"/>
  </p:sldLayoutIdLst>
  <p:txStyles>
    <p:titleStyle>
      <a:lvl1pPr algn="l" defTabSz="932597" rtl="0" eaLnBrk="1" latinLnBrk="0" hangingPunct="1">
        <a:lnSpc>
          <a:spcPct val="90000"/>
        </a:lnSpc>
        <a:spcBef>
          <a:spcPct val="0"/>
        </a:spcBef>
        <a:buNone/>
        <a:defRPr sz="448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33149" indent="-233149" algn="l" defTabSz="932597" rtl="0" eaLnBrk="1" latinLnBrk="0" hangingPunct="1">
        <a:lnSpc>
          <a:spcPct val="90000"/>
        </a:lnSpc>
        <a:spcBef>
          <a:spcPts val="1020"/>
        </a:spcBef>
        <a:buFont typeface="Arial" panose="020B0604020202020204" pitchFamily="34" charset="0"/>
        <a:buChar char="•"/>
        <a:defRPr sz="2856" kern="1200">
          <a:solidFill>
            <a:schemeClr val="tx1"/>
          </a:solidFill>
          <a:latin typeface="+mn-lt"/>
          <a:ea typeface="+mn-ea"/>
          <a:cs typeface="+mn-cs"/>
        </a:defRPr>
      </a:lvl1pPr>
      <a:lvl2pPr marL="699447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165746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3pPr>
      <a:lvl4pPr marL="1632044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2098342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564641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3030939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497237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963535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1pPr>
      <a:lvl2pPr marL="466298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2pPr>
      <a:lvl3pPr marL="932597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3pPr>
      <a:lvl4pPr marL="1398895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1865193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331491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2797790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264088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730386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6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6"/>
          <a:stretch>
            <a:fillRect/>
          </a:stretch>
        </p:blipFill>
        <p:spPr>
          <a:xfrm rot="5400000">
            <a:off x="9393899" y="3050514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484449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5502" r:id="rId1"/>
    <p:sldLayoutId id="2147485503" r:id="rId2"/>
    <p:sldLayoutId id="2147485504" r:id="rId3"/>
    <p:sldLayoutId id="2147485505" r:id="rId4"/>
    <p:sldLayoutId id="2147485506" r:id="rId5"/>
    <p:sldLayoutId id="2147485507" r:id="rId6"/>
    <p:sldLayoutId id="2147485508" r:id="rId7"/>
    <p:sldLayoutId id="2147485509" r:id="rId8"/>
    <p:sldLayoutId id="2147485510" r:id="rId9"/>
    <p:sldLayoutId id="2147485511" r:id="rId10"/>
    <p:sldLayoutId id="2147485512" r:id="rId11"/>
    <p:sldLayoutId id="2147485513" r:id="rId12"/>
    <p:sldLayoutId id="2147485514" r:id="rId13"/>
    <p:sldLayoutId id="2147485515" r:id="rId14"/>
    <p:sldLayoutId id="2147485516" r:id="rId15"/>
    <p:sldLayoutId id="2147485517" r:id="rId16"/>
    <p:sldLayoutId id="2147485518" r:id="rId17"/>
    <p:sldLayoutId id="2147485519" r:id="rId18"/>
    <p:sldLayoutId id="2147485520" r:id="rId19"/>
    <p:sldLayoutId id="2147485521" r:id="rId20"/>
    <p:sldLayoutId id="2147485522" r:id="rId21"/>
    <p:sldLayoutId id="2147485523" r:id="rId22"/>
    <p:sldLayoutId id="2147485524" r:id="rId23"/>
    <p:sldLayoutId id="2147485525" r:id="rId24"/>
    <p:sldLayoutId id="2147485526" r:id="rId25"/>
    <p:sldLayoutId id="2147485527" r:id="rId26"/>
    <p:sldLayoutId id="2147485528" r:id="rId27"/>
    <p:sldLayoutId id="2147485529" r:id="rId28"/>
    <p:sldLayoutId id="2147485530" r:id="rId29"/>
    <p:sldLayoutId id="2147485531" r:id="rId30"/>
    <p:sldLayoutId id="2147485532" r:id="rId31"/>
    <p:sldLayoutId id="2147485533" r:id="rId32"/>
    <p:sldLayoutId id="2147485535" r:id="rId33"/>
    <p:sldLayoutId id="2147485536" r:id="rId34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56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B3A23CD-1C29-41A8-97A4-3459DFFE7C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5008" y="372394"/>
            <a:ext cx="10726460" cy="13519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360B19-8C36-4DD8-BB56-1200DF33CE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55008" y="1861968"/>
            <a:ext cx="10726460" cy="44379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FA5659-53CE-41E0-B416-F51FBFC8AA0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5008" y="6482889"/>
            <a:ext cx="2798207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2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32597">
              <a:defRPr/>
            </a:pPr>
            <a:fld id="{62813C0D-CC87-4BDF-BEBF-9DBC95521A0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32597">
                <a:defRPr/>
              </a:pPr>
              <a:t>5/7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E9DAE0-1B5A-4710-ACAB-6616AF5AD8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19583" y="6482889"/>
            <a:ext cx="4197310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2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32597"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57286F7-EBB5-425D-B85E-5ED13C49BD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83260" y="6482889"/>
            <a:ext cx="2798207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2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32597">
              <a:defRPr/>
            </a:pPr>
            <a:fld id="{98005AF1-E2B5-43EC-9CF1-67452EF1650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32597"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56462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70" r:id="rId1"/>
    <p:sldLayoutId id="2147485571" r:id="rId2"/>
    <p:sldLayoutId id="2147485572" r:id="rId3"/>
    <p:sldLayoutId id="2147485573" r:id="rId4"/>
    <p:sldLayoutId id="2147485574" r:id="rId5"/>
    <p:sldLayoutId id="2147485575" r:id="rId6"/>
    <p:sldLayoutId id="2147485576" r:id="rId7"/>
    <p:sldLayoutId id="2147485577" r:id="rId8"/>
    <p:sldLayoutId id="2147485578" r:id="rId9"/>
    <p:sldLayoutId id="2147485579" r:id="rId10"/>
    <p:sldLayoutId id="2147485580" r:id="rId11"/>
    <p:sldLayoutId id="2147485581" r:id="rId12"/>
    <p:sldLayoutId id="2147485582" r:id="rId13"/>
    <p:sldLayoutId id="2147485583" r:id="rId14"/>
    <p:sldLayoutId id="2147485584" r:id="rId15"/>
    <p:sldLayoutId id="2147485585" r:id="rId16"/>
    <p:sldLayoutId id="2147485586" r:id="rId17"/>
    <p:sldLayoutId id="2147485587" r:id="rId18"/>
    <p:sldLayoutId id="2147485588" r:id="rId19"/>
    <p:sldLayoutId id="2147485589" r:id="rId20"/>
    <p:sldLayoutId id="2147485590" r:id="rId21"/>
    <p:sldLayoutId id="2147485591" r:id="rId22"/>
    <p:sldLayoutId id="2147485592" r:id="rId23"/>
    <p:sldLayoutId id="2147485593" r:id="rId24"/>
    <p:sldLayoutId id="2147485594" r:id="rId25"/>
    <p:sldLayoutId id="2147485595" r:id="rId26"/>
    <p:sldLayoutId id="2147485596" r:id="rId27"/>
    <p:sldLayoutId id="2147485597" r:id="rId28"/>
    <p:sldLayoutId id="2147485598" r:id="rId29"/>
    <p:sldLayoutId id="2147485599" r:id="rId30"/>
    <p:sldLayoutId id="2147485601" r:id="rId31"/>
    <p:sldLayoutId id="2147485602" r:id="rId32"/>
  </p:sldLayoutIdLst>
  <p:txStyles>
    <p:titleStyle>
      <a:lvl1pPr algn="l" defTabSz="932597" rtl="0" eaLnBrk="1" latinLnBrk="0" hangingPunct="1">
        <a:lnSpc>
          <a:spcPct val="90000"/>
        </a:lnSpc>
        <a:spcBef>
          <a:spcPct val="0"/>
        </a:spcBef>
        <a:buNone/>
        <a:defRPr sz="448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33149" indent="-233149" algn="l" defTabSz="932597" rtl="0" eaLnBrk="1" latinLnBrk="0" hangingPunct="1">
        <a:lnSpc>
          <a:spcPct val="90000"/>
        </a:lnSpc>
        <a:spcBef>
          <a:spcPts val="1020"/>
        </a:spcBef>
        <a:buFont typeface="Arial" panose="020B0604020202020204" pitchFamily="34" charset="0"/>
        <a:buChar char="•"/>
        <a:defRPr sz="2856" kern="1200">
          <a:solidFill>
            <a:schemeClr val="tx1"/>
          </a:solidFill>
          <a:latin typeface="+mn-lt"/>
          <a:ea typeface="+mn-ea"/>
          <a:cs typeface="+mn-cs"/>
        </a:defRPr>
      </a:lvl1pPr>
      <a:lvl2pPr marL="699447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165746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3pPr>
      <a:lvl4pPr marL="1632044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2098342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564641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3030939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497237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963535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1pPr>
      <a:lvl2pPr marL="466298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2pPr>
      <a:lvl3pPr marL="932597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3pPr>
      <a:lvl4pPr marL="1398895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1865193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331491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2797790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264088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730386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6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30832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0721960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5632" r:id="rId1"/>
    <p:sldLayoutId id="2147485633" r:id="rId2"/>
    <p:sldLayoutId id="2147485634" r:id="rId3"/>
    <p:sldLayoutId id="2147485635" r:id="rId4"/>
    <p:sldLayoutId id="2147485636" r:id="rId5"/>
    <p:sldLayoutId id="2147485637" r:id="rId6"/>
    <p:sldLayoutId id="2147485638" r:id="rId7"/>
    <p:sldLayoutId id="2147485639" r:id="rId8"/>
    <p:sldLayoutId id="2147485640" r:id="rId9"/>
    <p:sldLayoutId id="2147485641" r:id="rId10"/>
    <p:sldLayoutId id="2147485642" r:id="rId11"/>
    <p:sldLayoutId id="2147485643" r:id="rId12"/>
    <p:sldLayoutId id="2147485644" r:id="rId13"/>
    <p:sldLayoutId id="2147485645" r:id="rId14"/>
    <p:sldLayoutId id="2147485646" r:id="rId15"/>
    <p:sldLayoutId id="2147485647" r:id="rId16"/>
    <p:sldLayoutId id="2147485648" r:id="rId17"/>
    <p:sldLayoutId id="2147485649" r:id="rId18"/>
    <p:sldLayoutId id="2147485650" r:id="rId19"/>
    <p:sldLayoutId id="2147485651" r:id="rId20"/>
  </p:sldLayoutIdLst>
  <p:transition>
    <p:fade/>
  </p:transition>
  <p:hf sldNum="0" hdr="0" ftr="0" dt="0"/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557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57112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85669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914224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42781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2704" y="1292570"/>
            <a:ext cx="7380375" cy="113446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7137" y="2755713"/>
            <a:ext cx="7461885" cy="36708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4"/>
          </p:nvPr>
        </p:nvSpPr>
        <p:spPr>
          <a:xfrm>
            <a:off x="8312036" y="6552511"/>
            <a:ext cx="3635401" cy="44201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632">
                <a:solidFill>
                  <a:schemeClr val="tx1"/>
                </a:solidFill>
                <a:latin typeface="Segoe Light" panose="020B0302040504020203" pitchFamily="34" charset="0"/>
              </a:defRPr>
            </a:lvl1pPr>
          </a:lstStyle>
          <a:p>
            <a:fld id="{FDA2A82E-E5A3-46CC-8E54-690864029C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46E96DB-2746-4624-AA32-B716D9AD1E2A}"/>
              </a:ext>
            </a:extLst>
          </p:cNvPr>
          <p:cNvSpPr/>
          <p:nvPr userDrawn="1"/>
        </p:nvSpPr>
        <p:spPr>
          <a:xfrm>
            <a:off x="497137" y="6552509"/>
            <a:ext cx="1564247" cy="345294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lvl="0" algn="l"/>
            <a:r>
              <a:rPr lang="en-GB" sz="1632">
                <a:solidFill>
                  <a:schemeClr val="accent4"/>
                </a:solidFill>
                <a:latin typeface="Segoe Light" panose="020B0302040504020203" pitchFamily="34" charset="0"/>
              </a:rPr>
              <a:t>#</a:t>
            </a:r>
            <a:r>
              <a:rPr lang="en-GB" sz="1632" err="1">
                <a:solidFill>
                  <a:schemeClr val="accent4"/>
                </a:solidFill>
                <a:latin typeface="Segoe Light" panose="020B0302040504020203" pitchFamily="34" charset="0"/>
              </a:rPr>
              <a:t>MicrosoftEDU</a:t>
            </a:r>
            <a:r>
              <a:rPr lang="en-GB" sz="1632">
                <a:solidFill>
                  <a:schemeClr val="accent4"/>
                </a:solidFill>
                <a:latin typeface="Segoe Light" panose="020B0302040504020203" pitchFamily="34" charset="0"/>
              </a:rPr>
              <a:t> </a:t>
            </a:r>
          </a:p>
        </p:txBody>
      </p:sp>
      <p:grpSp>
        <p:nvGrpSpPr>
          <p:cNvPr id="113" name="Group 4">
            <a:extLst>
              <a:ext uri="{FF2B5EF4-FFF2-40B4-BE49-F238E27FC236}">
                <a16:creationId xmlns:a16="http://schemas.microsoft.com/office/drawing/2014/main" id="{34A8A01B-C3DA-481A-8B1D-616468C59B7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 rot="5400000">
            <a:off x="9997820" y="2564528"/>
            <a:ext cx="6994523" cy="1865471"/>
            <a:chOff x="7705" y="0"/>
            <a:chExt cx="613" cy="4322"/>
          </a:xfrm>
        </p:grpSpPr>
        <p:sp>
          <p:nvSpPr>
            <p:cNvPr id="114" name="AutoShape 3">
              <a:extLst>
                <a:ext uri="{FF2B5EF4-FFF2-40B4-BE49-F238E27FC236}">
                  <a16:creationId xmlns:a16="http://schemas.microsoft.com/office/drawing/2014/main" id="{7BE3E9AC-AE9C-49E9-86E9-C4C33834DAD7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7705" y="0"/>
              <a:ext cx="613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15" name="Freeform 5">
              <a:extLst>
                <a:ext uri="{FF2B5EF4-FFF2-40B4-BE49-F238E27FC236}">
                  <a16:creationId xmlns:a16="http://schemas.microsoft.com/office/drawing/2014/main" id="{8EBD57E4-909E-4868-8656-19AC460B0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90" y="1764"/>
              <a:ext cx="75" cy="612"/>
            </a:xfrm>
            <a:custGeom>
              <a:avLst/>
              <a:gdLst>
                <a:gd name="T0" fmla="*/ 0 w 75"/>
                <a:gd name="T1" fmla="*/ 0 h 612"/>
                <a:gd name="T2" fmla="*/ 52 w 75"/>
                <a:gd name="T3" fmla="*/ 0 h 612"/>
                <a:gd name="T4" fmla="*/ 75 w 75"/>
                <a:gd name="T5" fmla="*/ 288 h 612"/>
                <a:gd name="T6" fmla="*/ 75 w 75"/>
                <a:gd name="T7" fmla="*/ 612 h 612"/>
                <a:gd name="T8" fmla="*/ 0 w 75"/>
                <a:gd name="T9" fmla="*/ 612 h 612"/>
                <a:gd name="T10" fmla="*/ 0 w 75"/>
                <a:gd name="T11" fmla="*/ 0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5" h="612">
                  <a:moveTo>
                    <a:pt x="0" y="0"/>
                  </a:moveTo>
                  <a:lnTo>
                    <a:pt x="52" y="0"/>
                  </a:lnTo>
                  <a:lnTo>
                    <a:pt x="75" y="288"/>
                  </a:lnTo>
                  <a:lnTo>
                    <a:pt x="75" y="612"/>
                  </a:lnTo>
                  <a:lnTo>
                    <a:pt x="0" y="6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E6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16" name="Rectangle 6">
              <a:extLst>
                <a:ext uri="{FF2B5EF4-FFF2-40B4-BE49-F238E27FC236}">
                  <a16:creationId xmlns:a16="http://schemas.microsoft.com/office/drawing/2014/main" id="{DF826A4B-F8EA-4C05-87DE-13D4BAA9C50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91" y="1698"/>
              <a:ext cx="33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</a:rPr>
                <a:t>Light Blue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7" name="Rectangle 7">
              <a:extLst>
                <a:ext uri="{FF2B5EF4-FFF2-40B4-BE49-F238E27FC236}">
                  <a16:creationId xmlns:a16="http://schemas.microsoft.com/office/drawing/2014/main" id="{84DFF055-8C6A-4988-B7D4-CBD950D4A4F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92" y="1912"/>
              <a:ext cx="43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</a:rPr>
                <a:t>R0 G188 B242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8" name="Rectangle 8">
              <a:extLst>
                <a:ext uri="{FF2B5EF4-FFF2-40B4-BE49-F238E27FC236}">
                  <a16:creationId xmlns:a16="http://schemas.microsoft.com/office/drawing/2014/main" id="{096FB394-322A-43D6-B6F1-B2BF751448D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244" y="2414"/>
              <a:ext cx="74" cy="1262"/>
            </a:xfrm>
            <a:prstGeom prst="rect">
              <a:avLst/>
            </a:prstGeom>
            <a:solidFill>
              <a:srgbClr val="107C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19" name="Rectangle 9">
              <a:extLst>
                <a:ext uri="{FF2B5EF4-FFF2-40B4-BE49-F238E27FC236}">
                  <a16:creationId xmlns:a16="http://schemas.microsoft.com/office/drawing/2014/main" id="{A0B9F542-7266-40DE-AD8C-083076CD149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245" y="2302"/>
              <a:ext cx="26" cy="2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816" b="1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Green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20" name="Rectangle 10">
              <a:extLst>
                <a:ext uri="{FF2B5EF4-FFF2-40B4-BE49-F238E27FC236}">
                  <a16:creationId xmlns:a16="http://schemas.microsoft.com/office/drawing/2014/main" id="{D4E80936-6F75-48D7-8386-EDA51C2B406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245" y="2646"/>
              <a:ext cx="43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R16 G124 B16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21" name="Rectangle 11">
              <a:extLst>
                <a:ext uri="{FF2B5EF4-FFF2-40B4-BE49-F238E27FC236}">
                  <a16:creationId xmlns:a16="http://schemas.microsoft.com/office/drawing/2014/main" id="{537B0F8F-CCCF-4111-B471-0C97DA119C0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861" y="2414"/>
              <a:ext cx="74" cy="1262"/>
            </a:xfrm>
            <a:prstGeom prst="rect">
              <a:avLst/>
            </a:prstGeom>
            <a:solidFill>
              <a:srgbClr val="E81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22" name="Rectangle 12">
              <a:extLst>
                <a:ext uri="{FF2B5EF4-FFF2-40B4-BE49-F238E27FC236}">
                  <a16:creationId xmlns:a16="http://schemas.microsoft.com/office/drawing/2014/main" id="{DFC93EB3-C4E1-4716-8BCE-81F11BDDCAE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861" y="2284"/>
              <a:ext cx="19" cy="3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18" b="1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Red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23" name="Rectangle 13">
              <a:extLst>
                <a:ext uri="{FF2B5EF4-FFF2-40B4-BE49-F238E27FC236}">
                  <a16:creationId xmlns:a16="http://schemas.microsoft.com/office/drawing/2014/main" id="{F038083A-A0EF-47DE-ADE7-F00A47C0639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862" y="2693"/>
              <a:ext cx="43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R232 G17 B35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24" name="Rectangle 14">
              <a:extLst>
                <a:ext uri="{FF2B5EF4-FFF2-40B4-BE49-F238E27FC236}">
                  <a16:creationId xmlns:a16="http://schemas.microsoft.com/office/drawing/2014/main" id="{4EE11DBD-2DBF-4B05-99A2-200C6FA3791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937" y="2414"/>
              <a:ext cx="74" cy="1262"/>
            </a:xfrm>
            <a:prstGeom prst="rect">
              <a:avLst/>
            </a:prstGeom>
            <a:solidFill>
              <a:srgbClr val="B400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25" name="Rectangle 15">
              <a:extLst>
                <a:ext uri="{FF2B5EF4-FFF2-40B4-BE49-F238E27FC236}">
                  <a16:creationId xmlns:a16="http://schemas.microsoft.com/office/drawing/2014/main" id="{35FED7C3-E3C6-4EF3-BBF7-3C6079537BA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938" y="2302"/>
              <a:ext cx="39" cy="2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816" b="1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Magenta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26" name="Rectangle 16">
              <a:extLst>
                <a:ext uri="{FF2B5EF4-FFF2-40B4-BE49-F238E27FC236}">
                  <a16:creationId xmlns:a16="http://schemas.microsoft.com/office/drawing/2014/main" id="{BA4E5553-85A8-42FA-ADB7-3C04680702F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938" y="2646"/>
              <a:ext cx="43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R180 G0 B158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27" name="Rectangle 17">
              <a:extLst>
                <a:ext uri="{FF2B5EF4-FFF2-40B4-BE49-F238E27FC236}">
                  <a16:creationId xmlns:a16="http://schemas.microsoft.com/office/drawing/2014/main" id="{B4900619-4EF2-4D8D-B3A9-3E0C9C7D299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14" y="2414"/>
              <a:ext cx="74" cy="126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28" name="Rectangle 18">
              <a:extLst>
                <a:ext uri="{FF2B5EF4-FFF2-40B4-BE49-F238E27FC236}">
                  <a16:creationId xmlns:a16="http://schemas.microsoft.com/office/drawing/2014/main" id="{770B4E4A-B107-46A6-BF33-C03AFC94CD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15" y="2302"/>
              <a:ext cx="29" cy="2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816" b="1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Purple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29" name="Rectangle 19">
              <a:extLst>
                <a:ext uri="{FF2B5EF4-FFF2-40B4-BE49-F238E27FC236}">
                  <a16:creationId xmlns:a16="http://schemas.microsoft.com/office/drawing/2014/main" id="{95CAE9D4-52F3-4FA4-BBB4-4285C4ABE3E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15" y="2646"/>
              <a:ext cx="47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R134 G97 B197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0" name="Rectangle 20">
              <a:extLst>
                <a:ext uri="{FF2B5EF4-FFF2-40B4-BE49-F238E27FC236}">
                  <a16:creationId xmlns:a16="http://schemas.microsoft.com/office/drawing/2014/main" id="{CC6FB686-F513-4689-9A63-EB5093D7EEA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90" y="2414"/>
              <a:ext cx="75" cy="612"/>
            </a:xfrm>
            <a:prstGeom prst="rect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31" name="Rectangle 21">
              <a:extLst>
                <a:ext uri="{FF2B5EF4-FFF2-40B4-BE49-F238E27FC236}">
                  <a16:creationId xmlns:a16="http://schemas.microsoft.com/office/drawing/2014/main" id="{B18AC1B6-2FCC-4D2F-963C-B5377F189CA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92" y="2302"/>
              <a:ext cx="19" cy="2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816" b="1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Blue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2" name="Rectangle 22">
              <a:extLst>
                <a:ext uri="{FF2B5EF4-FFF2-40B4-BE49-F238E27FC236}">
                  <a16:creationId xmlns:a16="http://schemas.microsoft.com/office/drawing/2014/main" id="{FD4C21EA-271B-4B88-9B8D-963970ACF62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92" y="2646"/>
              <a:ext cx="43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R0 G120 B212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3" name="Rectangle 23">
              <a:extLst>
                <a:ext uri="{FF2B5EF4-FFF2-40B4-BE49-F238E27FC236}">
                  <a16:creationId xmlns:a16="http://schemas.microsoft.com/office/drawing/2014/main" id="{95030978-0CCE-45A4-AA5E-399C4F90F7A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167" y="2414"/>
              <a:ext cx="74" cy="126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34" name="Rectangle 24">
              <a:extLst>
                <a:ext uri="{FF2B5EF4-FFF2-40B4-BE49-F238E27FC236}">
                  <a16:creationId xmlns:a16="http://schemas.microsoft.com/office/drawing/2014/main" id="{60E42000-FA3D-4A27-9E88-EC9B9DD6DEB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167" y="2302"/>
              <a:ext cx="18" cy="2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816" b="1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Teal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5" name="Rectangle 25">
              <a:extLst>
                <a:ext uri="{FF2B5EF4-FFF2-40B4-BE49-F238E27FC236}">
                  <a16:creationId xmlns:a16="http://schemas.microsoft.com/office/drawing/2014/main" id="{6FA7AF91-D654-4B51-B74E-AD94BA25FF6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168" y="2646"/>
              <a:ext cx="43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R0 G130 B114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6" name="Freeform 26">
              <a:extLst>
                <a:ext uri="{FF2B5EF4-FFF2-40B4-BE49-F238E27FC236}">
                  <a16:creationId xmlns:a16="http://schemas.microsoft.com/office/drawing/2014/main" id="{807A0ECF-9128-4F61-A262-82305D36B7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07" y="2436"/>
              <a:ext cx="74" cy="1240"/>
            </a:xfrm>
            <a:custGeom>
              <a:avLst/>
              <a:gdLst>
                <a:gd name="T0" fmla="*/ 0 w 74"/>
                <a:gd name="T1" fmla="*/ 0 h 1240"/>
                <a:gd name="T2" fmla="*/ 52 w 74"/>
                <a:gd name="T3" fmla="*/ 0 h 1240"/>
                <a:gd name="T4" fmla="*/ 74 w 74"/>
                <a:gd name="T5" fmla="*/ 451 h 1240"/>
                <a:gd name="T6" fmla="*/ 74 w 74"/>
                <a:gd name="T7" fmla="*/ 643 h 1240"/>
                <a:gd name="T8" fmla="*/ 74 w 74"/>
                <a:gd name="T9" fmla="*/ 1071 h 1240"/>
                <a:gd name="T10" fmla="*/ 74 w 74"/>
                <a:gd name="T11" fmla="*/ 1240 h 1240"/>
                <a:gd name="T12" fmla="*/ 0 w 74"/>
                <a:gd name="T13" fmla="*/ 1240 h 1240"/>
                <a:gd name="T14" fmla="*/ 0 w 74"/>
                <a:gd name="T15" fmla="*/ 1071 h 1240"/>
                <a:gd name="T16" fmla="*/ 0 w 74"/>
                <a:gd name="T17" fmla="*/ 193 h 1240"/>
                <a:gd name="T18" fmla="*/ 0 w 74"/>
                <a:gd name="T19" fmla="*/ 0 h 1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1240">
                  <a:moveTo>
                    <a:pt x="0" y="0"/>
                  </a:moveTo>
                  <a:lnTo>
                    <a:pt x="52" y="0"/>
                  </a:lnTo>
                  <a:lnTo>
                    <a:pt x="74" y="451"/>
                  </a:lnTo>
                  <a:lnTo>
                    <a:pt x="74" y="643"/>
                  </a:lnTo>
                  <a:lnTo>
                    <a:pt x="74" y="1071"/>
                  </a:lnTo>
                  <a:lnTo>
                    <a:pt x="74" y="1240"/>
                  </a:lnTo>
                  <a:lnTo>
                    <a:pt x="0" y="1240"/>
                  </a:lnTo>
                  <a:lnTo>
                    <a:pt x="0" y="1071"/>
                  </a:lnTo>
                  <a:lnTo>
                    <a:pt x="0" y="1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37" name="Rectangle 27">
              <a:extLst>
                <a:ext uri="{FF2B5EF4-FFF2-40B4-BE49-F238E27FC236}">
                  <a16:creationId xmlns:a16="http://schemas.microsoft.com/office/drawing/2014/main" id="{9469CA69-C33C-493A-B216-943301E062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07" y="2327"/>
              <a:ext cx="29" cy="2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816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</a:rPr>
                <a:t>Yellow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8" name="Rectangle 28">
              <a:extLst>
                <a:ext uri="{FF2B5EF4-FFF2-40B4-BE49-F238E27FC236}">
                  <a16:creationId xmlns:a16="http://schemas.microsoft.com/office/drawing/2014/main" id="{6078EB82-ABC1-4175-9A50-8A5187A361B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08" y="2673"/>
              <a:ext cx="43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</a:rPr>
                <a:t>R255 G185 B0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9" name="Rectangle 29">
              <a:extLst>
                <a:ext uri="{FF2B5EF4-FFF2-40B4-BE49-F238E27FC236}">
                  <a16:creationId xmlns:a16="http://schemas.microsoft.com/office/drawing/2014/main" id="{FF24CA3E-4D07-42F6-BC81-06EEEC2264B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84" y="2414"/>
              <a:ext cx="74" cy="1262"/>
            </a:xfrm>
            <a:prstGeom prst="rect">
              <a:avLst/>
            </a:pr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40" name="Rectangle 30">
              <a:extLst>
                <a:ext uri="{FF2B5EF4-FFF2-40B4-BE49-F238E27FC236}">
                  <a16:creationId xmlns:a16="http://schemas.microsoft.com/office/drawing/2014/main" id="{6CA31C26-D80D-48DB-9A52-7C59D52D057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84" y="2302"/>
              <a:ext cx="32" cy="2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816" b="1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Orange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41" name="Rectangle 31">
              <a:extLst>
                <a:ext uri="{FF2B5EF4-FFF2-40B4-BE49-F238E27FC236}">
                  <a16:creationId xmlns:a16="http://schemas.microsoft.com/office/drawing/2014/main" id="{D3F45C6D-B525-4E1A-B83C-04A4D19229F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84" y="2646"/>
              <a:ext cx="39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R216 G59 B1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42" name="Freeform 32">
              <a:extLst>
                <a:ext uri="{FF2B5EF4-FFF2-40B4-BE49-F238E27FC236}">
                  <a16:creationId xmlns:a16="http://schemas.microsoft.com/office/drawing/2014/main" id="{8EFD8596-48BF-4E52-B738-8D2985B4D7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07" y="1764"/>
              <a:ext cx="74" cy="612"/>
            </a:xfrm>
            <a:custGeom>
              <a:avLst/>
              <a:gdLst>
                <a:gd name="T0" fmla="*/ 0 w 74"/>
                <a:gd name="T1" fmla="*/ 0 h 612"/>
                <a:gd name="T2" fmla="*/ 52 w 74"/>
                <a:gd name="T3" fmla="*/ 0 h 612"/>
                <a:gd name="T4" fmla="*/ 74 w 74"/>
                <a:gd name="T5" fmla="*/ 288 h 612"/>
                <a:gd name="T6" fmla="*/ 74 w 74"/>
                <a:gd name="T7" fmla="*/ 612 h 612"/>
                <a:gd name="T8" fmla="*/ 0 w 74"/>
                <a:gd name="T9" fmla="*/ 612 h 612"/>
                <a:gd name="T10" fmla="*/ 0 w 74"/>
                <a:gd name="T11" fmla="*/ 0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612">
                  <a:moveTo>
                    <a:pt x="0" y="0"/>
                  </a:moveTo>
                  <a:lnTo>
                    <a:pt x="52" y="0"/>
                  </a:lnTo>
                  <a:lnTo>
                    <a:pt x="74" y="288"/>
                  </a:lnTo>
                  <a:lnTo>
                    <a:pt x="74" y="612"/>
                  </a:lnTo>
                  <a:lnTo>
                    <a:pt x="0" y="6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1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43" name="Rectangle 33">
              <a:extLst>
                <a:ext uri="{FF2B5EF4-FFF2-40B4-BE49-F238E27FC236}">
                  <a16:creationId xmlns:a16="http://schemas.microsoft.com/office/drawing/2014/main" id="{AF8E01EE-DF7A-4908-B8C2-CB74B8E3D34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07" y="1698"/>
              <a:ext cx="41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</a:rPr>
                <a:t>Light Yellow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44" name="Rectangle 34">
              <a:extLst>
                <a:ext uri="{FF2B5EF4-FFF2-40B4-BE49-F238E27FC236}">
                  <a16:creationId xmlns:a16="http://schemas.microsoft.com/office/drawing/2014/main" id="{CC6A5114-698E-4365-B3AF-FE98DB08F69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08" y="1912"/>
              <a:ext cx="43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</a:rPr>
                <a:t>R255 G241 B0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45" name="Freeform 35">
              <a:extLst>
                <a:ext uri="{FF2B5EF4-FFF2-40B4-BE49-F238E27FC236}">
                  <a16:creationId xmlns:a16="http://schemas.microsoft.com/office/drawing/2014/main" id="{3F263732-10D6-43EF-8B59-29552F448E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84" y="1764"/>
              <a:ext cx="74" cy="612"/>
            </a:xfrm>
            <a:custGeom>
              <a:avLst/>
              <a:gdLst>
                <a:gd name="T0" fmla="*/ 0 w 74"/>
                <a:gd name="T1" fmla="*/ 0 h 612"/>
                <a:gd name="T2" fmla="*/ 52 w 74"/>
                <a:gd name="T3" fmla="*/ 0 h 612"/>
                <a:gd name="T4" fmla="*/ 74 w 74"/>
                <a:gd name="T5" fmla="*/ 288 h 612"/>
                <a:gd name="T6" fmla="*/ 74 w 74"/>
                <a:gd name="T7" fmla="*/ 612 h 612"/>
                <a:gd name="T8" fmla="*/ 0 w 74"/>
                <a:gd name="T9" fmla="*/ 612 h 612"/>
                <a:gd name="T10" fmla="*/ 0 w 74"/>
                <a:gd name="T11" fmla="*/ 0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612">
                  <a:moveTo>
                    <a:pt x="0" y="0"/>
                  </a:moveTo>
                  <a:lnTo>
                    <a:pt x="52" y="0"/>
                  </a:lnTo>
                  <a:lnTo>
                    <a:pt x="74" y="288"/>
                  </a:lnTo>
                  <a:lnTo>
                    <a:pt x="74" y="612"/>
                  </a:lnTo>
                  <a:lnTo>
                    <a:pt x="0" y="6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93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46" name="Rectangle 36">
              <a:extLst>
                <a:ext uri="{FF2B5EF4-FFF2-40B4-BE49-F238E27FC236}">
                  <a16:creationId xmlns:a16="http://schemas.microsoft.com/office/drawing/2014/main" id="{118BFFC9-11F2-42A7-9290-8043B711E92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85" y="1698"/>
              <a:ext cx="43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</a:rPr>
                <a:t>Light Orange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47" name="Rectangle 37">
              <a:extLst>
                <a:ext uri="{FF2B5EF4-FFF2-40B4-BE49-F238E27FC236}">
                  <a16:creationId xmlns:a16="http://schemas.microsoft.com/office/drawing/2014/main" id="{8D6BB2BF-EC3A-4D67-B2BA-537010BE742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85" y="1912"/>
              <a:ext cx="43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</a:rPr>
                <a:t>R255 G140 B0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48" name="Rectangle 38">
              <a:extLst>
                <a:ext uri="{FF2B5EF4-FFF2-40B4-BE49-F238E27FC236}">
                  <a16:creationId xmlns:a16="http://schemas.microsoft.com/office/drawing/2014/main" id="{82F8C8F6-8065-49DE-B102-5FFAB6EBADE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937" y="1764"/>
              <a:ext cx="74" cy="612"/>
            </a:xfrm>
            <a:prstGeom prst="rect">
              <a:avLst/>
            </a:prstGeom>
            <a:solidFill>
              <a:srgbClr val="E300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49" name="Rectangle 39">
              <a:extLst>
                <a:ext uri="{FF2B5EF4-FFF2-40B4-BE49-F238E27FC236}">
                  <a16:creationId xmlns:a16="http://schemas.microsoft.com/office/drawing/2014/main" id="{97DC0E2D-282A-41BE-8A0C-71062F35ED2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938" y="1698"/>
              <a:ext cx="48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1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Light Magenta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0" name="Rectangle 40">
              <a:extLst>
                <a:ext uri="{FF2B5EF4-FFF2-40B4-BE49-F238E27FC236}">
                  <a16:creationId xmlns:a16="http://schemas.microsoft.com/office/drawing/2014/main" id="{0C1C0FB2-6D1A-4220-BF44-82FE559DD3A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938" y="1912"/>
              <a:ext cx="43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R227 G0 B140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1" name="Freeform 41">
              <a:extLst>
                <a:ext uri="{FF2B5EF4-FFF2-40B4-BE49-F238E27FC236}">
                  <a16:creationId xmlns:a16="http://schemas.microsoft.com/office/drawing/2014/main" id="{B6013385-9526-4007-B9CA-C6A8202803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14" y="1764"/>
              <a:ext cx="74" cy="612"/>
            </a:xfrm>
            <a:custGeom>
              <a:avLst/>
              <a:gdLst>
                <a:gd name="T0" fmla="*/ 0 w 74"/>
                <a:gd name="T1" fmla="*/ 0 h 612"/>
                <a:gd name="T2" fmla="*/ 52 w 74"/>
                <a:gd name="T3" fmla="*/ 0 h 612"/>
                <a:gd name="T4" fmla="*/ 74 w 74"/>
                <a:gd name="T5" fmla="*/ 288 h 612"/>
                <a:gd name="T6" fmla="*/ 74 w 74"/>
                <a:gd name="T7" fmla="*/ 612 h 612"/>
                <a:gd name="T8" fmla="*/ 0 w 74"/>
                <a:gd name="T9" fmla="*/ 612 h 612"/>
                <a:gd name="T10" fmla="*/ 0 w 74"/>
                <a:gd name="T11" fmla="*/ 0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612">
                  <a:moveTo>
                    <a:pt x="0" y="0"/>
                  </a:moveTo>
                  <a:lnTo>
                    <a:pt x="52" y="0"/>
                  </a:lnTo>
                  <a:lnTo>
                    <a:pt x="74" y="288"/>
                  </a:lnTo>
                  <a:lnTo>
                    <a:pt x="74" y="612"/>
                  </a:lnTo>
                  <a:lnTo>
                    <a:pt x="0" y="6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4A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52" name="Rectangle 42">
              <a:extLst>
                <a:ext uri="{FF2B5EF4-FFF2-40B4-BE49-F238E27FC236}">
                  <a16:creationId xmlns:a16="http://schemas.microsoft.com/office/drawing/2014/main" id="{B452AF30-F7F0-4239-835E-B0D780603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15" y="1698"/>
              <a:ext cx="40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</a:rPr>
                <a:t>Light Purple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3" name="Rectangle 43">
              <a:extLst>
                <a:ext uri="{FF2B5EF4-FFF2-40B4-BE49-F238E27FC236}">
                  <a16:creationId xmlns:a16="http://schemas.microsoft.com/office/drawing/2014/main" id="{3B87460E-A060-49CE-893A-713CAD7EC40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13" y="1912"/>
              <a:ext cx="50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</a:rPr>
                <a:t>R180 G160 B255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4" name="Freeform 44">
              <a:extLst>
                <a:ext uri="{FF2B5EF4-FFF2-40B4-BE49-F238E27FC236}">
                  <a16:creationId xmlns:a16="http://schemas.microsoft.com/office/drawing/2014/main" id="{E84975A6-E846-44D8-B1A0-CD417ACA38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7" y="1764"/>
              <a:ext cx="74" cy="612"/>
            </a:xfrm>
            <a:custGeom>
              <a:avLst/>
              <a:gdLst>
                <a:gd name="T0" fmla="*/ 0 w 74"/>
                <a:gd name="T1" fmla="*/ 0 h 612"/>
                <a:gd name="T2" fmla="*/ 52 w 74"/>
                <a:gd name="T3" fmla="*/ 0 h 612"/>
                <a:gd name="T4" fmla="*/ 74 w 74"/>
                <a:gd name="T5" fmla="*/ 288 h 612"/>
                <a:gd name="T6" fmla="*/ 74 w 74"/>
                <a:gd name="T7" fmla="*/ 612 h 612"/>
                <a:gd name="T8" fmla="*/ 0 w 74"/>
                <a:gd name="T9" fmla="*/ 612 h 612"/>
                <a:gd name="T10" fmla="*/ 0 w 74"/>
                <a:gd name="T11" fmla="*/ 0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612">
                  <a:moveTo>
                    <a:pt x="0" y="0"/>
                  </a:moveTo>
                  <a:lnTo>
                    <a:pt x="52" y="0"/>
                  </a:lnTo>
                  <a:lnTo>
                    <a:pt x="74" y="288"/>
                  </a:lnTo>
                  <a:lnTo>
                    <a:pt x="74" y="612"/>
                  </a:lnTo>
                  <a:lnTo>
                    <a:pt x="0" y="6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0E5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55" name="Rectangle 45">
              <a:extLst>
                <a:ext uri="{FF2B5EF4-FFF2-40B4-BE49-F238E27FC236}">
                  <a16:creationId xmlns:a16="http://schemas.microsoft.com/office/drawing/2014/main" id="{BD437D77-6AED-4F4A-84BB-AC053DED056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166" y="1698"/>
              <a:ext cx="32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</a:rPr>
                <a:t>Light Teal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6" name="Rectangle 46">
              <a:extLst>
                <a:ext uri="{FF2B5EF4-FFF2-40B4-BE49-F238E27FC236}">
                  <a16:creationId xmlns:a16="http://schemas.microsoft.com/office/drawing/2014/main" id="{943D7B58-12FA-46C3-82D6-539F159DBAB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168" y="1912"/>
              <a:ext cx="43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</a:rPr>
                <a:t>R0 G178 B148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7" name="Freeform 47">
              <a:extLst>
                <a:ext uri="{FF2B5EF4-FFF2-40B4-BE49-F238E27FC236}">
                  <a16:creationId xmlns:a16="http://schemas.microsoft.com/office/drawing/2014/main" id="{45DE2557-4C92-480A-9473-C1C9309636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4" y="1764"/>
              <a:ext cx="74" cy="612"/>
            </a:xfrm>
            <a:custGeom>
              <a:avLst/>
              <a:gdLst>
                <a:gd name="T0" fmla="*/ 0 w 74"/>
                <a:gd name="T1" fmla="*/ 0 h 612"/>
                <a:gd name="T2" fmla="*/ 52 w 74"/>
                <a:gd name="T3" fmla="*/ 0 h 612"/>
                <a:gd name="T4" fmla="*/ 74 w 74"/>
                <a:gd name="T5" fmla="*/ 288 h 612"/>
                <a:gd name="T6" fmla="*/ 74 w 74"/>
                <a:gd name="T7" fmla="*/ 612 h 612"/>
                <a:gd name="T8" fmla="*/ 0 w 74"/>
                <a:gd name="T9" fmla="*/ 612 h 612"/>
                <a:gd name="T10" fmla="*/ 0 w 74"/>
                <a:gd name="T11" fmla="*/ 0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612">
                  <a:moveTo>
                    <a:pt x="0" y="0"/>
                  </a:moveTo>
                  <a:lnTo>
                    <a:pt x="52" y="0"/>
                  </a:lnTo>
                  <a:lnTo>
                    <a:pt x="74" y="288"/>
                  </a:lnTo>
                  <a:lnTo>
                    <a:pt x="74" y="612"/>
                  </a:lnTo>
                  <a:lnTo>
                    <a:pt x="0" y="6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AD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58" name="Rectangle 48">
              <a:extLst>
                <a:ext uri="{FF2B5EF4-FFF2-40B4-BE49-F238E27FC236}">
                  <a16:creationId xmlns:a16="http://schemas.microsoft.com/office/drawing/2014/main" id="{A696CCDC-9C5E-4F3E-829D-A8859B65D89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244" y="1698"/>
              <a:ext cx="38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</a:rPr>
                <a:t>Light Green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9" name="Rectangle 49">
              <a:extLst>
                <a:ext uri="{FF2B5EF4-FFF2-40B4-BE49-F238E27FC236}">
                  <a16:creationId xmlns:a16="http://schemas.microsoft.com/office/drawing/2014/main" id="{BFEF76DA-5605-4174-AEB6-31D8F4D7C0E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245" y="1912"/>
              <a:ext cx="47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</a:rPr>
                <a:t>R186 G216 B10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0" name="Rectangle 50">
              <a:extLst>
                <a:ext uri="{FF2B5EF4-FFF2-40B4-BE49-F238E27FC236}">
                  <a16:creationId xmlns:a16="http://schemas.microsoft.com/office/drawing/2014/main" id="{07BF1529-BEE4-434E-AA22-BFBAD0996B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861" y="3710"/>
              <a:ext cx="74" cy="612"/>
            </a:xfrm>
            <a:prstGeom prst="rect">
              <a:avLst/>
            </a:prstGeom>
            <a:solidFill>
              <a:srgbClr val="A8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61" name="Rectangle 51">
              <a:extLst>
                <a:ext uri="{FF2B5EF4-FFF2-40B4-BE49-F238E27FC236}">
                  <a16:creationId xmlns:a16="http://schemas.microsoft.com/office/drawing/2014/main" id="{94B66710-539D-4DD3-8179-6C3CDD544D8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861" y="3645"/>
              <a:ext cx="30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1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Dark Red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2" name="Rectangle 52">
              <a:extLst>
                <a:ext uri="{FF2B5EF4-FFF2-40B4-BE49-F238E27FC236}">
                  <a16:creationId xmlns:a16="http://schemas.microsoft.com/office/drawing/2014/main" id="{C12DC9CA-A973-408B-BAE1-5F41B93E22B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861" y="3859"/>
              <a:ext cx="35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R168 G0 B0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3" name="Rectangle 53">
              <a:extLst>
                <a:ext uri="{FF2B5EF4-FFF2-40B4-BE49-F238E27FC236}">
                  <a16:creationId xmlns:a16="http://schemas.microsoft.com/office/drawing/2014/main" id="{D4EF378F-670F-4435-8AAD-9D25935C7EA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937" y="3710"/>
              <a:ext cx="74" cy="612"/>
            </a:xfrm>
            <a:prstGeom prst="rect">
              <a:avLst/>
            </a:prstGeom>
            <a:solidFill>
              <a:srgbClr val="5C00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64" name="Rectangle 54">
              <a:extLst>
                <a:ext uri="{FF2B5EF4-FFF2-40B4-BE49-F238E27FC236}">
                  <a16:creationId xmlns:a16="http://schemas.microsoft.com/office/drawing/2014/main" id="{C4DB8427-0BD7-44B5-B930-8142937BEE1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937" y="3645"/>
              <a:ext cx="49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1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Dark Magenta 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5" name="Rectangle 55">
              <a:extLst>
                <a:ext uri="{FF2B5EF4-FFF2-40B4-BE49-F238E27FC236}">
                  <a16:creationId xmlns:a16="http://schemas.microsoft.com/office/drawing/2014/main" id="{403FF67C-03C6-4F17-AD00-A14AA3972F8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937" y="3859"/>
              <a:ext cx="35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R92 G0 B92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6" name="Rectangle 56">
              <a:extLst>
                <a:ext uri="{FF2B5EF4-FFF2-40B4-BE49-F238E27FC236}">
                  <a16:creationId xmlns:a16="http://schemas.microsoft.com/office/drawing/2014/main" id="{F2BCD3B5-2477-41E8-AF9D-57250E29147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14" y="3710"/>
              <a:ext cx="74" cy="612"/>
            </a:xfrm>
            <a:prstGeom prst="rect">
              <a:avLst/>
            </a:prstGeom>
            <a:solidFill>
              <a:srgbClr val="3214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67" name="Rectangle 57">
              <a:extLst>
                <a:ext uri="{FF2B5EF4-FFF2-40B4-BE49-F238E27FC236}">
                  <a16:creationId xmlns:a16="http://schemas.microsoft.com/office/drawing/2014/main" id="{5398DC19-8697-4634-9C18-25E393FF2B5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15" y="3645"/>
              <a:ext cx="39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1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Dark Purple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8" name="Rectangle 58">
              <a:extLst>
                <a:ext uri="{FF2B5EF4-FFF2-40B4-BE49-F238E27FC236}">
                  <a16:creationId xmlns:a16="http://schemas.microsoft.com/office/drawing/2014/main" id="{A4ADCD50-4230-486B-A8B5-D939404007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14" y="3859"/>
              <a:ext cx="39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R50 G20 B90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9" name="Rectangle 59">
              <a:extLst>
                <a:ext uri="{FF2B5EF4-FFF2-40B4-BE49-F238E27FC236}">
                  <a16:creationId xmlns:a16="http://schemas.microsoft.com/office/drawing/2014/main" id="{1E3BF2FA-C979-4BEC-B444-EDE10EEA290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90" y="3060"/>
              <a:ext cx="75" cy="616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70" name="Rectangle 60">
              <a:extLst>
                <a:ext uri="{FF2B5EF4-FFF2-40B4-BE49-F238E27FC236}">
                  <a16:creationId xmlns:a16="http://schemas.microsoft.com/office/drawing/2014/main" id="{2295BCC7-8301-477B-A0A1-293458F1C6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92" y="2996"/>
              <a:ext cx="30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1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Mid Blue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71" name="Rectangle 61">
              <a:extLst>
                <a:ext uri="{FF2B5EF4-FFF2-40B4-BE49-F238E27FC236}">
                  <a16:creationId xmlns:a16="http://schemas.microsoft.com/office/drawing/2014/main" id="{169F8012-044A-4318-9D79-9BAA6CCC614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91" y="3210"/>
              <a:ext cx="39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R0 G24 B143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72" name="Rectangle 62">
              <a:extLst>
                <a:ext uri="{FF2B5EF4-FFF2-40B4-BE49-F238E27FC236}">
                  <a16:creationId xmlns:a16="http://schemas.microsoft.com/office/drawing/2014/main" id="{291EFC6A-D76F-4A0F-8ACF-3AB6CD2050A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167" y="3710"/>
              <a:ext cx="74" cy="612"/>
            </a:xfrm>
            <a:prstGeom prst="rect">
              <a:avLst/>
            </a:pr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73" name="Rectangle 63">
              <a:extLst>
                <a:ext uri="{FF2B5EF4-FFF2-40B4-BE49-F238E27FC236}">
                  <a16:creationId xmlns:a16="http://schemas.microsoft.com/office/drawing/2014/main" id="{6F6189E0-5034-4B14-853D-AF3732B19B4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167" y="3645"/>
              <a:ext cx="31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1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Dark Teal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74" name="Rectangle 64">
              <a:extLst>
                <a:ext uri="{FF2B5EF4-FFF2-40B4-BE49-F238E27FC236}">
                  <a16:creationId xmlns:a16="http://schemas.microsoft.com/office/drawing/2014/main" id="{1E619E3B-9128-414E-86D0-5AFC0211FE5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167" y="3859"/>
              <a:ext cx="35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R0 G75 B80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75" name="Rectangle 65">
              <a:extLst>
                <a:ext uri="{FF2B5EF4-FFF2-40B4-BE49-F238E27FC236}">
                  <a16:creationId xmlns:a16="http://schemas.microsoft.com/office/drawing/2014/main" id="{4A3F59EA-0A95-497D-B63F-25902341717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244" y="3710"/>
              <a:ext cx="74" cy="612"/>
            </a:xfrm>
            <a:prstGeom prst="rect">
              <a:avLst/>
            </a:prstGeom>
            <a:solidFill>
              <a:srgbClr val="004B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76" name="Rectangle 66">
              <a:extLst>
                <a:ext uri="{FF2B5EF4-FFF2-40B4-BE49-F238E27FC236}">
                  <a16:creationId xmlns:a16="http://schemas.microsoft.com/office/drawing/2014/main" id="{CA73CDA9-E286-4C42-99CA-289519B94B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245" y="3645"/>
              <a:ext cx="37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1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Dark Green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77" name="Rectangle 67">
              <a:extLst>
                <a:ext uri="{FF2B5EF4-FFF2-40B4-BE49-F238E27FC236}">
                  <a16:creationId xmlns:a16="http://schemas.microsoft.com/office/drawing/2014/main" id="{9553D276-008E-4005-A88B-83DB4C7ACCF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244" y="3859"/>
              <a:ext cx="35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R0 G75 B28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78" name="Rectangle 68">
              <a:extLst>
                <a:ext uri="{FF2B5EF4-FFF2-40B4-BE49-F238E27FC236}">
                  <a16:creationId xmlns:a16="http://schemas.microsoft.com/office/drawing/2014/main" id="{E56460FC-5B33-4139-AF70-B484699D09B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90" y="3710"/>
              <a:ext cx="75" cy="612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79" name="Rectangle 69">
              <a:extLst>
                <a:ext uri="{FF2B5EF4-FFF2-40B4-BE49-F238E27FC236}">
                  <a16:creationId xmlns:a16="http://schemas.microsoft.com/office/drawing/2014/main" id="{EDDA514F-A15A-42B2-AF82-F7A3F132EC4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93" y="3645"/>
              <a:ext cx="32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1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Dark Blue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0" name="Rectangle 70">
              <a:extLst>
                <a:ext uri="{FF2B5EF4-FFF2-40B4-BE49-F238E27FC236}">
                  <a16:creationId xmlns:a16="http://schemas.microsoft.com/office/drawing/2014/main" id="{B02C98CB-D87B-4D6C-B19C-3858D7B9D6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91" y="3859"/>
              <a:ext cx="35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R0 G32 B80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1" name="Rectangle 71">
              <a:extLst>
                <a:ext uri="{FF2B5EF4-FFF2-40B4-BE49-F238E27FC236}">
                  <a16:creationId xmlns:a16="http://schemas.microsoft.com/office/drawing/2014/main" id="{01394D66-8414-493D-9082-96F5DEB55EC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937" y="665"/>
              <a:ext cx="74" cy="901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82" name="Rectangle 72">
              <a:extLst>
                <a:ext uri="{FF2B5EF4-FFF2-40B4-BE49-F238E27FC236}">
                  <a16:creationId xmlns:a16="http://schemas.microsoft.com/office/drawing/2014/main" id="{706C9E66-33EF-4386-948A-403B903A20D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937" y="665"/>
              <a:ext cx="74" cy="901"/>
            </a:xfrm>
            <a:prstGeom prst="rect">
              <a:avLst/>
            </a:prstGeom>
            <a:noFill/>
            <a:ln w="0" cap="flat">
              <a:solidFill>
                <a:srgbClr val="BFBFB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83" name="Rectangle 73">
              <a:extLst>
                <a:ext uri="{FF2B5EF4-FFF2-40B4-BE49-F238E27FC236}">
                  <a16:creationId xmlns:a16="http://schemas.microsoft.com/office/drawing/2014/main" id="{30FED8AF-DACC-415A-B968-29D70D2472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937" y="599"/>
              <a:ext cx="30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1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Mid Gray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4" name="Rectangle 74">
              <a:extLst>
                <a:ext uri="{FF2B5EF4-FFF2-40B4-BE49-F238E27FC236}">
                  <a16:creationId xmlns:a16="http://schemas.microsoft.com/office/drawing/2014/main" id="{1EA2763B-714F-42DA-8FED-7DAD0D1C0F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937" y="813"/>
              <a:ext cx="52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R115 G115 B115 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5" name="Rectangle 75">
              <a:extLst>
                <a:ext uri="{FF2B5EF4-FFF2-40B4-BE49-F238E27FC236}">
                  <a16:creationId xmlns:a16="http://schemas.microsoft.com/office/drawing/2014/main" id="{E594967F-FA8F-4A0E-B81A-0C5E573E3BC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14" y="663"/>
              <a:ext cx="74" cy="902"/>
            </a:xfrm>
            <a:prstGeom prst="rect">
              <a:avLst/>
            </a:prstGeom>
            <a:solidFill>
              <a:srgbClr val="5252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86" name="Rectangle 76">
              <a:extLst>
                <a:ext uri="{FF2B5EF4-FFF2-40B4-BE49-F238E27FC236}">
                  <a16:creationId xmlns:a16="http://schemas.microsoft.com/office/drawing/2014/main" id="{76FE5B4B-EA72-4BAF-AEFE-4B7220E4B74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15" y="599"/>
              <a:ext cx="33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1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Dark Gray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7" name="Rectangle 77">
              <a:extLst>
                <a:ext uri="{FF2B5EF4-FFF2-40B4-BE49-F238E27FC236}">
                  <a16:creationId xmlns:a16="http://schemas.microsoft.com/office/drawing/2014/main" id="{1E5CAA7E-3F0E-441F-9071-0F6F04B82D5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15" y="813"/>
              <a:ext cx="41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R80 G80 B80 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8" name="Rectangle 78">
              <a:extLst>
                <a:ext uri="{FF2B5EF4-FFF2-40B4-BE49-F238E27FC236}">
                  <a16:creationId xmlns:a16="http://schemas.microsoft.com/office/drawing/2014/main" id="{7AE25858-263C-474D-B443-67963A2414C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90" y="663"/>
              <a:ext cx="75" cy="902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89" name="Rectangle 79">
              <a:extLst>
                <a:ext uri="{FF2B5EF4-FFF2-40B4-BE49-F238E27FC236}">
                  <a16:creationId xmlns:a16="http://schemas.microsoft.com/office/drawing/2014/main" id="{B730EDEA-B4CD-4F0F-BA4B-34D272E2C5D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90" y="599"/>
              <a:ext cx="33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1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Rich Black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0" name="Rectangle 80">
              <a:extLst>
                <a:ext uri="{FF2B5EF4-FFF2-40B4-BE49-F238E27FC236}">
                  <a16:creationId xmlns:a16="http://schemas.microsoft.com/office/drawing/2014/main" id="{5A33A50C-3B69-406D-AA71-8AA0BB3A027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92" y="813"/>
              <a:ext cx="30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R0 G0 B0 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1" name="Freeform 81">
              <a:extLst>
                <a:ext uri="{FF2B5EF4-FFF2-40B4-BE49-F238E27FC236}">
                  <a16:creationId xmlns:a16="http://schemas.microsoft.com/office/drawing/2014/main" id="{8E872D46-943B-4BF8-9225-0818EF862B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07" y="665"/>
              <a:ext cx="75" cy="901"/>
            </a:xfrm>
            <a:custGeom>
              <a:avLst/>
              <a:gdLst>
                <a:gd name="T0" fmla="*/ 0 w 75"/>
                <a:gd name="T1" fmla="*/ 0 h 901"/>
                <a:gd name="T2" fmla="*/ 52 w 75"/>
                <a:gd name="T3" fmla="*/ 0 h 901"/>
                <a:gd name="T4" fmla="*/ 75 w 75"/>
                <a:gd name="T5" fmla="*/ 424 h 901"/>
                <a:gd name="T6" fmla="*/ 75 w 75"/>
                <a:gd name="T7" fmla="*/ 901 h 901"/>
                <a:gd name="T8" fmla="*/ 0 w 75"/>
                <a:gd name="T9" fmla="*/ 901 h 901"/>
                <a:gd name="T10" fmla="*/ 0 w 75"/>
                <a:gd name="T11" fmla="*/ 0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5" h="901">
                  <a:moveTo>
                    <a:pt x="0" y="0"/>
                  </a:moveTo>
                  <a:lnTo>
                    <a:pt x="52" y="0"/>
                  </a:lnTo>
                  <a:lnTo>
                    <a:pt x="75" y="424"/>
                  </a:lnTo>
                  <a:lnTo>
                    <a:pt x="75" y="901"/>
                  </a:lnTo>
                  <a:lnTo>
                    <a:pt x="0" y="90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92" name="Freeform 82">
              <a:extLst>
                <a:ext uri="{FF2B5EF4-FFF2-40B4-BE49-F238E27FC236}">
                  <a16:creationId xmlns:a16="http://schemas.microsoft.com/office/drawing/2014/main" id="{FB133CD7-A7EC-41E4-BB0E-00133B8C12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07" y="665"/>
              <a:ext cx="75" cy="901"/>
            </a:xfrm>
            <a:custGeom>
              <a:avLst/>
              <a:gdLst>
                <a:gd name="T0" fmla="*/ 0 w 75"/>
                <a:gd name="T1" fmla="*/ 0 h 901"/>
                <a:gd name="T2" fmla="*/ 52 w 75"/>
                <a:gd name="T3" fmla="*/ 0 h 901"/>
                <a:gd name="T4" fmla="*/ 75 w 75"/>
                <a:gd name="T5" fmla="*/ 424 h 901"/>
                <a:gd name="T6" fmla="*/ 75 w 75"/>
                <a:gd name="T7" fmla="*/ 901 h 901"/>
                <a:gd name="T8" fmla="*/ 0 w 75"/>
                <a:gd name="T9" fmla="*/ 901 h 901"/>
                <a:gd name="T10" fmla="*/ 0 w 75"/>
                <a:gd name="T11" fmla="*/ 0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5" h="901">
                  <a:moveTo>
                    <a:pt x="0" y="0"/>
                  </a:moveTo>
                  <a:lnTo>
                    <a:pt x="52" y="0"/>
                  </a:lnTo>
                  <a:lnTo>
                    <a:pt x="75" y="424"/>
                  </a:lnTo>
                  <a:lnTo>
                    <a:pt x="75" y="901"/>
                  </a:lnTo>
                  <a:lnTo>
                    <a:pt x="0" y="901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0" cap="flat">
              <a:solidFill>
                <a:srgbClr val="BFBFB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93" name="Rectangle 83">
              <a:extLst>
                <a:ext uri="{FF2B5EF4-FFF2-40B4-BE49-F238E27FC236}">
                  <a16:creationId xmlns:a16="http://schemas.microsoft.com/office/drawing/2014/main" id="{93D89381-FCAD-46EA-8E1B-0623724842D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08" y="599"/>
              <a:ext cx="20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</a:rPr>
                <a:t>White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4" name="Rectangle 84">
              <a:extLst>
                <a:ext uri="{FF2B5EF4-FFF2-40B4-BE49-F238E27FC236}">
                  <a16:creationId xmlns:a16="http://schemas.microsoft.com/office/drawing/2014/main" id="{42791ACE-53B1-46C3-8043-4440AFBCDB5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06" y="813"/>
              <a:ext cx="50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</a:rPr>
                <a:t>R255 G255 B255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5" name="Freeform 85">
              <a:extLst>
                <a:ext uri="{FF2B5EF4-FFF2-40B4-BE49-F238E27FC236}">
                  <a16:creationId xmlns:a16="http://schemas.microsoft.com/office/drawing/2014/main" id="{9AE49432-C247-4705-AECC-CF1B1AC94C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1" y="665"/>
              <a:ext cx="74" cy="901"/>
            </a:xfrm>
            <a:custGeom>
              <a:avLst/>
              <a:gdLst>
                <a:gd name="T0" fmla="*/ 0 w 74"/>
                <a:gd name="T1" fmla="*/ 0 h 901"/>
                <a:gd name="T2" fmla="*/ 51 w 74"/>
                <a:gd name="T3" fmla="*/ 0 h 901"/>
                <a:gd name="T4" fmla="*/ 74 w 74"/>
                <a:gd name="T5" fmla="*/ 424 h 901"/>
                <a:gd name="T6" fmla="*/ 74 w 74"/>
                <a:gd name="T7" fmla="*/ 901 h 901"/>
                <a:gd name="T8" fmla="*/ 0 w 74"/>
                <a:gd name="T9" fmla="*/ 901 h 901"/>
                <a:gd name="T10" fmla="*/ 0 w 74"/>
                <a:gd name="T11" fmla="*/ 0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901">
                  <a:moveTo>
                    <a:pt x="0" y="0"/>
                  </a:moveTo>
                  <a:lnTo>
                    <a:pt x="51" y="0"/>
                  </a:lnTo>
                  <a:lnTo>
                    <a:pt x="74" y="424"/>
                  </a:lnTo>
                  <a:lnTo>
                    <a:pt x="74" y="901"/>
                  </a:lnTo>
                  <a:lnTo>
                    <a:pt x="0" y="90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96" name="Freeform 86">
              <a:extLst>
                <a:ext uri="{FF2B5EF4-FFF2-40B4-BE49-F238E27FC236}">
                  <a16:creationId xmlns:a16="http://schemas.microsoft.com/office/drawing/2014/main" id="{CA35A4F2-2F5C-4749-910B-5F8E14BB19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1" y="665"/>
              <a:ext cx="74" cy="901"/>
            </a:xfrm>
            <a:custGeom>
              <a:avLst/>
              <a:gdLst>
                <a:gd name="T0" fmla="*/ 0 w 74"/>
                <a:gd name="T1" fmla="*/ 0 h 901"/>
                <a:gd name="T2" fmla="*/ 51 w 74"/>
                <a:gd name="T3" fmla="*/ 0 h 901"/>
                <a:gd name="T4" fmla="*/ 74 w 74"/>
                <a:gd name="T5" fmla="*/ 424 h 901"/>
                <a:gd name="T6" fmla="*/ 74 w 74"/>
                <a:gd name="T7" fmla="*/ 901 h 901"/>
                <a:gd name="T8" fmla="*/ 0 w 74"/>
                <a:gd name="T9" fmla="*/ 901 h 901"/>
                <a:gd name="T10" fmla="*/ 0 w 74"/>
                <a:gd name="T11" fmla="*/ 0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901">
                  <a:moveTo>
                    <a:pt x="0" y="0"/>
                  </a:moveTo>
                  <a:lnTo>
                    <a:pt x="51" y="0"/>
                  </a:lnTo>
                  <a:lnTo>
                    <a:pt x="74" y="424"/>
                  </a:lnTo>
                  <a:lnTo>
                    <a:pt x="74" y="901"/>
                  </a:lnTo>
                  <a:lnTo>
                    <a:pt x="0" y="901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0" cap="flat">
              <a:solidFill>
                <a:srgbClr val="BFBFB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97" name="Rectangle 87">
              <a:extLst>
                <a:ext uri="{FF2B5EF4-FFF2-40B4-BE49-F238E27FC236}">
                  <a16:creationId xmlns:a16="http://schemas.microsoft.com/office/drawing/2014/main" id="{BD71CF68-B42C-496A-87AA-297D916E2AB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862" y="599"/>
              <a:ext cx="15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</a:rPr>
                <a:t>Gray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8" name="Rectangle 88">
              <a:extLst>
                <a:ext uri="{FF2B5EF4-FFF2-40B4-BE49-F238E27FC236}">
                  <a16:creationId xmlns:a16="http://schemas.microsoft.com/office/drawing/2014/main" id="{628C490C-5474-41E2-8C05-B47FBB069D8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861" y="813"/>
              <a:ext cx="52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</a:rPr>
                <a:t>R210 G210 B210 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9" name="Freeform 89">
              <a:extLst>
                <a:ext uri="{FF2B5EF4-FFF2-40B4-BE49-F238E27FC236}">
                  <a16:creationId xmlns:a16="http://schemas.microsoft.com/office/drawing/2014/main" id="{11AB950C-B113-4DBC-87DF-C2B46F9102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84" y="665"/>
              <a:ext cx="74" cy="901"/>
            </a:xfrm>
            <a:custGeom>
              <a:avLst/>
              <a:gdLst>
                <a:gd name="T0" fmla="*/ 0 w 74"/>
                <a:gd name="T1" fmla="*/ 0 h 901"/>
                <a:gd name="T2" fmla="*/ 52 w 74"/>
                <a:gd name="T3" fmla="*/ 0 h 901"/>
                <a:gd name="T4" fmla="*/ 74 w 74"/>
                <a:gd name="T5" fmla="*/ 424 h 901"/>
                <a:gd name="T6" fmla="*/ 74 w 74"/>
                <a:gd name="T7" fmla="*/ 901 h 901"/>
                <a:gd name="T8" fmla="*/ 0 w 74"/>
                <a:gd name="T9" fmla="*/ 901 h 901"/>
                <a:gd name="T10" fmla="*/ 0 w 74"/>
                <a:gd name="T11" fmla="*/ 0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901">
                  <a:moveTo>
                    <a:pt x="0" y="0"/>
                  </a:moveTo>
                  <a:lnTo>
                    <a:pt x="52" y="0"/>
                  </a:lnTo>
                  <a:lnTo>
                    <a:pt x="74" y="424"/>
                  </a:lnTo>
                  <a:lnTo>
                    <a:pt x="74" y="901"/>
                  </a:lnTo>
                  <a:lnTo>
                    <a:pt x="0" y="90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200" name="Freeform 90">
              <a:extLst>
                <a:ext uri="{FF2B5EF4-FFF2-40B4-BE49-F238E27FC236}">
                  <a16:creationId xmlns:a16="http://schemas.microsoft.com/office/drawing/2014/main" id="{5611C70C-CCE1-40B1-AA32-303E4D23C2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84" y="665"/>
              <a:ext cx="74" cy="901"/>
            </a:xfrm>
            <a:custGeom>
              <a:avLst/>
              <a:gdLst>
                <a:gd name="T0" fmla="*/ 0 w 74"/>
                <a:gd name="T1" fmla="*/ 0 h 901"/>
                <a:gd name="T2" fmla="*/ 52 w 74"/>
                <a:gd name="T3" fmla="*/ 0 h 901"/>
                <a:gd name="T4" fmla="*/ 74 w 74"/>
                <a:gd name="T5" fmla="*/ 424 h 901"/>
                <a:gd name="T6" fmla="*/ 74 w 74"/>
                <a:gd name="T7" fmla="*/ 901 h 901"/>
                <a:gd name="T8" fmla="*/ 0 w 74"/>
                <a:gd name="T9" fmla="*/ 901 h 901"/>
                <a:gd name="T10" fmla="*/ 0 w 74"/>
                <a:gd name="T11" fmla="*/ 0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901">
                  <a:moveTo>
                    <a:pt x="0" y="0"/>
                  </a:moveTo>
                  <a:lnTo>
                    <a:pt x="52" y="0"/>
                  </a:lnTo>
                  <a:lnTo>
                    <a:pt x="74" y="424"/>
                  </a:lnTo>
                  <a:lnTo>
                    <a:pt x="74" y="901"/>
                  </a:lnTo>
                  <a:lnTo>
                    <a:pt x="0" y="901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0" cap="flat">
              <a:solidFill>
                <a:srgbClr val="BFBFB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201" name="Rectangle 91">
              <a:extLst>
                <a:ext uri="{FF2B5EF4-FFF2-40B4-BE49-F238E27FC236}">
                  <a16:creationId xmlns:a16="http://schemas.microsoft.com/office/drawing/2014/main" id="{C4C8A152-203C-400E-A896-886B60D0BDA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85" y="599"/>
              <a:ext cx="34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</a:rPr>
                <a:t>Light Gray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2" name="Rectangle 92">
              <a:extLst>
                <a:ext uri="{FF2B5EF4-FFF2-40B4-BE49-F238E27FC236}">
                  <a16:creationId xmlns:a16="http://schemas.microsoft.com/office/drawing/2014/main" id="{01BC7507-B885-40D9-8FAB-18D1F48E373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83" y="813"/>
              <a:ext cx="50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</a:rPr>
                <a:t>R230 G230 B230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3" name="Rectangle 93">
              <a:extLst>
                <a:ext uri="{FF2B5EF4-FFF2-40B4-BE49-F238E27FC236}">
                  <a16:creationId xmlns:a16="http://schemas.microsoft.com/office/drawing/2014/main" id="{82369729-0EC7-4A01-B332-0CCE1377782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167" y="663"/>
              <a:ext cx="74" cy="902"/>
            </a:xfrm>
            <a:prstGeom prst="rect">
              <a:avLst/>
            </a:prstGeom>
            <a:solidFill>
              <a:srgbClr val="1A1A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204" name="Rectangle 94">
              <a:extLst>
                <a:ext uri="{FF2B5EF4-FFF2-40B4-BE49-F238E27FC236}">
                  <a16:creationId xmlns:a16="http://schemas.microsoft.com/office/drawing/2014/main" id="{EEC85966-2BA8-4826-9ECA-0BDB2F31097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168" y="599"/>
              <a:ext cx="35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1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Soft Black 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5" name="Rectangle 95">
              <a:extLst>
                <a:ext uri="{FF2B5EF4-FFF2-40B4-BE49-F238E27FC236}">
                  <a16:creationId xmlns:a16="http://schemas.microsoft.com/office/drawing/2014/main" id="{84539ABE-435E-468C-8420-4B004EC87AB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188" y="599"/>
              <a:ext cx="26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1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for Text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6" name="Rectangle 96">
              <a:extLst>
                <a:ext uri="{FF2B5EF4-FFF2-40B4-BE49-F238E27FC236}">
                  <a16:creationId xmlns:a16="http://schemas.microsoft.com/office/drawing/2014/main" id="{00F8AE04-89E5-43E8-BD77-E282DA5AA12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168" y="813"/>
              <a:ext cx="41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R26 G26 B26 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7" name="Rectangle 97">
              <a:extLst>
                <a:ext uri="{FF2B5EF4-FFF2-40B4-BE49-F238E27FC236}">
                  <a16:creationId xmlns:a16="http://schemas.microsoft.com/office/drawing/2014/main" id="{01B5F8DD-869A-4576-9049-69B6307F078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244" y="663"/>
              <a:ext cx="74" cy="902"/>
            </a:xfrm>
            <a:prstGeom prst="rect">
              <a:avLst/>
            </a:prstGeom>
            <a:solidFill>
              <a:srgbClr val="0D0D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208" name="Rectangle 98">
              <a:extLst>
                <a:ext uri="{FF2B5EF4-FFF2-40B4-BE49-F238E27FC236}">
                  <a16:creationId xmlns:a16="http://schemas.microsoft.com/office/drawing/2014/main" id="{2D39A6DF-401E-4CDE-9BF3-3AA2D92DC56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245" y="599"/>
              <a:ext cx="35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1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Soft Black 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9" name="Rectangle 99">
              <a:extLst>
                <a:ext uri="{FF2B5EF4-FFF2-40B4-BE49-F238E27FC236}">
                  <a16:creationId xmlns:a16="http://schemas.microsoft.com/office/drawing/2014/main" id="{C9B60846-A995-4598-87A6-AB7BF39DD69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263" y="599"/>
              <a:ext cx="54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1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for Backgrounds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10" name="Rectangle 100">
              <a:extLst>
                <a:ext uri="{FF2B5EF4-FFF2-40B4-BE49-F238E27FC236}">
                  <a16:creationId xmlns:a16="http://schemas.microsoft.com/office/drawing/2014/main" id="{12B46831-6215-4F95-AE54-24484B0ADEE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245" y="813"/>
              <a:ext cx="45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418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R13 G130 B13 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11" name="Rectangle 101">
              <a:extLst>
                <a:ext uri="{FF2B5EF4-FFF2-40B4-BE49-F238E27FC236}">
                  <a16:creationId xmlns:a16="http://schemas.microsoft.com/office/drawing/2014/main" id="{D7DCC1F0-0FC2-4933-A318-9E1CA4A02E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167" y="83"/>
              <a:ext cx="25" cy="383"/>
            </a:xfrm>
            <a:prstGeom prst="rect">
              <a:avLst/>
            </a:prstGeom>
            <a:solidFill>
              <a:srgbClr val="1A1A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212" name="Rectangle 102">
              <a:extLst>
                <a:ext uri="{FF2B5EF4-FFF2-40B4-BE49-F238E27FC236}">
                  <a16:creationId xmlns:a16="http://schemas.microsoft.com/office/drawing/2014/main" id="{C13B05E6-A8E5-4C0C-A32D-7F3F7DEEE01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245" y="75"/>
              <a:ext cx="71" cy="398"/>
            </a:xfrm>
            <a:prstGeom prst="rect">
              <a:avLst/>
            </a:prstGeom>
            <a:solidFill>
              <a:srgbClr val="1A1A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</p:grpSp>
      <p:pic>
        <p:nvPicPr>
          <p:cNvPr id="109" name="Picture 108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05" y="405036"/>
            <a:ext cx="2571998" cy="305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0303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68" r:id="rId1"/>
    <p:sldLayoutId id="2147485669" r:id="rId2"/>
    <p:sldLayoutId id="2147485670" r:id="rId3"/>
    <p:sldLayoutId id="2147485671" r:id="rId4"/>
    <p:sldLayoutId id="2147485672" r:id="rId5"/>
    <p:sldLayoutId id="2147485673" r:id="rId6"/>
    <p:sldLayoutId id="2147485674" r:id="rId7"/>
    <p:sldLayoutId id="2147485675" r:id="rId8"/>
    <p:sldLayoutId id="2147485676" r:id="rId9"/>
    <p:sldLayoutId id="2147485677" r:id="rId10"/>
    <p:sldLayoutId id="2147485678" r:id="rId11"/>
  </p:sldLayoutIdLst>
  <p:txStyles>
    <p:titleStyle>
      <a:lvl1pPr algn="l" defTabSz="1243192" rtl="0" eaLnBrk="1" latinLnBrk="0" hangingPunct="1">
        <a:spcBef>
          <a:spcPct val="0"/>
        </a:spcBef>
        <a:buNone/>
        <a:defRPr sz="3806" b="0" kern="1200">
          <a:solidFill>
            <a:schemeClr val="accent4"/>
          </a:solidFill>
          <a:latin typeface="Segoe Light" pitchFamily="34" charset="0"/>
          <a:ea typeface="+mj-ea"/>
          <a:cs typeface="+mj-cs"/>
        </a:defRPr>
      </a:lvl1pPr>
    </p:titleStyle>
    <p:bodyStyle>
      <a:lvl1pPr marL="0" indent="0" algn="l" defTabSz="1243192" rtl="0" eaLnBrk="1" latinLnBrk="0" hangingPunct="1">
        <a:spcBef>
          <a:spcPts val="1632"/>
        </a:spcBef>
        <a:buFont typeface="Arial" pitchFamily="34" charset="0"/>
        <a:buNone/>
        <a:defRPr sz="2040" b="0" kern="1200">
          <a:solidFill>
            <a:schemeClr val="tx1"/>
          </a:solidFill>
          <a:latin typeface="Segoe Light" pitchFamily="34" charset="0"/>
          <a:ea typeface="+mn-ea"/>
          <a:cs typeface="+mn-cs"/>
        </a:defRPr>
      </a:lvl1pPr>
      <a:lvl2pPr marL="0" indent="0" algn="l" defTabSz="1243192" rtl="0" eaLnBrk="1" latinLnBrk="0" hangingPunct="1">
        <a:spcBef>
          <a:spcPts val="1632"/>
        </a:spcBef>
        <a:buFont typeface="Arial" pitchFamily="34" charset="0"/>
        <a:buNone/>
        <a:defRPr sz="2040" kern="1200">
          <a:solidFill>
            <a:schemeClr val="accent4"/>
          </a:solidFill>
          <a:latin typeface="Segoe Light" panose="020B0302040504020203" pitchFamily="34" charset="0"/>
          <a:ea typeface="+mn-ea"/>
          <a:cs typeface="+mn-cs"/>
        </a:defRPr>
      </a:lvl2pPr>
      <a:lvl3pPr marL="0" indent="0" algn="l" defTabSz="1243192" rtl="0" eaLnBrk="1" latinLnBrk="0" hangingPunct="1">
        <a:spcBef>
          <a:spcPts val="816"/>
        </a:spcBef>
        <a:buClr>
          <a:schemeClr val="bg2"/>
        </a:buClr>
        <a:buFont typeface="PingFangSC-Regular" charset="-122"/>
        <a:buNone/>
        <a:defRPr sz="1632" kern="1200">
          <a:solidFill>
            <a:schemeClr val="tx1"/>
          </a:solidFill>
          <a:latin typeface="Segoe Light" panose="020B0302040504020203" pitchFamily="34" charset="0"/>
          <a:ea typeface="+mn-ea"/>
          <a:cs typeface="+mn-cs"/>
        </a:defRPr>
      </a:lvl3pPr>
      <a:lvl4pPr marL="271954" indent="-271954" algn="l" defTabSz="1243192" rtl="0" eaLnBrk="1" latinLnBrk="0" hangingPunct="1">
        <a:spcBef>
          <a:spcPts val="816"/>
        </a:spcBef>
        <a:buClr>
          <a:schemeClr val="accent4"/>
        </a:buClr>
        <a:buFont typeface="Arial" pitchFamily="34" charset="0"/>
        <a:buChar char="•"/>
        <a:tabLst>
          <a:tab pos="271954" algn="l"/>
        </a:tabLst>
        <a:defRPr sz="1632" kern="1200">
          <a:solidFill>
            <a:schemeClr val="tx1"/>
          </a:solidFill>
          <a:latin typeface="Segoe Light" panose="020B0302040504020203" pitchFamily="34" charset="0"/>
          <a:ea typeface="+mn-ea"/>
          <a:cs typeface="+mn-cs"/>
        </a:defRPr>
      </a:lvl4pPr>
      <a:lvl5pPr marL="0" indent="0" algn="l" defTabSz="1221609" rtl="0" eaLnBrk="1" latinLnBrk="0" hangingPunct="1">
        <a:spcBef>
          <a:spcPts val="1836"/>
        </a:spcBef>
        <a:buClr>
          <a:schemeClr val="bg2"/>
        </a:buClr>
        <a:buFont typeface="Arial" pitchFamily="34" charset="0"/>
        <a:buNone/>
        <a:defRPr sz="1632" kern="1200">
          <a:solidFill>
            <a:schemeClr val="accent4"/>
          </a:solidFill>
          <a:latin typeface="Segoe" pitchFamily="34" charset="0"/>
          <a:ea typeface="+mn-ea"/>
          <a:cs typeface="+mn-cs"/>
        </a:defRPr>
      </a:lvl5pPr>
      <a:lvl6pPr marL="3418778" indent="-310797" algn="l" defTabSz="1243192" rtl="0" eaLnBrk="1" latinLnBrk="0" hangingPunct="1">
        <a:spcBef>
          <a:spcPct val="20000"/>
        </a:spcBef>
        <a:buFont typeface="Arial" pitchFamily="34" charset="0"/>
        <a:buChar char="•"/>
        <a:defRPr sz="2719" kern="1200">
          <a:solidFill>
            <a:schemeClr val="tx1"/>
          </a:solidFill>
          <a:latin typeface="+mn-lt"/>
          <a:ea typeface="+mn-ea"/>
          <a:cs typeface="+mn-cs"/>
        </a:defRPr>
      </a:lvl6pPr>
      <a:lvl7pPr marL="4040375" indent="-310797" algn="l" defTabSz="1243192" rtl="0" eaLnBrk="1" latinLnBrk="0" hangingPunct="1">
        <a:spcBef>
          <a:spcPct val="20000"/>
        </a:spcBef>
        <a:buFont typeface="Arial" pitchFamily="34" charset="0"/>
        <a:buChar char="•"/>
        <a:defRPr sz="2719" kern="1200">
          <a:solidFill>
            <a:schemeClr val="tx1"/>
          </a:solidFill>
          <a:latin typeface="+mn-lt"/>
          <a:ea typeface="+mn-ea"/>
          <a:cs typeface="+mn-cs"/>
        </a:defRPr>
      </a:lvl7pPr>
      <a:lvl8pPr marL="4661972" indent="-310797" algn="l" defTabSz="1243192" rtl="0" eaLnBrk="1" latinLnBrk="0" hangingPunct="1">
        <a:spcBef>
          <a:spcPct val="20000"/>
        </a:spcBef>
        <a:buFont typeface="Arial" pitchFamily="34" charset="0"/>
        <a:buChar char="•"/>
        <a:defRPr sz="2719" kern="1200">
          <a:solidFill>
            <a:schemeClr val="tx1"/>
          </a:solidFill>
          <a:latin typeface="+mn-lt"/>
          <a:ea typeface="+mn-ea"/>
          <a:cs typeface="+mn-cs"/>
        </a:defRPr>
      </a:lvl8pPr>
      <a:lvl9pPr marL="5283566" indent="-310797" algn="l" defTabSz="1243192" rtl="0" eaLnBrk="1" latinLnBrk="0" hangingPunct="1">
        <a:spcBef>
          <a:spcPct val="20000"/>
        </a:spcBef>
        <a:buFont typeface="Arial" pitchFamily="34" charset="0"/>
        <a:buChar char="•"/>
        <a:defRPr sz="271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43192" rtl="0" eaLnBrk="1" latinLnBrk="0" hangingPunct="1">
        <a:defRPr sz="2448" kern="1200">
          <a:solidFill>
            <a:schemeClr val="tx1"/>
          </a:solidFill>
          <a:latin typeface="+mn-lt"/>
          <a:ea typeface="+mn-ea"/>
          <a:cs typeface="+mn-cs"/>
        </a:defRPr>
      </a:lvl1pPr>
      <a:lvl2pPr marL="621596" algn="l" defTabSz="1243192" rtl="0" eaLnBrk="1" latinLnBrk="0" hangingPunct="1">
        <a:defRPr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243192" algn="l" defTabSz="1243192" rtl="0" eaLnBrk="1" latinLnBrk="0" hangingPunct="1">
        <a:defRPr sz="2448" kern="1200">
          <a:solidFill>
            <a:schemeClr val="tx1"/>
          </a:solidFill>
          <a:latin typeface="+mn-lt"/>
          <a:ea typeface="+mn-ea"/>
          <a:cs typeface="+mn-cs"/>
        </a:defRPr>
      </a:lvl3pPr>
      <a:lvl4pPr marL="1864788" algn="l" defTabSz="1243192" rtl="0" eaLnBrk="1" latinLnBrk="0" hangingPunct="1">
        <a:defRPr sz="2448" kern="1200">
          <a:solidFill>
            <a:schemeClr val="tx1"/>
          </a:solidFill>
          <a:latin typeface="+mn-lt"/>
          <a:ea typeface="+mn-ea"/>
          <a:cs typeface="+mn-cs"/>
        </a:defRPr>
      </a:lvl4pPr>
      <a:lvl5pPr marL="2486385" algn="l" defTabSz="1243192" rtl="0" eaLnBrk="1" latinLnBrk="0" hangingPunct="1">
        <a:defRPr sz="2448" kern="1200">
          <a:solidFill>
            <a:schemeClr val="tx1"/>
          </a:solidFill>
          <a:latin typeface="+mn-lt"/>
          <a:ea typeface="+mn-ea"/>
          <a:cs typeface="+mn-cs"/>
        </a:defRPr>
      </a:lvl5pPr>
      <a:lvl6pPr marL="3107981" algn="l" defTabSz="1243192" rtl="0" eaLnBrk="1" latinLnBrk="0" hangingPunct="1">
        <a:defRPr sz="2448" kern="1200">
          <a:solidFill>
            <a:schemeClr val="tx1"/>
          </a:solidFill>
          <a:latin typeface="+mn-lt"/>
          <a:ea typeface="+mn-ea"/>
          <a:cs typeface="+mn-cs"/>
        </a:defRPr>
      </a:lvl6pPr>
      <a:lvl7pPr marL="3729576" algn="l" defTabSz="1243192" rtl="0" eaLnBrk="1" latinLnBrk="0" hangingPunct="1">
        <a:defRPr sz="2448" kern="1200">
          <a:solidFill>
            <a:schemeClr val="tx1"/>
          </a:solidFill>
          <a:latin typeface="+mn-lt"/>
          <a:ea typeface="+mn-ea"/>
          <a:cs typeface="+mn-cs"/>
        </a:defRPr>
      </a:lvl7pPr>
      <a:lvl8pPr marL="4351172" algn="l" defTabSz="1243192" rtl="0" eaLnBrk="1" latinLnBrk="0" hangingPunct="1">
        <a:defRPr sz="2448" kern="1200">
          <a:solidFill>
            <a:schemeClr val="tx1"/>
          </a:solidFill>
          <a:latin typeface="+mn-lt"/>
          <a:ea typeface="+mn-ea"/>
          <a:cs typeface="+mn-cs"/>
        </a:defRPr>
      </a:lvl8pPr>
      <a:lvl9pPr marL="4972769" algn="l" defTabSz="1243192" rtl="0" eaLnBrk="1" latinLnBrk="0" hangingPunct="1">
        <a:defRPr sz="24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7378">
          <p15:clr>
            <a:srgbClr val="F26B43"/>
          </p15:clr>
        </p15:guide>
        <p15:guide id="3" pos="3840">
          <p15:clr>
            <a:srgbClr val="F26B43"/>
          </p15:clr>
        </p15:guide>
        <p15:guide id="4" pos="4067">
          <p15:clr>
            <a:srgbClr val="F26B43"/>
          </p15:clr>
        </p15:guide>
        <p15:guide id="5" pos="2525">
          <p15:clr>
            <a:srgbClr val="F26B43"/>
          </p15:clr>
        </p15:guide>
        <p15:guide id="6" pos="2751">
          <p15:clr>
            <a:srgbClr val="F26B43"/>
          </p15:clr>
        </p15:guide>
        <p15:guide id="8" pos="3613">
          <p15:clr>
            <a:srgbClr val="F26B43"/>
          </p15:clr>
        </p15:guide>
        <p15:guide id="9" orient="horz" pos="278">
          <p15:clr>
            <a:srgbClr val="F26B43"/>
          </p15:clr>
        </p15:guide>
        <p15:guide id="10" orient="horz" pos="1253">
          <p15:clr>
            <a:srgbClr val="F26B43"/>
          </p15:clr>
        </p15:guide>
        <p15:guide id="11" orient="horz" pos="2460">
          <p15:clr>
            <a:srgbClr val="F26B43"/>
          </p15:clr>
        </p15:guide>
        <p15:guide id="12" orient="horz" pos="3748">
          <p15:clr>
            <a:srgbClr val="F26B43"/>
          </p15:clr>
        </p15:guide>
        <p15:guide id="13" orient="horz" pos="3929">
          <p15:clr>
            <a:srgbClr val="F26B43"/>
          </p15:clr>
        </p15:guide>
        <p15:guide id="14" pos="4906">
          <p15:clr>
            <a:srgbClr val="F26B43"/>
          </p15:clr>
        </p15:guide>
        <p15:guide id="15" pos="5133">
          <p15:clr>
            <a:srgbClr val="F26B43"/>
          </p15:clr>
        </p15:guide>
        <p15:guide id="16" pos="302">
          <p15:clr>
            <a:srgbClr val="F26B43"/>
          </p15:clr>
        </p15:guide>
        <p15:guide id="17" pos="402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29662" y="233152"/>
            <a:ext cx="11375536" cy="76278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31280" y="1476622"/>
            <a:ext cx="11378776" cy="493347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81342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41" r:id="rId1"/>
    <p:sldLayoutId id="2147485742" r:id="rId2"/>
    <p:sldLayoutId id="2147485743" r:id="rId3"/>
    <p:sldLayoutId id="2147485744" r:id="rId4"/>
    <p:sldLayoutId id="2147485745" r:id="rId5"/>
    <p:sldLayoutId id="2147485746" r:id="rId6"/>
    <p:sldLayoutId id="2147485747" r:id="rId7"/>
    <p:sldLayoutId id="2147485748" r:id="rId8"/>
    <p:sldLayoutId id="2147485749" r:id="rId9"/>
    <p:sldLayoutId id="2147485750" r:id="rId10"/>
    <p:sldLayoutId id="2147485751" r:id="rId11"/>
    <p:sldLayoutId id="2147485752" r:id="rId12"/>
    <p:sldLayoutId id="2147485753" r:id="rId13"/>
  </p:sldLayoutIdLst>
  <p:transition>
    <p:fade/>
  </p:transition>
  <p:txStyles>
    <p:titleStyle>
      <a:lvl1pPr algn="l" defTabSz="932380" rtl="0" eaLnBrk="1" latinLnBrk="0" hangingPunct="1">
        <a:lnSpc>
          <a:spcPct val="90000"/>
        </a:lnSpc>
        <a:spcBef>
          <a:spcPct val="0"/>
        </a:spcBef>
        <a:buNone/>
        <a:defRPr lang="en-US" sz="5506" b="0" kern="1200" cap="none" spc="-102" baseline="0" dirty="0" smtClean="0">
          <a:ln w="3175">
            <a:noFill/>
          </a:ln>
          <a:gradFill>
            <a:gsLst>
              <a:gs pos="1250">
                <a:schemeClr val="tx2"/>
              </a:gs>
              <a:gs pos="100000">
                <a:schemeClr val="tx2"/>
              </a:gs>
            </a:gsLst>
            <a:lin ang="5400000" scaled="0"/>
          </a:gradFill>
          <a:effectLst/>
          <a:latin typeface="+mj-lt"/>
          <a:ea typeface="+mn-ea"/>
          <a:cs typeface="Arial" charset="0"/>
        </a:defRPr>
      </a:lvl1pPr>
    </p:titleStyle>
    <p:bodyStyle>
      <a:lvl1pPr marL="346419" marR="0" indent="-346419" algn="l" defTabSz="93238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80000"/>
        <a:buFont typeface="Arial" pitchFamily="34" charset="0"/>
        <a:buChar char="•"/>
        <a:tabLst/>
        <a:defRPr sz="3672" kern="1200" spc="-71" baseline="0">
          <a:solidFill>
            <a:schemeClr val="tx2"/>
          </a:solidFill>
          <a:latin typeface="+mj-lt"/>
          <a:ea typeface="+mn-ea"/>
          <a:cs typeface="+mn-cs"/>
        </a:defRPr>
      </a:lvl1pPr>
      <a:lvl2pPr marL="584380" marR="0" indent="-237961" algn="l" defTabSz="93238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/>
        <a:defRPr sz="2448" kern="1200" spc="0" baseline="0">
          <a:solidFill>
            <a:schemeClr val="tx2"/>
          </a:solidFill>
          <a:latin typeface="+mn-lt"/>
          <a:ea typeface="+mn-ea"/>
          <a:cs typeface="+mn-cs"/>
        </a:defRPr>
      </a:lvl2pPr>
      <a:lvl3pPr marL="814246" marR="0" indent="-229867" algn="l" defTabSz="93238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>
          <a:tab pos="814246" algn="l"/>
        </a:tabLst>
        <a:defRPr sz="2448" kern="1200" spc="0" baseline="0">
          <a:solidFill>
            <a:schemeClr val="tx2"/>
          </a:solidFill>
          <a:latin typeface="+mn-lt"/>
          <a:ea typeface="+mn-ea"/>
          <a:cs typeface="+mn-cs"/>
        </a:defRPr>
      </a:lvl3pPr>
      <a:lvl4pPr marL="1050589" marR="0" indent="-236341" algn="l" defTabSz="93238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/>
        <a:defRPr sz="2040" kern="1200" spc="0" baseline="0">
          <a:solidFill>
            <a:schemeClr val="tx2"/>
          </a:solidFill>
          <a:latin typeface="+mn-lt"/>
          <a:ea typeface="+mn-ea"/>
          <a:cs typeface="+mn-cs"/>
        </a:defRPr>
      </a:lvl4pPr>
      <a:lvl5pPr marL="1280456" marR="0" indent="-229867" algn="l" defTabSz="932380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>
          <a:tab pos="1280456" algn="l"/>
        </a:tabLst>
        <a:defRPr sz="2040" kern="1200" spc="0" baseline="0">
          <a:solidFill>
            <a:schemeClr val="tx2"/>
          </a:solidFill>
          <a:latin typeface="+mn-lt"/>
          <a:ea typeface="+mn-ea"/>
          <a:cs typeface="+mn-cs"/>
        </a:defRPr>
      </a:lvl5pPr>
      <a:lvl6pPr marL="2564046" indent="-233095" algn="l" defTabSz="932380" rtl="0" eaLnBrk="1" latinLnBrk="0" hangingPunct="1">
        <a:spcBef>
          <a:spcPct val="20000"/>
        </a:spcBef>
        <a:buFont typeface="Arial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6pPr>
      <a:lvl7pPr marL="3030235" indent="-233095" algn="l" defTabSz="932380" rtl="0" eaLnBrk="1" latinLnBrk="0" hangingPunct="1">
        <a:spcBef>
          <a:spcPct val="20000"/>
        </a:spcBef>
        <a:buFont typeface="Arial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7pPr>
      <a:lvl8pPr marL="3496425" indent="-233095" algn="l" defTabSz="932380" rtl="0" eaLnBrk="1" latinLnBrk="0" hangingPunct="1">
        <a:spcBef>
          <a:spcPct val="20000"/>
        </a:spcBef>
        <a:buFont typeface="Arial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8pPr>
      <a:lvl9pPr marL="3962615" indent="-233095" algn="l" defTabSz="932380" rtl="0" eaLnBrk="1" latinLnBrk="0" hangingPunct="1">
        <a:spcBef>
          <a:spcPct val="20000"/>
        </a:spcBef>
        <a:buFont typeface="Arial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380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1pPr>
      <a:lvl2pPr marL="466190" algn="l" defTabSz="932380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2pPr>
      <a:lvl3pPr marL="932380" algn="l" defTabSz="932380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3pPr>
      <a:lvl4pPr marL="1398571" algn="l" defTabSz="932380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1864761" algn="l" defTabSz="932380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330951" algn="l" defTabSz="932380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2797140" algn="l" defTabSz="932380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263330" algn="l" defTabSz="932380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729520" algn="l" defTabSz="932380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40743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71" r:id="rId1"/>
    <p:sldLayoutId id="2147485772" r:id="rId2"/>
    <p:sldLayoutId id="2147485773" r:id="rId3"/>
    <p:sldLayoutId id="2147485774" r:id="rId4"/>
  </p:sldLayoutIdLst>
  <p:txStyles>
    <p:titleStyle>
      <a:lvl1pPr algn="l" defTabSz="932418" rtl="0" eaLnBrk="1" latinLnBrk="0" hangingPunct="1">
        <a:lnSpc>
          <a:spcPct val="90000"/>
        </a:lnSpc>
        <a:spcBef>
          <a:spcPct val="0"/>
        </a:spcBef>
        <a:buNone/>
        <a:defRPr sz="448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33104" indent="-233104" algn="l" defTabSz="932418" rtl="0" eaLnBrk="1" latinLnBrk="0" hangingPunct="1">
        <a:lnSpc>
          <a:spcPct val="90000"/>
        </a:lnSpc>
        <a:spcBef>
          <a:spcPts val="1020"/>
        </a:spcBef>
        <a:buFont typeface="Arial" panose="020B0604020202020204" pitchFamily="34" charset="0"/>
        <a:buChar char="•"/>
        <a:defRPr sz="2856" kern="1200">
          <a:solidFill>
            <a:schemeClr val="tx1"/>
          </a:solidFill>
          <a:latin typeface="+mn-lt"/>
          <a:ea typeface="+mn-ea"/>
          <a:cs typeface="+mn-cs"/>
        </a:defRPr>
      </a:lvl1pPr>
      <a:lvl2pPr marL="699313" indent="-233104" algn="l" defTabSz="932418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165522" indent="-233104" algn="l" defTabSz="932418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3pPr>
      <a:lvl4pPr marL="1631731" indent="-233104" algn="l" defTabSz="932418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2097939" indent="-233104" algn="l" defTabSz="932418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564149" indent="-233104" algn="l" defTabSz="932418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3030357" indent="-233104" algn="l" defTabSz="932418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496565" indent="-233104" algn="l" defTabSz="932418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962774" indent="-233104" algn="l" defTabSz="932418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41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1pPr>
      <a:lvl2pPr marL="466209" algn="l" defTabSz="93241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2pPr>
      <a:lvl3pPr marL="932418" algn="l" defTabSz="93241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3pPr>
      <a:lvl4pPr marL="1398627" algn="l" defTabSz="93241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1864835" algn="l" defTabSz="93241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331044" algn="l" defTabSz="93241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2797253" algn="l" defTabSz="93241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263461" algn="l" defTabSz="93241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729669" algn="l" defTabSz="93241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6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30832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6385580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5791" r:id="rId1"/>
    <p:sldLayoutId id="2147485792" r:id="rId2"/>
    <p:sldLayoutId id="2147485793" r:id="rId3"/>
    <p:sldLayoutId id="2147485794" r:id="rId4"/>
    <p:sldLayoutId id="2147485795" r:id="rId5"/>
    <p:sldLayoutId id="2147485796" r:id="rId6"/>
    <p:sldLayoutId id="2147485797" r:id="rId7"/>
    <p:sldLayoutId id="2147485798" r:id="rId8"/>
    <p:sldLayoutId id="2147485799" r:id="rId9"/>
    <p:sldLayoutId id="2147485800" r:id="rId10"/>
    <p:sldLayoutId id="2147485801" r:id="rId11"/>
    <p:sldLayoutId id="2147485802" r:id="rId12"/>
    <p:sldLayoutId id="2147485803" r:id="rId13"/>
    <p:sldLayoutId id="2147485804" r:id="rId14"/>
    <p:sldLayoutId id="2147485805" r:id="rId15"/>
    <p:sldLayoutId id="2147485806" r:id="rId16"/>
    <p:sldLayoutId id="2147485807" r:id="rId17"/>
    <p:sldLayoutId id="2147485808" r:id="rId18"/>
    <p:sldLayoutId id="2147485809" r:id="rId19"/>
    <p:sldLayoutId id="2147485810" r:id="rId20"/>
  </p:sldLayoutIdLst>
  <p:transition>
    <p:fade/>
  </p:transition>
  <p:hf sldNum="0" hdr="0" ftr="0" dt="0"/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557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5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57112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85669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914224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42781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2704" y="1292571"/>
            <a:ext cx="7380375" cy="113446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7138" y="2755713"/>
            <a:ext cx="7461885" cy="36708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4"/>
          </p:nvPr>
        </p:nvSpPr>
        <p:spPr>
          <a:xfrm>
            <a:off x="8312037" y="6552512"/>
            <a:ext cx="3635401" cy="44201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632">
                <a:solidFill>
                  <a:schemeClr val="tx1"/>
                </a:solidFill>
                <a:latin typeface="Segoe Light" panose="020B0302040504020203" pitchFamily="34" charset="0"/>
              </a:defRPr>
            </a:lvl1pPr>
          </a:lstStyle>
          <a:p>
            <a:fld id="{FDA2A82E-E5A3-46CC-8E54-690864029CA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46E96DB-2746-4624-AA32-B716D9AD1E2A}"/>
              </a:ext>
            </a:extLst>
          </p:cNvPr>
          <p:cNvSpPr/>
          <p:nvPr userDrawn="1"/>
        </p:nvSpPr>
        <p:spPr>
          <a:xfrm>
            <a:off x="497138" y="6552509"/>
            <a:ext cx="1564247" cy="345294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lvl="0" algn="l"/>
            <a:r>
              <a:rPr lang="en-GB" sz="1632">
                <a:solidFill>
                  <a:schemeClr val="accent4"/>
                </a:solidFill>
                <a:latin typeface="Segoe Light" panose="020B0302040504020203" pitchFamily="34" charset="0"/>
              </a:rPr>
              <a:t>#</a:t>
            </a:r>
            <a:r>
              <a:rPr lang="en-GB" sz="1632" err="1">
                <a:solidFill>
                  <a:schemeClr val="accent4"/>
                </a:solidFill>
                <a:latin typeface="Segoe Light" panose="020B0302040504020203" pitchFamily="34" charset="0"/>
              </a:rPr>
              <a:t>MicrosoftEDU</a:t>
            </a:r>
            <a:r>
              <a:rPr lang="en-GB" sz="1632">
                <a:solidFill>
                  <a:schemeClr val="accent4"/>
                </a:solidFill>
                <a:latin typeface="Segoe Light" panose="020B0302040504020203" pitchFamily="34" charset="0"/>
              </a:rPr>
              <a:t> </a:t>
            </a:r>
          </a:p>
        </p:txBody>
      </p:sp>
      <p:grpSp>
        <p:nvGrpSpPr>
          <p:cNvPr id="113" name="Group 4">
            <a:extLst>
              <a:ext uri="{FF2B5EF4-FFF2-40B4-BE49-F238E27FC236}">
                <a16:creationId xmlns:a16="http://schemas.microsoft.com/office/drawing/2014/main" id="{34A8A01B-C3DA-481A-8B1D-616468C59B7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 rot="5400000">
            <a:off x="9997820" y="2564528"/>
            <a:ext cx="6994523" cy="1865471"/>
            <a:chOff x="7705" y="0"/>
            <a:chExt cx="613" cy="4322"/>
          </a:xfrm>
        </p:grpSpPr>
        <p:sp>
          <p:nvSpPr>
            <p:cNvPr id="114" name="AutoShape 3">
              <a:extLst>
                <a:ext uri="{FF2B5EF4-FFF2-40B4-BE49-F238E27FC236}">
                  <a16:creationId xmlns:a16="http://schemas.microsoft.com/office/drawing/2014/main" id="{7BE3E9AC-AE9C-49E9-86E9-C4C33834DAD7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7705" y="0"/>
              <a:ext cx="613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15" name="Freeform 5">
              <a:extLst>
                <a:ext uri="{FF2B5EF4-FFF2-40B4-BE49-F238E27FC236}">
                  <a16:creationId xmlns:a16="http://schemas.microsoft.com/office/drawing/2014/main" id="{8EBD57E4-909E-4868-8656-19AC460B0A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90" y="1764"/>
              <a:ext cx="75" cy="612"/>
            </a:xfrm>
            <a:custGeom>
              <a:avLst/>
              <a:gdLst>
                <a:gd name="T0" fmla="*/ 0 w 75"/>
                <a:gd name="T1" fmla="*/ 0 h 612"/>
                <a:gd name="T2" fmla="*/ 52 w 75"/>
                <a:gd name="T3" fmla="*/ 0 h 612"/>
                <a:gd name="T4" fmla="*/ 75 w 75"/>
                <a:gd name="T5" fmla="*/ 288 h 612"/>
                <a:gd name="T6" fmla="*/ 75 w 75"/>
                <a:gd name="T7" fmla="*/ 612 h 612"/>
                <a:gd name="T8" fmla="*/ 0 w 75"/>
                <a:gd name="T9" fmla="*/ 612 h 612"/>
                <a:gd name="T10" fmla="*/ 0 w 75"/>
                <a:gd name="T11" fmla="*/ 0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5" h="612">
                  <a:moveTo>
                    <a:pt x="0" y="0"/>
                  </a:moveTo>
                  <a:lnTo>
                    <a:pt x="52" y="0"/>
                  </a:lnTo>
                  <a:lnTo>
                    <a:pt x="75" y="288"/>
                  </a:lnTo>
                  <a:lnTo>
                    <a:pt x="75" y="612"/>
                  </a:lnTo>
                  <a:lnTo>
                    <a:pt x="0" y="6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E6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16" name="Rectangle 6">
              <a:extLst>
                <a:ext uri="{FF2B5EF4-FFF2-40B4-BE49-F238E27FC236}">
                  <a16:creationId xmlns:a16="http://schemas.microsoft.com/office/drawing/2014/main" id="{DF826A4B-F8EA-4C05-87DE-13D4BAA9C50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91" y="1699"/>
              <a:ext cx="33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</a:rPr>
                <a:t>Light Blue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7" name="Rectangle 7">
              <a:extLst>
                <a:ext uri="{FF2B5EF4-FFF2-40B4-BE49-F238E27FC236}">
                  <a16:creationId xmlns:a16="http://schemas.microsoft.com/office/drawing/2014/main" id="{84DFF055-8C6A-4988-B7D4-CBD950D4A4F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93" y="1913"/>
              <a:ext cx="43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</a:rPr>
                <a:t>R0 G188 B242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18" name="Rectangle 8">
              <a:extLst>
                <a:ext uri="{FF2B5EF4-FFF2-40B4-BE49-F238E27FC236}">
                  <a16:creationId xmlns:a16="http://schemas.microsoft.com/office/drawing/2014/main" id="{096FB394-322A-43D6-B6F1-B2BF751448D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244" y="2414"/>
              <a:ext cx="74" cy="1262"/>
            </a:xfrm>
            <a:prstGeom prst="rect">
              <a:avLst/>
            </a:prstGeom>
            <a:solidFill>
              <a:srgbClr val="107C1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19" name="Rectangle 9">
              <a:extLst>
                <a:ext uri="{FF2B5EF4-FFF2-40B4-BE49-F238E27FC236}">
                  <a16:creationId xmlns:a16="http://schemas.microsoft.com/office/drawing/2014/main" id="{A0B9F542-7266-40DE-AD8C-083076CD149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245" y="2302"/>
              <a:ext cx="26" cy="2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816" b="1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Green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20" name="Rectangle 10">
              <a:extLst>
                <a:ext uri="{FF2B5EF4-FFF2-40B4-BE49-F238E27FC236}">
                  <a16:creationId xmlns:a16="http://schemas.microsoft.com/office/drawing/2014/main" id="{D4E80936-6F75-48D7-8386-EDA51C2B406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246" y="2647"/>
              <a:ext cx="43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R16 G124 B16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21" name="Rectangle 11">
              <a:extLst>
                <a:ext uri="{FF2B5EF4-FFF2-40B4-BE49-F238E27FC236}">
                  <a16:creationId xmlns:a16="http://schemas.microsoft.com/office/drawing/2014/main" id="{537B0F8F-CCCF-4111-B471-0C97DA119C0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861" y="2414"/>
              <a:ext cx="74" cy="1262"/>
            </a:xfrm>
            <a:prstGeom prst="rect">
              <a:avLst/>
            </a:prstGeom>
            <a:solidFill>
              <a:srgbClr val="E81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22" name="Rectangle 12">
              <a:extLst>
                <a:ext uri="{FF2B5EF4-FFF2-40B4-BE49-F238E27FC236}">
                  <a16:creationId xmlns:a16="http://schemas.microsoft.com/office/drawing/2014/main" id="{DFC93EB3-C4E1-4716-8BCE-81F11BDDCAE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861" y="2285"/>
              <a:ext cx="19" cy="3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18" b="1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Red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23" name="Rectangle 13">
              <a:extLst>
                <a:ext uri="{FF2B5EF4-FFF2-40B4-BE49-F238E27FC236}">
                  <a16:creationId xmlns:a16="http://schemas.microsoft.com/office/drawing/2014/main" id="{F038083A-A0EF-47DE-ADE7-F00A47C0639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863" y="2694"/>
              <a:ext cx="43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R232 G17 B35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24" name="Rectangle 14">
              <a:extLst>
                <a:ext uri="{FF2B5EF4-FFF2-40B4-BE49-F238E27FC236}">
                  <a16:creationId xmlns:a16="http://schemas.microsoft.com/office/drawing/2014/main" id="{4EE11DBD-2DBF-4B05-99A2-200C6FA3791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937" y="2414"/>
              <a:ext cx="74" cy="1262"/>
            </a:xfrm>
            <a:prstGeom prst="rect">
              <a:avLst/>
            </a:prstGeom>
            <a:solidFill>
              <a:srgbClr val="B400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25" name="Rectangle 15">
              <a:extLst>
                <a:ext uri="{FF2B5EF4-FFF2-40B4-BE49-F238E27FC236}">
                  <a16:creationId xmlns:a16="http://schemas.microsoft.com/office/drawing/2014/main" id="{35FED7C3-E3C6-4EF3-BBF7-3C6079537BA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939" y="2302"/>
              <a:ext cx="39" cy="2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816" b="1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Magenta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26" name="Rectangle 16">
              <a:extLst>
                <a:ext uri="{FF2B5EF4-FFF2-40B4-BE49-F238E27FC236}">
                  <a16:creationId xmlns:a16="http://schemas.microsoft.com/office/drawing/2014/main" id="{BA4E5553-85A8-42FA-ADB7-3C04680702F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939" y="2647"/>
              <a:ext cx="43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R180 G0 B158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27" name="Rectangle 17">
              <a:extLst>
                <a:ext uri="{FF2B5EF4-FFF2-40B4-BE49-F238E27FC236}">
                  <a16:creationId xmlns:a16="http://schemas.microsoft.com/office/drawing/2014/main" id="{B4900619-4EF2-4D8D-B3A9-3E0C9C7D299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14" y="2414"/>
              <a:ext cx="74" cy="126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28" name="Rectangle 18">
              <a:extLst>
                <a:ext uri="{FF2B5EF4-FFF2-40B4-BE49-F238E27FC236}">
                  <a16:creationId xmlns:a16="http://schemas.microsoft.com/office/drawing/2014/main" id="{770B4E4A-B107-46A6-BF33-C03AFC94CD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16" y="2302"/>
              <a:ext cx="29" cy="2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816" b="1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Purple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29" name="Rectangle 19">
              <a:extLst>
                <a:ext uri="{FF2B5EF4-FFF2-40B4-BE49-F238E27FC236}">
                  <a16:creationId xmlns:a16="http://schemas.microsoft.com/office/drawing/2014/main" id="{95CAE9D4-52F3-4FA4-BBB4-4285C4ABE3E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16" y="2647"/>
              <a:ext cx="47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R134 G97 B197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0" name="Rectangle 20">
              <a:extLst>
                <a:ext uri="{FF2B5EF4-FFF2-40B4-BE49-F238E27FC236}">
                  <a16:creationId xmlns:a16="http://schemas.microsoft.com/office/drawing/2014/main" id="{CC6FB686-F513-4689-9A63-EB5093D7EEA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90" y="2414"/>
              <a:ext cx="75" cy="612"/>
            </a:xfrm>
            <a:prstGeom prst="rect">
              <a:avLst/>
            </a:prstGeom>
            <a:solidFill>
              <a:srgbClr val="0078D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31" name="Rectangle 21">
              <a:extLst>
                <a:ext uri="{FF2B5EF4-FFF2-40B4-BE49-F238E27FC236}">
                  <a16:creationId xmlns:a16="http://schemas.microsoft.com/office/drawing/2014/main" id="{B18AC1B6-2FCC-4D2F-963C-B5377F189CA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92" y="2302"/>
              <a:ext cx="19" cy="2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816" b="1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Blue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2" name="Rectangle 22">
              <a:extLst>
                <a:ext uri="{FF2B5EF4-FFF2-40B4-BE49-F238E27FC236}">
                  <a16:creationId xmlns:a16="http://schemas.microsoft.com/office/drawing/2014/main" id="{FD4C21EA-271B-4B88-9B8D-963970ACF62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93" y="2647"/>
              <a:ext cx="43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R0 G120 B212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3" name="Rectangle 23">
              <a:extLst>
                <a:ext uri="{FF2B5EF4-FFF2-40B4-BE49-F238E27FC236}">
                  <a16:creationId xmlns:a16="http://schemas.microsoft.com/office/drawing/2014/main" id="{95030978-0CCE-45A4-AA5E-399C4F90F7A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167" y="2414"/>
              <a:ext cx="74" cy="126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34" name="Rectangle 24">
              <a:extLst>
                <a:ext uri="{FF2B5EF4-FFF2-40B4-BE49-F238E27FC236}">
                  <a16:creationId xmlns:a16="http://schemas.microsoft.com/office/drawing/2014/main" id="{60E42000-FA3D-4A27-9E88-EC9B9DD6DEB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167" y="2302"/>
              <a:ext cx="18" cy="2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816" b="1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Teal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5" name="Rectangle 25">
              <a:extLst>
                <a:ext uri="{FF2B5EF4-FFF2-40B4-BE49-F238E27FC236}">
                  <a16:creationId xmlns:a16="http://schemas.microsoft.com/office/drawing/2014/main" id="{6FA7AF91-D654-4B51-B74E-AD94BA25FF6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169" y="2647"/>
              <a:ext cx="43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R0 G130 B114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6" name="Freeform 26">
              <a:extLst>
                <a:ext uri="{FF2B5EF4-FFF2-40B4-BE49-F238E27FC236}">
                  <a16:creationId xmlns:a16="http://schemas.microsoft.com/office/drawing/2014/main" id="{807A0ECF-9128-4F61-A262-82305D36B7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07" y="2436"/>
              <a:ext cx="74" cy="1240"/>
            </a:xfrm>
            <a:custGeom>
              <a:avLst/>
              <a:gdLst>
                <a:gd name="T0" fmla="*/ 0 w 74"/>
                <a:gd name="T1" fmla="*/ 0 h 1240"/>
                <a:gd name="T2" fmla="*/ 52 w 74"/>
                <a:gd name="T3" fmla="*/ 0 h 1240"/>
                <a:gd name="T4" fmla="*/ 74 w 74"/>
                <a:gd name="T5" fmla="*/ 451 h 1240"/>
                <a:gd name="T6" fmla="*/ 74 w 74"/>
                <a:gd name="T7" fmla="*/ 643 h 1240"/>
                <a:gd name="T8" fmla="*/ 74 w 74"/>
                <a:gd name="T9" fmla="*/ 1071 h 1240"/>
                <a:gd name="T10" fmla="*/ 74 w 74"/>
                <a:gd name="T11" fmla="*/ 1240 h 1240"/>
                <a:gd name="T12" fmla="*/ 0 w 74"/>
                <a:gd name="T13" fmla="*/ 1240 h 1240"/>
                <a:gd name="T14" fmla="*/ 0 w 74"/>
                <a:gd name="T15" fmla="*/ 1071 h 1240"/>
                <a:gd name="T16" fmla="*/ 0 w 74"/>
                <a:gd name="T17" fmla="*/ 193 h 1240"/>
                <a:gd name="T18" fmla="*/ 0 w 74"/>
                <a:gd name="T19" fmla="*/ 0 h 1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4" h="1240">
                  <a:moveTo>
                    <a:pt x="0" y="0"/>
                  </a:moveTo>
                  <a:lnTo>
                    <a:pt x="52" y="0"/>
                  </a:lnTo>
                  <a:lnTo>
                    <a:pt x="74" y="451"/>
                  </a:lnTo>
                  <a:lnTo>
                    <a:pt x="74" y="643"/>
                  </a:lnTo>
                  <a:lnTo>
                    <a:pt x="74" y="1071"/>
                  </a:lnTo>
                  <a:lnTo>
                    <a:pt x="74" y="1240"/>
                  </a:lnTo>
                  <a:lnTo>
                    <a:pt x="0" y="1240"/>
                  </a:lnTo>
                  <a:lnTo>
                    <a:pt x="0" y="1071"/>
                  </a:lnTo>
                  <a:lnTo>
                    <a:pt x="0" y="1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B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37" name="Rectangle 27">
              <a:extLst>
                <a:ext uri="{FF2B5EF4-FFF2-40B4-BE49-F238E27FC236}">
                  <a16:creationId xmlns:a16="http://schemas.microsoft.com/office/drawing/2014/main" id="{9469CA69-C33C-493A-B216-943301E062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07" y="2327"/>
              <a:ext cx="29" cy="2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816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</a:rPr>
                <a:t>Yellow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8" name="Rectangle 28">
              <a:extLst>
                <a:ext uri="{FF2B5EF4-FFF2-40B4-BE49-F238E27FC236}">
                  <a16:creationId xmlns:a16="http://schemas.microsoft.com/office/drawing/2014/main" id="{6078EB82-ABC1-4175-9A50-8A5187A361B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09" y="2674"/>
              <a:ext cx="43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</a:rPr>
                <a:t>R255 G185 B0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39" name="Rectangle 29">
              <a:extLst>
                <a:ext uri="{FF2B5EF4-FFF2-40B4-BE49-F238E27FC236}">
                  <a16:creationId xmlns:a16="http://schemas.microsoft.com/office/drawing/2014/main" id="{FF24CA3E-4D07-42F6-BC81-06EEEC2264B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84" y="2414"/>
              <a:ext cx="74" cy="1262"/>
            </a:xfrm>
            <a:prstGeom prst="rect">
              <a:avLst/>
            </a:prstGeom>
            <a:solidFill>
              <a:srgbClr val="D83B0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40" name="Rectangle 30">
              <a:extLst>
                <a:ext uri="{FF2B5EF4-FFF2-40B4-BE49-F238E27FC236}">
                  <a16:creationId xmlns:a16="http://schemas.microsoft.com/office/drawing/2014/main" id="{6CA31C26-D80D-48DB-9A52-7C59D52D057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84" y="2302"/>
              <a:ext cx="32" cy="2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816" b="1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Orange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41" name="Rectangle 31">
              <a:extLst>
                <a:ext uri="{FF2B5EF4-FFF2-40B4-BE49-F238E27FC236}">
                  <a16:creationId xmlns:a16="http://schemas.microsoft.com/office/drawing/2014/main" id="{D3F45C6D-B525-4E1A-B83C-04A4D19229F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84" y="2647"/>
              <a:ext cx="39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R216 G59 B1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42" name="Freeform 32">
              <a:extLst>
                <a:ext uri="{FF2B5EF4-FFF2-40B4-BE49-F238E27FC236}">
                  <a16:creationId xmlns:a16="http://schemas.microsoft.com/office/drawing/2014/main" id="{8EFD8596-48BF-4E52-B738-8D2985B4D7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07" y="1764"/>
              <a:ext cx="74" cy="612"/>
            </a:xfrm>
            <a:custGeom>
              <a:avLst/>
              <a:gdLst>
                <a:gd name="T0" fmla="*/ 0 w 74"/>
                <a:gd name="T1" fmla="*/ 0 h 612"/>
                <a:gd name="T2" fmla="*/ 52 w 74"/>
                <a:gd name="T3" fmla="*/ 0 h 612"/>
                <a:gd name="T4" fmla="*/ 74 w 74"/>
                <a:gd name="T5" fmla="*/ 288 h 612"/>
                <a:gd name="T6" fmla="*/ 74 w 74"/>
                <a:gd name="T7" fmla="*/ 612 h 612"/>
                <a:gd name="T8" fmla="*/ 0 w 74"/>
                <a:gd name="T9" fmla="*/ 612 h 612"/>
                <a:gd name="T10" fmla="*/ 0 w 74"/>
                <a:gd name="T11" fmla="*/ 0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612">
                  <a:moveTo>
                    <a:pt x="0" y="0"/>
                  </a:moveTo>
                  <a:lnTo>
                    <a:pt x="52" y="0"/>
                  </a:lnTo>
                  <a:lnTo>
                    <a:pt x="74" y="288"/>
                  </a:lnTo>
                  <a:lnTo>
                    <a:pt x="74" y="612"/>
                  </a:lnTo>
                  <a:lnTo>
                    <a:pt x="0" y="6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1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43" name="Rectangle 33">
              <a:extLst>
                <a:ext uri="{FF2B5EF4-FFF2-40B4-BE49-F238E27FC236}">
                  <a16:creationId xmlns:a16="http://schemas.microsoft.com/office/drawing/2014/main" id="{AF8E01EE-DF7A-4908-B8C2-CB74B8E3D34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07" y="1699"/>
              <a:ext cx="41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</a:rPr>
                <a:t>Light Yellow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44" name="Rectangle 34">
              <a:extLst>
                <a:ext uri="{FF2B5EF4-FFF2-40B4-BE49-F238E27FC236}">
                  <a16:creationId xmlns:a16="http://schemas.microsoft.com/office/drawing/2014/main" id="{CC6A5114-698E-4365-B3AF-FE98DB08F69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09" y="1913"/>
              <a:ext cx="43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</a:rPr>
                <a:t>R255 G241 B0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45" name="Freeform 35">
              <a:extLst>
                <a:ext uri="{FF2B5EF4-FFF2-40B4-BE49-F238E27FC236}">
                  <a16:creationId xmlns:a16="http://schemas.microsoft.com/office/drawing/2014/main" id="{3F263732-10D6-43EF-8B59-29552F448E4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84" y="1764"/>
              <a:ext cx="74" cy="612"/>
            </a:xfrm>
            <a:custGeom>
              <a:avLst/>
              <a:gdLst>
                <a:gd name="T0" fmla="*/ 0 w 74"/>
                <a:gd name="T1" fmla="*/ 0 h 612"/>
                <a:gd name="T2" fmla="*/ 52 w 74"/>
                <a:gd name="T3" fmla="*/ 0 h 612"/>
                <a:gd name="T4" fmla="*/ 74 w 74"/>
                <a:gd name="T5" fmla="*/ 288 h 612"/>
                <a:gd name="T6" fmla="*/ 74 w 74"/>
                <a:gd name="T7" fmla="*/ 612 h 612"/>
                <a:gd name="T8" fmla="*/ 0 w 74"/>
                <a:gd name="T9" fmla="*/ 612 h 612"/>
                <a:gd name="T10" fmla="*/ 0 w 74"/>
                <a:gd name="T11" fmla="*/ 0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612">
                  <a:moveTo>
                    <a:pt x="0" y="0"/>
                  </a:moveTo>
                  <a:lnTo>
                    <a:pt x="52" y="0"/>
                  </a:lnTo>
                  <a:lnTo>
                    <a:pt x="74" y="288"/>
                  </a:lnTo>
                  <a:lnTo>
                    <a:pt x="74" y="612"/>
                  </a:lnTo>
                  <a:lnTo>
                    <a:pt x="0" y="6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934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46" name="Rectangle 36">
              <a:extLst>
                <a:ext uri="{FF2B5EF4-FFF2-40B4-BE49-F238E27FC236}">
                  <a16:creationId xmlns:a16="http://schemas.microsoft.com/office/drawing/2014/main" id="{118BFFC9-11F2-42A7-9290-8043B711E92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86" y="1699"/>
              <a:ext cx="43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</a:rPr>
                <a:t>Light Orange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47" name="Rectangle 37">
              <a:extLst>
                <a:ext uri="{FF2B5EF4-FFF2-40B4-BE49-F238E27FC236}">
                  <a16:creationId xmlns:a16="http://schemas.microsoft.com/office/drawing/2014/main" id="{8D6BB2BF-EC3A-4D67-B2BA-537010BE742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86" y="1913"/>
              <a:ext cx="43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</a:rPr>
                <a:t>R255 G140 B0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48" name="Rectangle 38">
              <a:extLst>
                <a:ext uri="{FF2B5EF4-FFF2-40B4-BE49-F238E27FC236}">
                  <a16:creationId xmlns:a16="http://schemas.microsoft.com/office/drawing/2014/main" id="{82F8C8F6-8065-49DE-B102-5FFAB6EBADE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937" y="1764"/>
              <a:ext cx="74" cy="612"/>
            </a:xfrm>
            <a:prstGeom prst="rect">
              <a:avLst/>
            </a:prstGeom>
            <a:solidFill>
              <a:srgbClr val="E300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49" name="Rectangle 39">
              <a:extLst>
                <a:ext uri="{FF2B5EF4-FFF2-40B4-BE49-F238E27FC236}">
                  <a16:creationId xmlns:a16="http://schemas.microsoft.com/office/drawing/2014/main" id="{97DC0E2D-282A-41BE-8A0C-71062F35ED2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939" y="1699"/>
              <a:ext cx="48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1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Light Magenta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0" name="Rectangle 40">
              <a:extLst>
                <a:ext uri="{FF2B5EF4-FFF2-40B4-BE49-F238E27FC236}">
                  <a16:creationId xmlns:a16="http://schemas.microsoft.com/office/drawing/2014/main" id="{0C1C0FB2-6D1A-4220-BF44-82FE559DD3A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939" y="1913"/>
              <a:ext cx="43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R227 G0 B140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1" name="Freeform 41">
              <a:extLst>
                <a:ext uri="{FF2B5EF4-FFF2-40B4-BE49-F238E27FC236}">
                  <a16:creationId xmlns:a16="http://schemas.microsoft.com/office/drawing/2014/main" id="{B6013385-9526-4007-B9CA-C6A8202803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14" y="1764"/>
              <a:ext cx="74" cy="612"/>
            </a:xfrm>
            <a:custGeom>
              <a:avLst/>
              <a:gdLst>
                <a:gd name="T0" fmla="*/ 0 w 74"/>
                <a:gd name="T1" fmla="*/ 0 h 612"/>
                <a:gd name="T2" fmla="*/ 52 w 74"/>
                <a:gd name="T3" fmla="*/ 0 h 612"/>
                <a:gd name="T4" fmla="*/ 74 w 74"/>
                <a:gd name="T5" fmla="*/ 288 h 612"/>
                <a:gd name="T6" fmla="*/ 74 w 74"/>
                <a:gd name="T7" fmla="*/ 612 h 612"/>
                <a:gd name="T8" fmla="*/ 0 w 74"/>
                <a:gd name="T9" fmla="*/ 612 h 612"/>
                <a:gd name="T10" fmla="*/ 0 w 74"/>
                <a:gd name="T11" fmla="*/ 0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612">
                  <a:moveTo>
                    <a:pt x="0" y="0"/>
                  </a:moveTo>
                  <a:lnTo>
                    <a:pt x="52" y="0"/>
                  </a:lnTo>
                  <a:lnTo>
                    <a:pt x="74" y="288"/>
                  </a:lnTo>
                  <a:lnTo>
                    <a:pt x="74" y="612"/>
                  </a:lnTo>
                  <a:lnTo>
                    <a:pt x="0" y="6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4A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52" name="Rectangle 42">
              <a:extLst>
                <a:ext uri="{FF2B5EF4-FFF2-40B4-BE49-F238E27FC236}">
                  <a16:creationId xmlns:a16="http://schemas.microsoft.com/office/drawing/2014/main" id="{B452AF30-F7F0-4239-835E-B0D7806036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16" y="1699"/>
              <a:ext cx="40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</a:rPr>
                <a:t>Light Purple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3" name="Rectangle 43">
              <a:extLst>
                <a:ext uri="{FF2B5EF4-FFF2-40B4-BE49-F238E27FC236}">
                  <a16:creationId xmlns:a16="http://schemas.microsoft.com/office/drawing/2014/main" id="{3B87460E-A060-49CE-893A-713CAD7EC40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12" y="1913"/>
              <a:ext cx="50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</a:rPr>
                <a:t>R180 G160 B255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4" name="Freeform 44">
              <a:extLst>
                <a:ext uri="{FF2B5EF4-FFF2-40B4-BE49-F238E27FC236}">
                  <a16:creationId xmlns:a16="http://schemas.microsoft.com/office/drawing/2014/main" id="{E84975A6-E846-44D8-B1A0-CD417ACA38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167" y="1764"/>
              <a:ext cx="74" cy="612"/>
            </a:xfrm>
            <a:custGeom>
              <a:avLst/>
              <a:gdLst>
                <a:gd name="T0" fmla="*/ 0 w 74"/>
                <a:gd name="T1" fmla="*/ 0 h 612"/>
                <a:gd name="T2" fmla="*/ 52 w 74"/>
                <a:gd name="T3" fmla="*/ 0 h 612"/>
                <a:gd name="T4" fmla="*/ 74 w 74"/>
                <a:gd name="T5" fmla="*/ 288 h 612"/>
                <a:gd name="T6" fmla="*/ 74 w 74"/>
                <a:gd name="T7" fmla="*/ 612 h 612"/>
                <a:gd name="T8" fmla="*/ 0 w 74"/>
                <a:gd name="T9" fmla="*/ 612 h 612"/>
                <a:gd name="T10" fmla="*/ 0 w 74"/>
                <a:gd name="T11" fmla="*/ 0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612">
                  <a:moveTo>
                    <a:pt x="0" y="0"/>
                  </a:moveTo>
                  <a:lnTo>
                    <a:pt x="52" y="0"/>
                  </a:lnTo>
                  <a:lnTo>
                    <a:pt x="74" y="288"/>
                  </a:lnTo>
                  <a:lnTo>
                    <a:pt x="74" y="612"/>
                  </a:lnTo>
                  <a:lnTo>
                    <a:pt x="0" y="6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0E5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55" name="Rectangle 45">
              <a:extLst>
                <a:ext uri="{FF2B5EF4-FFF2-40B4-BE49-F238E27FC236}">
                  <a16:creationId xmlns:a16="http://schemas.microsoft.com/office/drawing/2014/main" id="{BD437D77-6AED-4F4A-84BB-AC053DED056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165" y="1699"/>
              <a:ext cx="32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</a:rPr>
                <a:t>Light Teal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6" name="Rectangle 46">
              <a:extLst>
                <a:ext uri="{FF2B5EF4-FFF2-40B4-BE49-F238E27FC236}">
                  <a16:creationId xmlns:a16="http://schemas.microsoft.com/office/drawing/2014/main" id="{943D7B58-12FA-46C3-82D6-539F159DBAB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169" y="1913"/>
              <a:ext cx="43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</a:rPr>
                <a:t>R0 G178 B148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7" name="Freeform 47">
              <a:extLst>
                <a:ext uri="{FF2B5EF4-FFF2-40B4-BE49-F238E27FC236}">
                  <a16:creationId xmlns:a16="http://schemas.microsoft.com/office/drawing/2014/main" id="{45DE2557-4C92-480A-9473-C1C9309636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44" y="1764"/>
              <a:ext cx="74" cy="612"/>
            </a:xfrm>
            <a:custGeom>
              <a:avLst/>
              <a:gdLst>
                <a:gd name="T0" fmla="*/ 0 w 74"/>
                <a:gd name="T1" fmla="*/ 0 h 612"/>
                <a:gd name="T2" fmla="*/ 52 w 74"/>
                <a:gd name="T3" fmla="*/ 0 h 612"/>
                <a:gd name="T4" fmla="*/ 74 w 74"/>
                <a:gd name="T5" fmla="*/ 288 h 612"/>
                <a:gd name="T6" fmla="*/ 74 w 74"/>
                <a:gd name="T7" fmla="*/ 612 h 612"/>
                <a:gd name="T8" fmla="*/ 0 w 74"/>
                <a:gd name="T9" fmla="*/ 612 h 612"/>
                <a:gd name="T10" fmla="*/ 0 w 74"/>
                <a:gd name="T11" fmla="*/ 0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612">
                  <a:moveTo>
                    <a:pt x="0" y="0"/>
                  </a:moveTo>
                  <a:lnTo>
                    <a:pt x="52" y="0"/>
                  </a:lnTo>
                  <a:lnTo>
                    <a:pt x="74" y="288"/>
                  </a:lnTo>
                  <a:lnTo>
                    <a:pt x="74" y="612"/>
                  </a:lnTo>
                  <a:lnTo>
                    <a:pt x="0" y="6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AD8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58" name="Rectangle 48">
              <a:extLst>
                <a:ext uri="{FF2B5EF4-FFF2-40B4-BE49-F238E27FC236}">
                  <a16:creationId xmlns:a16="http://schemas.microsoft.com/office/drawing/2014/main" id="{A696CCDC-9C5E-4F3E-829D-A8859B65D89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244" y="1699"/>
              <a:ext cx="38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</a:rPr>
                <a:t>Light Green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59" name="Rectangle 49">
              <a:extLst>
                <a:ext uri="{FF2B5EF4-FFF2-40B4-BE49-F238E27FC236}">
                  <a16:creationId xmlns:a16="http://schemas.microsoft.com/office/drawing/2014/main" id="{BFEF76DA-5605-4174-AEB6-31D8F4D7C0E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246" y="1913"/>
              <a:ext cx="47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</a:rPr>
                <a:t>R186 G216 B10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0" name="Rectangle 50">
              <a:extLst>
                <a:ext uri="{FF2B5EF4-FFF2-40B4-BE49-F238E27FC236}">
                  <a16:creationId xmlns:a16="http://schemas.microsoft.com/office/drawing/2014/main" id="{07BF1529-BEE4-434E-AA22-BFBAD0996B5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861" y="3710"/>
              <a:ext cx="74" cy="612"/>
            </a:xfrm>
            <a:prstGeom prst="rect">
              <a:avLst/>
            </a:prstGeom>
            <a:solidFill>
              <a:srgbClr val="A8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61" name="Rectangle 51">
              <a:extLst>
                <a:ext uri="{FF2B5EF4-FFF2-40B4-BE49-F238E27FC236}">
                  <a16:creationId xmlns:a16="http://schemas.microsoft.com/office/drawing/2014/main" id="{94B66710-539D-4DD3-8179-6C3CDD544D8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861" y="3646"/>
              <a:ext cx="30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1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Dark Red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2" name="Rectangle 52">
              <a:extLst>
                <a:ext uri="{FF2B5EF4-FFF2-40B4-BE49-F238E27FC236}">
                  <a16:creationId xmlns:a16="http://schemas.microsoft.com/office/drawing/2014/main" id="{C12DC9CA-A973-408B-BAE1-5F41B93E22B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861" y="3860"/>
              <a:ext cx="35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R168 G0 B0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3" name="Rectangle 53">
              <a:extLst>
                <a:ext uri="{FF2B5EF4-FFF2-40B4-BE49-F238E27FC236}">
                  <a16:creationId xmlns:a16="http://schemas.microsoft.com/office/drawing/2014/main" id="{D4EF378F-670F-4435-8AAD-9D25935C7EA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937" y="3710"/>
              <a:ext cx="74" cy="612"/>
            </a:xfrm>
            <a:prstGeom prst="rect">
              <a:avLst/>
            </a:prstGeom>
            <a:solidFill>
              <a:srgbClr val="5C00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64" name="Rectangle 54">
              <a:extLst>
                <a:ext uri="{FF2B5EF4-FFF2-40B4-BE49-F238E27FC236}">
                  <a16:creationId xmlns:a16="http://schemas.microsoft.com/office/drawing/2014/main" id="{C4DB8427-0BD7-44B5-B930-8142937BEE1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937" y="3646"/>
              <a:ext cx="49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1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Dark Magenta 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5" name="Rectangle 55">
              <a:extLst>
                <a:ext uri="{FF2B5EF4-FFF2-40B4-BE49-F238E27FC236}">
                  <a16:creationId xmlns:a16="http://schemas.microsoft.com/office/drawing/2014/main" id="{403FF67C-03C6-4F17-AD00-A14AA3972F8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937" y="3860"/>
              <a:ext cx="35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R92 G0 B92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6" name="Rectangle 56">
              <a:extLst>
                <a:ext uri="{FF2B5EF4-FFF2-40B4-BE49-F238E27FC236}">
                  <a16:creationId xmlns:a16="http://schemas.microsoft.com/office/drawing/2014/main" id="{F2BCD3B5-2477-41E8-AF9D-57250E29147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14" y="3710"/>
              <a:ext cx="74" cy="612"/>
            </a:xfrm>
            <a:prstGeom prst="rect">
              <a:avLst/>
            </a:prstGeom>
            <a:solidFill>
              <a:srgbClr val="3214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67" name="Rectangle 57">
              <a:extLst>
                <a:ext uri="{FF2B5EF4-FFF2-40B4-BE49-F238E27FC236}">
                  <a16:creationId xmlns:a16="http://schemas.microsoft.com/office/drawing/2014/main" id="{5398DC19-8697-4634-9C18-25E393FF2B5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16" y="3646"/>
              <a:ext cx="39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1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Dark Purple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8" name="Rectangle 58">
              <a:extLst>
                <a:ext uri="{FF2B5EF4-FFF2-40B4-BE49-F238E27FC236}">
                  <a16:creationId xmlns:a16="http://schemas.microsoft.com/office/drawing/2014/main" id="{A4ADCD50-4230-486B-A8B5-D939404007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14" y="3860"/>
              <a:ext cx="39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R50 G20 B90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69" name="Rectangle 59">
              <a:extLst>
                <a:ext uri="{FF2B5EF4-FFF2-40B4-BE49-F238E27FC236}">
                  <a16:creationId xmlns:a16="http://schemas.microsoft.com/office/drawing/2014/main" id="{1E3BF2FA-C979-4BEC-B444-EDE10EEA290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90" y="3060"/>
              <a:ext cx="75" cy="616"/>
            </a:xfrm>
            <a:prstGeom prst="rect">
              <a:avLst/>
            </a:prstGeom>
            <a:solidFill>
              <a:srgbClr val="0018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70" name="Rectangle 60">
              <a:extLst>
                <a:ext uri="{FF2B5EF4-FFF2-40B4-BE49-F238E27FC236}">
                  <a16:creationId xmlns:a16="http://schemas.microsoft.com/office/drawing/2014/main" id="{2295BCC7-8301-477B-A0A1-293458F1C6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93" y="2997"/>
              <a:ext cx="30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1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Mid Blue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71" name="Rectangle 61">
              <a:extLst>
                <a:ext uri="{FF2B5EF4-FFF2-40B4-BE49-F238E27FC236}">
                  <a16:creationId xmlns:a16="http://schemas.microsoft.com/office/drawing/2014/main" id="{169F8012-044A-4318-9D79-9BAA6CCC614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91" y="3211"/>
              <a:ext cx="39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R0 G24 B143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72" name="Rectangle 62">
              <a:extLst>
                <a:ext uri="{FF2B5EF4-FFF2-40B4-BE49-F238E27FC236}">
                  <a16:creationId xmlns:a16="http://schemas.microsoft.com/office/drawing/2014/main" id="{291EFC6A-D76F-4A0F-8ACF-3AB6CD2050A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167" y="3710"/>
              <a:ext cx="74" cy="612"/>
            </a:xfrm>
            <a:prstGeom prst="rect">
              <a:avLst/>
            </a:prstGeom>
            <a:solidFill>
              <a:srgbClr val="004B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73" name="Rectangle 63">
              <a:extLst>
                <a:ext uri="{FF2B5EF4-FFF2-40B4-BE49-F238E27FC236}">
                  <a16:creationId xmlns:a16="http://schemas.microsoft.com/office/drawing/2014/main" id="{6F6189E0-5034-4B14-853D-AF3732B19B4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167" y="3646"/>
              <a:ext cx="31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1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Dark Teal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74" name="Rectangle 64">
              <a:extLst>
                <a:ext uri="{FF2B5EF4-FFF2-40B4-BE49-F238E27FC236}">
                  <a16:creationId xmlns:a16="http://schemas.microsoft.com/office/drawing/2014/main" id="{1E619E3B-9128-414E-86D0-5AFC0211FE5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167" y="3860"/>
              <a:ext cx="35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R0 G75 B80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75" name="Rectangle 65">
              <a:extLst>
                <a:ext uri="{FF2B5EF4-FFF2-40B4-BE49-F238E27FC236}">
                  <a16:creationId xmlns:a16="http://schemas.microsoft.com/office/drawing/2014/main" id="{4A3F59EA-0A95-497D-B63F-25902341717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244" y="3710"/>
              <a:ext cx="74" cy="612"/>
            </a:xfrm>
            <a:prstGeom prst="rect">
              <a:avLst/>
            </a:prstGeom>
            <a:solidFill>
              <a:srgbClr val="004B1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76" name="Rectangle 66">
              <a:extLst>
                <a:ext uri="{FF2B5EF4-FFF2-40B4-BE49-F238E27FC236}">
                  <a16:creationId xmlns:a16="http://schemas.microsoft.com/office/drawing/2014/main" id="{CA73CDA9-E286-4C42-99CA-289519B94B3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246" y="3646"/>
              <a:ext cx="37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1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Dark Green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77" name="Rectangle 67">
              <a:extLst>
                <a:ext uri="{FF2B5EF4-FFF2-40B4-BE49-F238E27FC236}">
                  <a16:creationId xmlns:a16="http://schemas.microsoft.com/office/drawing/2014/main" id="{9553D276-008E-4005-A88B-83DB4C7ACCF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244" y="3860"/>
              <a:ext cx="35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R0 G75 B28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78" name="Rectangle 68">
              <a:extLst>
                <a:ext uri="{FF2B5EF4-FFF2-40B4-BE49-F238E27FC236}">
                  <a16:creationId xmlns:a16="http://schemas.microsoft.com/office/drawing/2014/main" id="{E56460FC-5B33-4139-AF70-B484699D09B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90" y="3710"/>
              <a:ext cx="75" cy="612"/>
            </a:xfrm>
            <a:prstGeom prst="rect">
              <a:avLst/>
            </a:prstGeom>
            <a:solidFill>
              <a:srgbClr val="002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79" name="Rectangle 69">
              <a:extLst>
                <a:ext uri="{FF2B5EF4-FFF2-40B4-BE49-F238E27FC236}">
                  <a16:creationId xmlns:a16="http://schemas.microsoft.com/office/drawing/2014/main" id="{EDDA514F-A15A-42B2-AF82-F7A3F132EC4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94" y="3646"/>
              <a:ext cx="32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1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Dark Blue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0" name="Rectangle 70">
              <a:extLst>
                <a:ext uri="{FF2B5EF4-FFF2-40B4-BE49-F238E27FC236}">
                  <a16:creationId xmlns:a16="http://schemas.microsoft.com/office/drawing/2014/main" id="{B02C98CB-D87B-4D6C-B19C-3858D7B9D60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91" y="3860"/>
              <a:ext cx="35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R0 G32 B80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1" name="Rectangle 71">
              <a:extLst>
                <a:ext uri="{FF2B5EF4-FFF2-40B4-BE49-F238E27FC236}">
                  <a16:creationId xmlns:a16="http://schemas.microsoft.com/office/drawing/2014/main" id="{01394D66-8414-493D-9082-96F5DEB55EC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937" y="665"/>
              <a:ext cx="74" cy="901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82" name="Rectangle 72">
              <a:extLst>
                <a:ext uri="{FF2B5EF4-FFF2-40B4-BE49-F238E27FC236}">
                  <a16:creationId xmlns:a16="http://schemas.microsoft.com/office/drawing/2014/main" id="{706C9E66-33EF-4386-948A-403B903A20D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937" y="665"/>
              <a:ext cx="74" cy="901"/>
            </a:xfrm>
            <a:prstGeom prst="rect">
              <a:avLst/>
            </a:prstGeom>
            <a:noFill/>
            <a:ln w="0" cap="flat">
              <a:solidFill>
                <a:srgbClr val="BFBFB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83" name="Rectangle 73">
              <a:extLst>
                <a:ext uri="{FF2B5EF4-FFF2-40B4-BE49-F238E27FC236}">
                  <a16:creationId xmlns:a16="http://schemas.microsoft.com/office/drawing/2014/main" id="{30FED8AF-DACC-415A-B968-29D70D24724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937" y="600"/>
              <a:ext cx="30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1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Mid Gray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4" name="Rectangle 74">
              <a:extLst>
                <a:ext uri="{FF2B5EF4-FFF2-40B4-BE49-F238E27FC236}">
                  <a16:creationId xmlns:a16="http://schemas.microsoft.com/office/drawing/2014/main" id="{1EA2763B-714F-42DA-8FED-7DAD0D1C0F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937" y="814"/>
              <a:ext cx="52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R115 G115 B115 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5" name="Rectangle 75">
              <a:extLst>
                <a:ext uri="{FF2B5EF4-FFF2-40B4-BE49-F238E27FC236}">
                  <a16:creationId xmlns:a16="http://schemas.microsoft.com/office/drawing/2014/main" id="{E594967F-FA8F-4A0E-B81A-0C5E573E3BC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14" y="663"/>
              <a:ext cx="74" cy="902"/>
            </a:xfrm>
            <a:prstGeom prst="rect">
              <a:avLst/>
            </a:prstGeom>
            <a:solidFill>
              <a:srgbClr val="5252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86" name="Rectangle 76">
              <a:extLst>
                <a:ext uri="{FF2B5EF4-FFF2-40B4-BE49-F238E27FC236}">
                  <a16:creationId xmlns:a16="http://schemas.microsoft.com/office/drawing/2014/main" id="{76FE5B4B-EA72-4BAF-AEFE-4B7220E4B74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16" y="600"/>
              <a:ext cx="33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1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Dark Gray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7" name="Rectangle 77">
              <a:extLst>
                <a:ext uri="{FF2B5EF4-FFF2-40B4-BE49-F238E27FC236}">
                  <a16:creationId xmlns:a16="http://schemas.microsoft.com/office/drawing/2014/main" id="{1E5CAA7E-3F0E-441F-9071-0F6F04B82D5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15" y="814"/>
              <a:ext cx="41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R80 G80 B80 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88" name="Rectangle 78">
              <a:extLst>
                <a:ext uri="{FF2B5EF4-FFF2-40B4-BE49-F238E27FC236}">
                  <a16:creationId xmlns:a16="http://schemas.microsoft.com/office/drawing/2014/main" id="{7AE25858-263C-474D-B443-67963A2414C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90" y="663"/>
              <a:ext cx="75" cy="902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89" name="Rectangle 79">
              <a:extLst>
                <a:ext uri="{FF2B5EF4-FFF2-40B4-BE49-F238E27FC236}">
                  <a16:creationId xmlns:a16="http://schemas.microsoft.com/office/drawing/2014/main" id="{B730EDEA-B4CD-4F0F-BA4B-34D272E2C5D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89" y="600"/>
              <a:ext cx="33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1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Rich Black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0" name="Rectangle 80">
              <a:extLst>
                <a:ext uri="{FF2B5EF4-FFF2-40B4-BE49-F238E27FC236}">
                  <a16:creationId xmlns:a16="http://schemas.microsoft.com/office/drawing/2014/main" id="{5A33A50C-3B69-406D-AA71-8AA0BB3A027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92" y="814"/>
              <a:ext cx="30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R0 G0 B0 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1" name="Freeform 81">
              <a:extLst>
                <a:ext uri="{FF2B5EF4-FFF2-40B4-BE49-F238E27FC236}">
                  <a16:creationId xmlns:a16="http://schemas.microsoft.com/office/drawing/2014/main" id="{8E872D46-943B-4BF8-9225-0818EF862B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07" y="665"/>
              <a:ext cx="75" cy="901"/>
            </a:xfrm>
            <a:custGeom>
              <a:avLst/>
              <a:gdLst>
                <a:gd name="T0" fmla="*/ 0 w 75"/>
                <a:gd name="T1" fmla="*/ 0 h 901"/>
                <a:gd name="T2" fmla="*/ 52 w 75"/>
                <a:gd name="T3" fmla="*/ 0 h 901"/>
                <a:gd name="T4" fmla="*/ 75 w 75"/>
                <a:gd name="T5" fmla="*/ 424 h 901"/>
                <a:gd name="T6" fmla="*/ 75 w 75"/>
                <a:gd name="T7" fmla="*/ 901 h 901"/>
                <a:gd name="T8" fmla="*/ 0 w 75"/>
                <a:gd name="T9" fmla="*/ 901 h 901"/>
                <a:gd name="T10" fmla="*/ 0 w 75"/>
                <a:gd name="T11" fmla="*/ 0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5" h="901">
                  <a:moveTo>
                    <a:pt x="0" y="0"/>
                  </a:moveTo>
                  <a:lnTo>
                    <a:pt x="52" y="0"/>
                  </a:lnTo>
                  <a:lnTo>
                    <a:pt x="75" y="424"/>
                  </a:lnTo>
                  <a:lnTo>
                    <a:pt x="75" y="901"/>
                  </a:lnTo>
                  <a:lnTo>
                    <a:pt x="0" y="90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92" name="Freeform 82">
              <a:extLst>
                <a:ext uri="{FF2B5EF4-FFF2-40B4-BE49-F238E27FC236}">
                  <a16:creationId xmlns:a16="http://schemas.microsoft.com/office/drawing/2014/main" id="{FB133CD7-A7EC-41E4-BB0E-00133B8C12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07" y="665"/>
              <a:ext cx="75" cy="901"/>
            </a:xfrm>
            <a:custGeom>
              <a:avLst/>
              <a:gdLst>
                <a:gd name="T0" fmla="*/ 0 w 75"/>
                <a:gd name="T1" fmla="*/ 0 h 901"/>
                <a:gd name="T2" fmla="*/ 52 w 75"/>
                <a:gd name="T3" fmla="*/ 0 h 901"/>
                <a:gd name="T4" fmla="*/ 75 w 75"/>
                <a:gd name="T5" fmla="*/ 424 h 901"/>
                <a:gd name="T6" fmla="*/ 75 w 75"/>
                <a:gd name="T7" fmla="*/ 901 h 901"/>
                <a:gd name="T8" fmla="*/ 0 w 75"/>
                <a:gd name="T9" fmla="*/ 901 h 901"/>
                <a:gd name="T10" fmla="*/ 0 w 75"/>
                <a:gd name="T11" fmla="*/ 0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5" h="901">
                  <a:moveTo>
                    <a:pt x="0" y="0"/>
                  </a:moveTo>
                  <a:lnTo>
                    <a:pt x="52" y="0"/>
                  </a:lnTo>
                  <a:lnTo>
                    <a:pt x="75" y="424"/>
                  </a:lnTo>
                  <a:lnTo>
                    <a:pt x="75" y="901"/>
                  </a:lnTo>
                  <a:lnTo>
                    <a:pt x="0" y="901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0" cap="flat">
              <a:solidFill>
                <a:srgbClr val="BFBFB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93" name="Rectangle 83">
              <a:extLst>
                <a:ext uri="{FF2B5EF4-FFF2-40B4-BE49-F238E27FC236}">
                  <a16:creationId xmlns:a16="http://schemas.microsoft.com/office/drawing/2014/main" id="{93D89381-FCAD-46EA-8E1B-0623724842D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08" y="600"/>
              <a:ext cx="20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</a:rPr>
                <a:t>White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4" name="Rectangle 84">
              <a:extLst>
                <a:ext uri="{FF2B5EF4-FFF2-40B4-BE49-F238E27FC236}">
                  <a16:creationId xmlns:a16="http://schemas.microsoft.com/office/drawing/2014/main" id="{42791ACE-53B1-46C3-8043-4440AFBCDB5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05" y="814"/>
              <a:ext cx="50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</a:rPr>
                <a:t>R255 G255 B255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5" name="Freeform 85">
              <a:extLst>
                <a:ext uri="{FF2B5EF4-FFF2-40B4-BE49-F238E27FC236}">
                  <a16:creationId xmlns:a16="http://schemas.microsoft.com/office/drawing/2014/main" id="{9AE49432-C247-4705-AECC-CF1B1AC94C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1" y="665"/>
              <a:ext cx="74" cy="901"/>
            </a:xfrm>
            <a:custGeom>
              <a:avLst/>
              <a:gdLst>
                <a:gd name="T0" fmla="*/ 0 w 74"/>
                <a:gd name="T1" fmla="*/ 0 h 901"/>
                <a:gd name="T2" fmla="*/ 51 w 74"/>
                <a:gd name="T3" fmla="*/ 0 h 901"/>
                <a:gd name="T4" fmla="*/ 74 w 74"/>
                <a:gd name="T5" fmla="*/ 424 h 901"/>
                <a:gd name="T6" fmla="*/ 74 w 74"/>
                <a:gd name="T7" fmla="*/ 901 h 901"/>
                <a:gd name="T8" fmla="*/ 0 w 74"/>
                <a:gd name="T9" fmla="*/ 901 h 901"/>
                <a:gd name="T10" fmla="*/ 0 w 74"/>
                <a:gd name="T11" fmla="*/ 0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901">
                  <a:moveTo>
                    <a:pt x="0" y="0"/>
                  </a:moveTo>
                  <a:lnTo>
                    <a:pt x="51" y="0"/>
                  </a:lnTo>
                  <a:lnTo>
                    <a:pt x="74" y="424"/>
                  </a:lnTo>
                  <a:lnTo>
                    <a:pt x="74" y="901"/>
                  </a:lnTo>
                  <a:lnTo>
                    <a:pt x="0" y="90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96" name="Freeform 86">
              <a:extLst>
                <a:ext uri="{FF2B5EF4-FFF2-40B4-BE49-F238E27FC236}">
                  <a16:creationId xmlns:a16="http://schemas.microsoft.com/office/drawing/2014/main" id="{CA35A4F2-2F5C-4749-910B-5F8E14BB19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861" y="665"/>
              <a:ext cx="74" cy="901"/>
            </a:xfrm>
            <a:custGeom>
              <a:avLst/>
              <a:gdLst>
                <a:gd name="T0" fmla="*/ 0 w 74"/>
                <a:gd name="T1" fmla="*/ 0 h 901"/>
                <a:gd name="T2" fmla="*/ 51 w 74"/>
                <a:gd name="T3" fmla="*/ 0 h 901"/>
                <a:gd name="T4" fmla="*/ 74 w 74"/>
                <a:gd name="T5" fmla="*/ 424 h 901"/>
                <a:gd name="T6" fmla="*/ 74 w 74"/>
                <a:gd name="T7" fmla="*/ 901 h 901"/>
                <a:gd name="T8" fmla="*/ 0 w 74"/>
                <a:gd name="T9" fmla="*/ 901 h 901"/>
                <a:gd name="T10" fmla="*/ 0 w 74"/>
                <a:gd name="T11" fmla="*/ 0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901">
                  <a:moveTo>
                    <a:pt x="0" y="0"/>
                  </a:moveTo>
                  <a:lnTo>
                    <a:pt x="51" y="0"/>
                  </a:lnTo>
                  <a:lnTo>
                    <a:pt x="74" y="424"/>
                  </a:lnTo>
                  <a:lnTo>
                    <a:pt x="74" y="901"/>
                  </a:lnTo>
                  <a:lnTo>
                    <a:pt x="0" y="901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0" cap="flat">
              <a:solidFill>
                <a:srgbClr val="BFBFB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197" name="Rectangle 87">
              <a:extLst>
                <a:ext uri="{FF2B5EF4-FFF2-40B4-BE49-F238E27FC236}">
                  <a16:creationId xmlns:a16="http://schemas.microsoft.com/office/drawing/2014/main" id="{BD71CF68-B42C-496A-87AA-297D916E2AB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862" y="600"/>
              <a:ext cx="15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</a:rPr>
                <a:t>Gray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8" name="Rectangle 88">
              <a:extLst>
                <a:ext uri="{FF2B5EF4-FFF2-40B4-BE49-F238E27FC236}">
                  <a16:creationId xmlns:a16="http://schemas.microsoft.com/office/drawing/2014/main" id="{628C490C-5474-41E2-8C05-B47FBB069D8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861" y="814"/>
              <a:ext cx="52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</a:rPr>
                <a:t>R210 G210 B210 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9" name="Freeform 89">
              <a:extLst>
                <a:ext uri="{FF2B5EF4-FFF2-40B4-BE49-F238E27FC236}">
                  <a16:creationId xmlns:a16="http://schemas.microsoft.com/office/drawing/2014/main" id="{11AB950C-B113-4DBC-87DF-C2B46F9102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84" y="665"/>
              <a:ext cx="74" cy="901"/>
            </a:xfrm>
            <a:custGeom>
              <a:avLst/>
              <a:gdLst>
                <a:gd name="T0" fmla="*/ 0 w 74"/>
                <a:gd name="T1" fmla="*/ 0 h 901"/>
                <a:gd name="T2" fmla="*/ 52 w 74"/>
                <a:gd name="T3" fmla="*/ 0 h 901"/>
                <a:gd name="T4" fmla="*/ 74 w 74"/>
                <a:gd name="T5" fmla="*/ 424 h 901"/>
                <a:gd name="T6" fmla="*/ 74 w 74"/>
                <a:gd name="T7" fmla="*/ 901 h 901"/>
                <a:gd name="T8" fmla="*/ 0 w 74"/>
                <a:gd name="T9" fmla="*/ 901 h 901"/>
                <a:gd name="T10" fmla="*/ 0 w 74"/>
                <a:gd name="T11" fmla="*/ 0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901">
                  <a:moveTo>
                    <a:pt x="0" y="0"/>
                  </a:moveTo>
                  <a:lnTo>
                    <a:pt x="52" y="0"/>
                  </a:lnTo>
                  <a:lnTo>
                    <a:pt x="74" y="424"/>
                  </a:lnTo>
                  <a:lnTo>
                    <a:pt x="74" y="901"/>
                  </a:lnTo>
                  <a:lnTo>
                    <a:pt x="0" y="90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6E6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200" name="Freeform 90">
              <a:extLst>
                <a:ext uri="{FF2B5EF4-FFF2-40B4-BE49-F238E27FC236}">
                  <a16:creationId xmlns:a16="http://schemas.microsoft.com/office/drawing/2014/main" id="{5611C70C-CCE1-40B1-AA32-303E4D23C2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784" y="665"/>
              <a:ext cx="74" cy="901"/>
            </a:xfrm>
            <a:custGeom>
              <a:avLst/>
              <a:gdLst>
                <a:gd name="T0" fmla="*/ 0 w 74"/>
                <a:gd name="T1" fmla="*/ 0 h 901"/>
                <a:gd name="T2" fmla="*/ 52 w 74"/>
                <a:gd name="T3" fmla="*/ 0 h 901"/>
                <a:gd name="T4" fmla="*/ 74 w 74"/>
                <a:gd name="T5" fmla="*/ 424 h 901"/>
                <a:gd name="T6" fmla="*/ 74 w 74"/>
                <a:gd name="T7" fmla="*/ 901 h 901"/>
                <a:gd name="T8" fmla="*/ 0 w 74"/>
                <a:gd name="T9" fmla="*/ 901 h 901"/>
                <a:gd name="T10" fmla="*/ 0 w 74"/>
                <a:gd name="T11" fmla="*/ 0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901">
                  <a:moveTo>
                    <a:pt x="0" y="0"/>
                  </a:moveTo>
                  <a:lnTo>
                    <a:pt x="52" y="0"/>
                  </a:lnTo>
                  <a:lnTo>
                    <a:pt x="74" y="424"/>
                  </a:lnTo>
                  <a:lnTo>
                    <a:pt x="74" y="901"/>
                  </a:lnTo>
                  <a:lnTo>
                    <a:pt x="0" y="901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0" cap="flat">
              <a:solidFill>
                <a:srgbClr val="BFBFBF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201" name="Rectangle 91">
              <a:extLst>
                <a:ext uri="{FF2B5EF4-FFF2-40B4-BE49-F238E27FC236}">
                  <a16:creationId xmlns:a16="http://schemas.microsoft.com/office/drawing/2014/main" id="{C4C8A152-203C-400E-A896-886B60D0BDA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85" y="600"/>
              <a:ext cx="34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1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</a:rPr>
                <a:t>Light Gray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2" name="Rectangle 92">
              <a:extLst>
                <a:ext uri="{FF2B5EF4-FFF2-40B4-BE49-F238E27FC236}">
                  <a16:creationId xmlns:a16="http://schemas.microsoft.com/office/drawing/2014/main" id="{01BC7507-B885-40D9-8FAB-18D1F48E373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7782" y="814"/>
              <a:ext cx="50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Segoe UI" panose="020B0502040204020203" pitchFamily="34" charset="0"/>
                </a:rPr>
                <a:t>R230 G230 B230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3" name="Rectangle 93">
              <a:extLst>
                <a:ext uri="{FF2B5EF4-FFF2-40B4-BE49-F238E27FC236}">
                  <a16:creationId xmlns:a16="http://schemas.microsoft.com/office/drawing/2014/main" id="{82369729-0EC7-4A01-B332-0CCE1377782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167" y="663"/>
              <a:ext cx="74" cy="902"/>
            </a:xfrm>
            <a:prstGeom prst="rect">
              <a:avLst/>
            </a:prstGeom>
            <a:solidFill>
              <a:srgbClr val="1A1A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204" name="Rectangle 94">
              <a:extLst>
                <a:ext uri="{FF2B5EF4-FFF2-40B4-BE49-F238E27FC236}">
                  <a16:creationId xmlns:a16="http://schemas.microsoft.com/office/drawing/2014/main" id="{EEC85966-2BA8-4826-9ECA-0BDB2F31097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169" y="600"/>
              <a:ext cx="35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1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Soft Black 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5" name="Rectangle 95">
              <a:extLst>
                <a:ext uri="{FF2B5EF4-FFF2-40B4-BE49-F238E27FC236}">
                  <a16:creationId xmlns:a16="http://schemas.microsoft.com/office/drawing/2014/main" id="{84539ABE-435E-468C-8420-4B004EC87AB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188" y="600"/>
              <a:ext cx="26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1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for Text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6" name="Rectangle 96">
              <a:extLst>
                <a:ext uri="{FF2B5EF4-FFF2-40B4-BE49-F238E27FC236}">
                  <a16:creationId xmlns:a16="http://schemas.microsoft.com/office/drawing/2014/main" id="{00F8AE04-89E5-43E8-BD77-E282DA5AA12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168" y="814"/>
              <a:ext cx="41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R26 G26 B26 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7" name="Rectangle 97">
              <a:extLst>
                <a:ext uri="{FF2B5EF4-FFF2-40B4-BE49-F238E27FC236}">
                  <a16:creationId xmlns:a16="http://schemas.microsoft.com/office/drawing/2014/main" id="{01B5F8DD-869A-4576-9049-69B6307F078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244" y="663"/>
              <a:ext cx="74" cy="902"/>
            </a:xfrm>
            <a:prstGeom prst="rect">
              <a:avLst/>
            </a:prstGeom>
            <a:solidFill>
              <a:srgbClr val="0D0D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208" name="Rectangle 98">
              <a:extLst>
                <a:ext uri="{FF2B5EF4-FFF2-40B4-BE49-F238E27FC236}">
                  <a16:creationId xmlns:a16="http://schemas.microsoft.com/office/drawing/2014/main" id="{2D39A6DF-401E-4CDE-9BF3-3AA2D92DC56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246" y="600"/>
              <a:ext cx="35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1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Soft Black 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9" name="Rectangle 99">
              <a:extLst>
                <a:ext uri="{FF2B5EF4-FFF2-40B4-BE49-F238E27FC236}">
                  <a16:creationId xmlns:a16="http://schemas.microsoft.com/office/drawing/2014/main" id="{C9B60846-A995-4598-87A6-AB7BF39DD69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262" y="600"/>
              <a:ext cx="54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1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for Backgrounds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10" name="Rectangle 100">
              <a:extLst>
                <a:ext uri="{FF2B5EF4-FFF2-40B4-BE49-F238E27FC236}">
                  <a16:creationId xmlns:a16="http://schemas.microsoft.com/office/drawing/2014/main" id="{12B46831-6215-4F95-AE54-24484B0ADEE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246" y="814"/>
              <a:ext cx="45" cy="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3223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612" b="0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/>
                  <a:latin typeface="Segoe UI" panose="020B0502040204020203" pitchFamily="34" charset="0"/>
                </a:rPr>
                <a:t>R13 G130 B13 </a:t>
              </a:r>
              <a:endParaRPr kumimoji="0" lang="en-US" altLang="en-US" sz="612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11" name="Rectangle 101">
              <a:extLst>
                <a:ext uri="{FF2B5EF4-FFF2-40B4-BE49-F238E27FC236}">
                  <a16:creationId xmlns:a16="http://schemas.microsoft.com/office/drawing/2014/main" id="{D7DCC1F0-0FC2-4933-A318-9E1CA4A02E0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167" y="83"/>
              <a:ext cx="25" cy="383"/>
            </a:xfrm>
            <a:prstGeom prst="rect">
              <a:avLst/>
            </a:prstGeom>
            <a:solidFill>
              <a:srgbClr val="1A1A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  <p:sp>
          <p:nvSpPr>
            <p:cNvPr id="212" name="Rectangle 102">
              <a:extLst>
                <a:ext uri="{FF2B5EF4-FFF2-40B4-BE49-F238E27FC236}">
                  <a16:creationId xmlns:a16="http://schemas.microsoft.com/office/drawing/2014/main" id="{C13B05E6-A8E5-4C0C-A32D-7F3F7DEEE01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245" y="75"/>
              <a:ext cx="71" cy="398"/>
            </a:xfrm>
            <a:prstGeom prst="rect">
              <a:avLst/>
            </a:prstGeom>
            <a:solidFill>
              <a:srgbClr val="1A1A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612"/>
            </a:p>
          </p:txBody>
        </p:sp>
      </p:grpSp>
      <p:pic>
        <p:nvPicPr>
          <p:cNvPr id="109" name="Picture 108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705" y="405036"/>
            <a:ext cx="2571998" cy="305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3624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13" r:id="rId1"/>
    <p:sldLayoutId id="2147485814" r:id="rId2"/>
    <p:sldLayoutId id="2147485815" r:id="rId3"/>
    <p:sldLayoutId id="2147485816" r:id="rId4"/>
    <p:sldLayoutId id="2147485817" r:id="rId5"/>
    <p:sldLayoutId id="2147485818" r:id="rId6"/>
    <p:sldLayoutId id="2147485819" r:id="rId7"/>
    <p:sldLayoutId id="2147485820" r:id="rId8"/>
    <p:sldLayoutId id="2147485821" r:id="rId9"/>
    <p:sldLayoutId id="2147485822" r:id="rId10"/>
    <p:sldLayoutId id="2147485823" r:id="rId11"/>
  </p:sldLayoutIdLst>
  <p:txStyles>
    <p:titleStyle>
      <a:lvl1pPr algn="l" defTabSz="1242953" rtl="0" eaLnBrk="1" latinLnBrk="0" hangingPunct="1">
        <a:spcBef>
          <a:spcPct val="0"/>
        </a:spcBef>
        <a:buNone/>
        <a:defRPr sz="3805" b="0" kern="1200">
          <a:solidFill>
            <a:schemeClr val="accent4"/>
          </a:solidFill>
          <a:latin typeface="Segoe Light" pitchFamily="34" charset="0"/>
          <a:ea typeface="+mj-ea"/>
          <a:cs typeface="+mj-cs"/>
        </a:defRPr>
      </a:lvl1pPr>
    </p:titleStyle>
    <p:bodyStyle>
      <a:lvl1pPr marL="0" indent="0" algn="l" defTabSz="1242953" rtl="0" eaLnBrk="1" latinLnBrk="0" hangingPunct="1">
        <a:spcBef>
          <a:spcPts val="1632"/>
        </a:spcBef>
        <a:buFont typeface="Arial" pitchFamily="34" charset="0"/>
        <a:buNone/>
        <a:defRPr sz="2040" b="0" kern="1200">
          <a:solidFill>
            <a:schemeClr val="tx1"/>
          </a:solidFill>
          <a:latin typeface="Segoe Light" pitchFamily="34" charset="0"/>
          <a:ea typeface="+mn-ea"/>
          <a:cs typeface="+mn-cs"/>
        </a:defRPr>
      </a:lvl1pPr>
      <a:lvl2pPr marL="0" indent="0" algn="l" defTabSz="1242953" rtl="0" eaLnBrk="1" latinLnBrk="0" hangingPunct="1">
        <a:spcBef>
          <a:spcPts val="1632"/>
        </a:spcBef>
        <a:buFont typeface="Arial" pitchFamily="34" charset="0"/>
        <a:buNone/>
        <a:defRPr sz="2040" kern="1200">
          <a:solidFill>
            <a:schemeClr val="accent4"/>
          </a:solidFill>
          <a:latin typeface="Segoe Light" panose="020B0302040504020203" pitchFamily="34" charset="0"/>
          <a:ea typeface="+mn-ea"/>
          <a:cs typeface="+mn-cs"/>
        </a:defRPr>
      </a:lvl2pPr>
      <a:lvl3pPr marL="0" indent="0" algn="l" defTabSz="1242953" rtl="0" eaLnBrk="1" latinLnBrk="0" hangingPunct="1">
        <a:spcBef>
          <a:spcPts val="816"/>
        </a:spcBef>
        <a:buClr>
          <a:schemeClr val="bg2"/>
        </a:buClr>
        <a:buFont typeface="PingFangSC-Regular" charset="-122"/>
        <a:buNone/>
        <a:defRPr sz="1632" kern="1200">
          <a:solidFill>
            <a:schemeClr val="tx1"/>
          </a:solidFill>
          <a:latin typeface="Segoe Light" panose="020B0302040504020203" pitchFamily="34" charset="0"/>
          <a:ea typeface="+mn-ea"/>
          <a:cs typeface="+mn-cs"/>
        </a:defRPr>
      </a:lvl3pPr>
      <a:lvl4pPr marL="271902" indent="-271902" algn="l" defTabSz="1242953" rtl="0" eaLnBrk="1" latinLnBrk="0" hangingPunct="1">
        <a:spcBef>
          <a:spcPts val="816"/>
        </a:spcBef>
        <a:buClr>
          <a:schemeClr val="accent4"/>
        </a:buClr>
        <a:buFont typeface="Arial" pitchFamily="34" charset="0"/>
        <a:buChar char="•"/>
        <a:tabLst>
          <a:tab pos="271902" algn="l"/>
        </a:tabLst>
        <a:defRPr sz="1632" kern="1200">
          <a:solidFill>
            <a:schemeClr val="tx1"/>
          </a:solidFill>
          <a:latin typeface="Segoe Light" panose="020B0302040504020203" pitchFamily="34" charset="0"/>
          <a:ea typeface="+mn-ea"/>
          <a:cs typeface="+mn-cs"/>
        </a:defRPr>
      </a:lvl4pPr>
      <a:lvl5pPr marL="0" indent="0" algn="l" defTabSz="1221374" rtl="0" eaLnBrk="1" latinLnBrk="0" hangingPunct="1">
        <a:spcBef>
          <a:spcPts val="1836"/>
        </a:spcBef>
        <a:buClr>
          <a:schemeClr val="bg2"/>
        </a:buClr>
        <a:buFont typeface="Arial" pitchFamily="34" charset="0"/>
        <a:buNone/>
        <a:defRPr sz="1632" kern="1200">
          <a:solidFill>
            <a:schemeClr val="accent4"/>
          </a:solidFill>
          <a:latin typeface="Segoe" pitchFamily="34" charset="0"/>
          <a:ea typeface="+mn-ea"/>
          <a:cs typeface="+mn-cs"/>
        </a:defRPr>
      </a:lvl5pPr>
      <a:lvl6pPr marL="3418121" indent="-310737" algn="l" defTabSz="1242953" rtl="0" eaLnBrk="1" latinLnBrk="0" hangingPunct="1">
        <a:spcBef>
          <a:spcPct val="20000"/>
        </a:spcBef>
        <a:buFont typeface="Arial" pitchFamily="34" charset="0"/>
        <a:buChar char="•"/>
        <a:defRPr sz="2718" kern="1200">
          <a:solidFill>
            <a:schemeClr val="tx1"/>
          </a:solidFill>
          <a:latin typeface="+mn-lt"/>
          <a:ea typeface="+mn-ea"/>
          <a:cs typeface="+mn-cs"/>
        </a:defRPr>
      </a:lvl6pPr>
      <a:lvl7pPr marL="4039600" indent="-310737" algn="l" defTabSz="1242953" rtl="0" eaLnBrk="1" latinLnBrk="0" hangingPunct="1">
        <a:spcBef>
          <a:spcPct val="20000"/>
        </a:spcBef>
        <a:buFont typeface="Arial" pitchFamily="34" charset="0"/>
        <a:buChar char="•"/>
        <a:defRPr sz="2718" kern="1200">
          <a:solidFill>
            <a:schemeClr val="tx1"/>
          </a:solidFill>
          <a:latin typeface="+mn-lt"/>
          <a:ea typeface="+mn-ea"/>
          <a:cs typeface="+mn-cs"/>
        </a:defRPr>
      </a:lvl7pPr>
      <a:lvl8pPr marL="4661077" indent="-310737" algn="l" defTabSz="1242953" rtl="0" eaLnBrk="1" latinLnBrk="0" hangingPunct="1">
        <a:spcBef>
          <a:spcPct val="20000"/>
        </a:spcBef>
        <a:buFont typeface="Arial" pitchFamily="34" charset="0"/>
        <a:buChar char="•"/>
        <a:defRPr sz="2718" kern="1200">
          <a:solidFill>
            <a:schemeClr val="tx1"/>
          </a:solidFill>
          <a:latin typeface="+mn-lt"/>
          <a:ea typeface="+mn-ea"/>
          <a:cs typeface="+mn-cs"/>
        </a:defRPr>
      </a:lvl8pPr>
      <a:lvl9pPr marL="5282552" indent="-310737" algn="l" defTabSz="1242953" rtl="0" eaLnBrk="1" latinLnBrk="0" hangingPunct="1">
        <a:spcBef>
          <a:spcPct val="20000"/>
        </a:spcBef>
        <a:buFont typeface="Arial" pitchFamily="34" charset="0"/>
        <a:buChar char="•"/>
        <a:defRPr sz="271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42953" rtl="0" eaLnBrk="1" latinLnBrk="0" hangingPunct="1">
        <a:defRPr sz="2448" kern="1200">
          <a:solidFill>
            <a:schemeClr val="tx1"/>
          </a:solidFill>
          <a:latin typeface="+mn-lt"/>
          <a:ea typeface="+mn-ea"/>
          <a:cs typeface="+mn-cs"/>
        </a:defRPr>
      </a:lvl1pPr>
      <a:lvl2pPr marL="621477" algn="l" defTabSz="1242953" rtl="0" eaLnBrk="1" latinLnBrk="0" hangingPunct="1">
        <a:defRPr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242953" algn="l" defTabSz="1242953" rtl="0" eaLnBrk="1" latinLnBrk="0" hangingPunct="1">
        <a:defRPr sz="2448" kern="1200">
          <a:solidFill>
            <a:schemeClr val="tx1"/>
          </a:solidFill>
          <a:latin typeface="+mn-lt"/>
          <a:ea typeface="+mn-ea"/>
          <a:cs typeface="+mn-cs"/>
        </a:defRPr>
      </a:lvl3pPr>
      <a:lvl4pPr marL="1864430" algn="l" defTabSz="1242953" rtl="0" eaLnBrk="1" latinLnBrk="0" hangingPunct="1">
        <a:defRPr sz="2448" kern="1200">
          <a:solidFill>
            <a:schemeClr val="tx1"/>
          </a:solidFill>
          <a:latin typeface="+mn-lt"/>
          <a:ea typeface="+mn-ea"/>
          <a:cs typeface="+mn-cs"/>
        </a:defRPr>
      </a:lvl4pPr>
      <a:lvl5pPr marL="2485907" algn="l" defTabSz="1242953" rtl="0" eaLnBrk="1" latinLnBrk="0" hangingPunct="1">
        <a:defRPr sz="2448" kern="1200">
          <a:solidFill>
            <a:schemeClr val="tx1"/>
          </a:solidFill>
          <a:latin typeface="+mn-lt"/>
          <a:ea typeface="+mn-ea"/>
          <a:cs typeface="+mn-cs"/>
        </a:defRPr>
      </a:lvl5pPr>
      <a:lvl6pPr marL="3107384" algn="l" defTabSz="1242953" rtl="0" eaLnBrk="1" latinLnBrk="0" hangingPunct="1">
        <a:defRPr sz="2448" kern="1200">
          <a:solidFill>
            <a:schemeClr val="tx1"/>
          </a:solidFill>
          <a:latin typeface="+mn-lt"/>
          <a:ea typeface="+mn-ea"/>
          <a:cs typeface="+mn-cs"/>
        </a:defRPr>
      </a:lvl6pPr>
      <a:lvl7pPr marL="3728859" algn="l" defTabSz="1242953" rtl="0" eaLnBrk="1" latinLnBrk="0" hangingPunct="1">
        <a:defRPr sz="2448" kern="1200">
          <a:solidFill>
            <a:schemeClr val="tx1"/>
          </a:solidFill>
          <a:latin typeface="+mn-lt"/>
          <a:ea typeface="+mn-ea"/>
          <a:cs typeface="+mn-cs"/>
        </a:defRPr>
      </a:lvl7pPr>
      <a:lvl8pPr marL="4350337" algn="l" defTabSz="1242953" rtl="0" eaLnBrk="1" latinLnBrk="0" hangingPunct="1">
        <a:defRPr sz="2448" kern="1200">
          <a:solidFill>
            <a:schemeClr val="tx1"/>
          </a:solidFill>
          <a:latin typeface="+mn-lt"/>
          <a:ea typeface="+mn-ea"/>
          <a:cs typeface="+mn-cs"/>
        </a:defRPr>
      </a:lvl8pPr>
      <a:lvl9pPr marL="4971814" algn="l" defTabSz="1242953" rtl="0" eaLnBrk="1" latinLnBrk="0" hangingPunct="1">
        <a:defRPr sz="24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7378">
          <p15:clr>
            <a:srgbClr val="F26B43"/>
          </p15:clr>
        </p15:guide>
        <p15:guide id="3" pos="3840">
          <p15:clr>
            <a:srgbClr val="F26B43"/>
          </p15:clr>
        </p15:guide>
        <p15:guide id="4" pos="4067">
          <p15:clr>
            <a:srgbClr val="F26B43"/>
          </p15:clr>
        </p15:guide>
        <p15:guide id="5" pos="2525">
          <p15:clr>
            <a:srgbClr val="F26B43"/>
          </p15:clr>
        </p15:guide>
        <p15:guide id="6" pos="2751">
          <p15:clr>
            <a:srgbClr val="F26B43"/>
          </p15:clr>
        </p15:guide>
        <p15:guide id="8" pos="3613">
          <p15:clr>
            <a:srgbClr val="F26B43"/>
          </p15:clr>
        </p15:guide>
        <p15:guide id="9" orient="horz" pos="278">
          <p15:clr>
            <a:srgbClr val="F26B43"/>
          </p15:clr>
        </p15:guide>
        <p15:guide id="10" orient="horz" pos="1253">
          <p15:clr>
            <a:srgbClr val="F26B43"/>
          </p15:clr>
        </p15:guide>
        <p15:guide id="11" orient="horz" pos="2460">
          <p15:clr>
            <a:srgbClr val="F26B43"/>
          </p15:clr>
        </p15:guide>
        <p15:guide id="12" orient="horz" pos="3748">
          <p15:clr>
            <a:srgbClr val="F26B43"/>
          </p15:clr>
        </p15:guide>
        <p15:guide id="13" orient="horz" pos="3929">
          <p15:clr>
            <a:srgbClr val="F26B43"/>
          </p15:clr>
        </p15:guide>
        <p15:guide id="14" pos="4906">
          <p15:clr>
            <a:srgbClr val="F26B43"/>
          </p15:clr>
        </p15:guide>
        <p15:guide id="15" pos="5133">
          <p15:clr>
            <a:srgbClr val="F26B43"/>
          </p15:clr>
        </p15:guide>
        <p15:guide id="16" pos="302">
          <p15:clr>
            <a:srgbClr val="F26B43"/>
          </p15:clr>
        </p15:guide>
        <p15:guide id="17" pos="402">
          <p15:clr>
            <a:srgbClr val="F26B43"/>
          </p15:clr>
        </p15:guide>
      </p15:sldGuideLst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56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B3A23CD-1C29-41A8-97A4-3459DFFE7C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5008" y="372395"/>
            <a:ext cx="10726460" cy="13519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360B19-8C36-4DD8-BB56-1200DF33CE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55008" y="1861968"/>
            <a:ext cx="10726460" cy="44379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FA5659-53CE-41E0-B416-F51FBFC8AA0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5009" y="6482890"/>
            <a:ext cx="2798207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2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32418">
              <a:defRPr/>
            </a:pPr>
            <a:fld id="{62813C0D-CC87-4BDF-BEBF-9DBC95521A0A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32418">
                <a:defRPr/>
              </a:pPr>
              <a:t>5/7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E9DAE0-1B5A-4710-ACAB-6616AF5AD8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19583" y="6482890"/>
            <a:ext cx="4197310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2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32418"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57286F7-EBB5-425D-B85E-5ED13C49BD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83260" y="6482890"/>
            <a:ext cx="2798207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2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32418">
              <a:defRPr/>
            </a:pPr>
            <a:fld id="{98005AF1-E2B5-43EC-9CF1-67452EF1650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32418"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2875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25" r:id="rId1"/>
    <p:sldLayoutId id="2147485826" r:id="rId2"/>
    <p:sldLayoutId id="2147485827" r:id="rId3"/>
    <p:sldLayoutId id="2147485828" r:id="rId4"/>
    <p:sldLayoutId id="2147485829" r:id="rId5"/>
    <p:sldLayoutId id="2147485830" r:id="rId6"/>
    <p:sldLayoutId id="2147485831" r:id="rId7"/>
    <p:sldLayoutId id="2147485832" r:id="rId8"/>
    <p:sldLayoutId id="2147485833" r:id="rId9"/>
    <p:sldLayoutId id="2147485834" r:id="rId10"/>
    <p:sldLayoutId id="2147485835" r:id="rId11"/>
    <p:sldLayoutId id="2147485836" r:id="rId12"/>
    <p:sldLayoutId id="2147485837" r:id="rId13"/>
    <p:sldLayoutId id="2147485838" r:id="rId14"/>
    <p:sldLayoutId id="2147485839" r:id="rId15"/>
    <p:sldLayoutId id="2147485840" r:id="rId16"/>
    <p:sldLayoutId id="2147485841" r:id="rId17"/>
    <p:sldLayoutId id="2147485842" r:id="rId18"/>
    <p:sldLayoutId id="2147485843" r:id="rId19"/>
    <p:sldLayoutId id="2147485844" r:id="rId20"/>
    <p:sldLayoutId id="2147485845" r:id="rId21"/>
    <p:sldLayoutId id="2147485846" r:id="rId22"/>
    <p:sldLayoutId id="2147485847" r:id="rId23"/>
    <p:sldLayoutId id="2147485848" r:id="rId24"/>
    <p:sldLayoutId id="2147485849" r:id="rId25"/>
    <p:sldLayoutId id="2147485850" r:id="rId26"/>
    <p:sldLayoutId id="2147485851" r:id="rId27"/>
    <p:sldLayoutId id="2147485852" r:id="rId28"/>
    <p:sldLayoutId id="2147485853" r:id="rId29"/>
    <p:sldLayoutId id="2147485854" r:id="rId30"/>
    <p:sldLayoutId id="2147485855" r:id="rId31"/>
    <p:sldLayoutId id="2147485856" r:id="rId32"/>
    <p:sldLayoutId id="2147485857" r:id="rId33"/>
  </p:sldLayoutIdLst>
  <p:txStyles>
    <p:titleStyle>
      <a:lvl1pPr algn="l" defTabSz="932418" rtl="0" eaLnBrk="1" latinLnBrk="0" hangingPunct="1">
        <a:lnSpc>
          <a:spcPct val="90000"/>
        </a:lnSpc>
        <a:spcBef>
          <a:spcPct val="0"/>
        </a:spcBef>
        <a:buNone/>
        <a:defRPr sz="448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33104" indent="-233104" algn="l" defTabSz="932418" rtl="0" eaLnBrk="1" latinLnBrk="0" hangingPunct="1">
        <a:lnSpc>
          <a:spcPct val="90000"/>
        </a:lnSpc>
        <a:spcBef>
          <a:spcPts val="1020"/>
        </a:spcBef>
        <a:buFont typeface="Arial" panose="020B0604020202020204" pitchFamily="34" charset="0"/>
        <a:buChar char="•"/>
        <a:defRPr sz="2856" kern="1200">
          <a:solidFill>
            <a:schemeClr val="tx1"/>
          </a:solidFill>
          <a:latin typeface="+mn-lt"/>
          <a:ea typeface="+mn-ea"/>
          <a:cs typeface="+mn-cs"/>
        </a:defRPr>
      </a:lvl1pPr>
      <a:lvl2pPr marL="699313" indent="-233104" algn="l" defTabSz="932418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165522" indent="-233104" algn="l" defTabSz="932418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3pPr>
      <a:lvl4pPr marL="1631731" indent="-233104" algn="l" defTabSz="932418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2097939" indent="-233104" algn="l" defTabSz="932418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564149" indent="-233104" algn="l" defTabSz="932418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3030357" indent="-233104" algn="l" defTabSz="932418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496565" indent="-233104" algn="l" defTabSz="932418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962774" indent="-233104" algn="l" defTabSz="932418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41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1pPr>
      <a:lvl2pPr marL="466209" algn="l" defTabSz="93241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2pPr>
      <a:lvl3pPr marL="932418" algn="l" defTabSz="93241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3pPr>
      <a:lvl4pPr marL="1398627" algn="l" defTabSz="93241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1864835" algn="l" defTabSz="93241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331044" algn="l" defTabSz="93241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2797253" algn="l" defTabSz="93241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263461" algn="l" defTabSz="93241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729669" algn="l" defTabSz="932418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2081" y="205721"/>
            <a:ext cx="11992315" cy="493731"/>
          </a:xfrm>
          <a:prstGeom prst="rect">
            <a:avLst/>
          </a:prstGeom>
        </p:spPr>
        <p:txBody>
          <a:bodyPr vert="horz" wrap="square" lIns="45720" tIns="91440" rIns="0" bIns="9144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22081" y="1028606"/>
            <a:ext cx="11992315" cy="1524007"/>
          </a:xfrm>
          <a:prstGeom prst="rect">
            <a:avLst/>
          </a:prstGeom>
        </p:spPr>
        <p:txBody>
          <a:bodyPr vert="horz" wrap="square" lIns="45720" tIns="91440" rIns="91440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4664274" y="6816267"/>
            <a:ext cx="2388950" cy="10169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Aft>
                <a:spcPts val="376"/>
              </a:spcAft>
            </a:pPr>
            <a:r>
              <a:rPr lang="en-US" sz="72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ICROSOFT</a:t>
            </a:r>
            <a:r>
              <a:rPr lang="en-US" sz="720" baseline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CONFIDENTIAL / </a:t>
            </a:r>
            <a:r>
              <a:rPr lang="en-US" sz="720" b="1" baseline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FOR INTERNAL USE</a:t>
            </a:r>
            <a:r>
              <a:rPr lang="en-US" sz="720" baseline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ONLY</a:t>
            </a:r>
            <a:endParaRPr lang="en-US" sz="72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41912798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59" r:id="rId1"/>
    <p:sldLayoutId id="2147485860" r:id="rId2"/>
    <p:sldLayoutId id="2147485861" r:id="rId3"/>
    <p:sldLayoutId id="2147485862" r:id="rId4"/>
    <p:sldLayoutId id="2147485863" r:id="rId5"/>
    <p:sldLayoutId id="2147485864" r:id="rId6"/>
    <p:sldLayoutId id="2147486117" r:id="rId7"/>
    <p:sldLayoutId id="2147486118" r:id="rId8"/>
    <p:sldLayoutId id="2147486119" r:id="rId9"/>
    <p:sldLayoutId id="2147484984" r:id="rId10"/>
  </p:sldLayoutIdLst>
  <p:transition>
    <p:fade/>
  </p:transition>
  <p:hf sldNum="0" hdr="0" dt="0"/>
  <p:txStyles>
    <p:titleStyle>
      <a:lvl1pPr algn="l" defTabSz="730418" rtl="0" eaLnBrk="1" latinLnBrk="0" hangingPunct="1">
        <a:lnSpc>
          <a:spcPct val="90000"/>
        </a:lnSpc>
        <a:spcBef>
          <a:spcPct val="0"/>
        </a:spcBef>
        <a:buNone/>
        <a:defRPr lang="en-US" sz="2159" b="0" kern="1200" cap="none" spc="-79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214852" marR="0" indent="-214852" algn="l" defTabSz="73041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519" kern="1200" spc="0" baseline="0">
          <a:solidFill>
            <a:schemeClr val="tx1"/>
          </a:solidFill>
          <a:latin typeface="+mj-lt"/>
          <a:ea typeface="+mn-ea"/>
          <a:cs typeface="+mn-cs"/>
        </a:defRPr>
      </a:lvl1pPr>
      <a:lvl2pPr marL="457480" marR="0" indent="-188959" algn="l" defTabSz="73041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709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626549" marR="0" indent="-179015" algn="l" defTabSz="73041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53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805562" marR="0" indent="-179015" algn="l" defTabSz="73041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349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984575" marR="0" indent="-179015" algn="l" defTabSz="730418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26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008649" indent="-182604" algn="l" defTabSz="730418" rtl="0" eaLnBrk="1" latinLnBrk="0" hangingPunct="1">
        <a:spcBef>
          <a:spcPct val="20000"/>
        </a:spcBef>
        <a:buFont typeface="Arial" pitchFamily="34" charset="0"/>
        <a:buChar char="•"/>
        <a:defRPr sz="1530" kern="1200">
          <a:solidFill>
            <a:schemeClr val="tx1"/>
          </a:solidFill>
          <a:latin typeface="+mn-lt"/>
          <a:ea typeface="+mn-ea"/>
          <a:cs typeface="+mn-cs"/>
        </a:defRPr>
      </a:lvl6pPr>
      <a:lvl7pPr marL="2373860" indent="-182604" algn="l" defTabSz="730418" rtl="0" eaLnBrk="1" latinLnBrk="0" hangingPunct="1">
        <a:spcBef>
          <a:spcPct val="20000"/>
        </a:spcBef>
        <a:buFont typeface="Arial" pitchFamily="34" charset="0"/>
        <a:buChar char="•"/>
        <a:defRPr sz="1530" kern="1200">
          <a:solidFill>
            <a:schemeClr val="tx1"/>
          </a:solidFill>
          <a:latin typeface="+mn-lt"/>
          <a:ea typeface="+mn-ea"/>
          <a:cs typeface="+mn-cs"/>
        </a:defRPr>
      </a:lvl7pPr>
      <a:lvl8pPr marL="2739069" indent="-182604" algn="l" defTabSz="730418" rtl="0" eaLnBrk="1" latinLnBrk="0" hangingPunct="1">
        <a:spcBef>
          <a:spcPct val="20000"/>
        </a:spcBef>
        <a:buFont typeface="Arial" pitchFamily="34" charset="0"/>
        <a:buChar char="•"/>
        <a:defRPr sz="1530" kern="1200">
          <a:solidFill>
            <a:schemeClr val="tx1"/>
          </a:solidFill>
          <a:latin typeface="+mn-lt"/>
          <a:ea typeface="+mn-ea"/>
          <a:cs typeface="+mn-cs"/>
        </a:defRPr>
      </a:lvl8pPr>
      <a:lvl9pPr marL="3104279" indent="-182604" algn="l" defTabSz="730418" rtl="0" eaLnBrk="1" latinLnBrk="0" hangingPunct="1">
        <a:spcBef>
          <a:spcPct val="20000"/>
        </a:spcBef>
        <a:buFont typeface="Arial" pitchFamily="34" charset="0"/>
        <a:buChar char="•"/>
        <a:defRPr sz="153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30418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65209" algn="l" defTabSz="730418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730418" algn="l" defTabSz="730418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95628" algn="l" defTabSz="730418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460835" algn="l" defTabSz="730418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826046" algn="l" defTabSz="730418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191255" algn="l" defTabSz="730418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556464" algn="l" defTabSz="730418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921673" algn="l" defTabSz="730418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7"/>
          <p:cNvSpPr>
            <a:spLocks noGrp="1"/>
          </p:cNvSpPr>
          <p:nvPr>
            <p:ph type="title"/>
          </p:nvPr>
        </p:nvSpPr>
        <p:spPr>
          <a:xfrm>
            <a:off x="494441" y="1752952"/>
            <a:ext cx="2637713" cy="4229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lnSpc>
                <a:spcPct val="90000"/>
              </a:lnSpc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idx="1"/>
          </p:nvPr>
        </p:nvSpPr>
        <p:spPr>
          <a:xfrm>
            <a:off x="3730952" y="1752954"/>
            <a:ext cx="8109619" cy="422909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836796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15" r:id="rId1"/>
    <p:sldLayoutId id="2147485116" r:id="rId2"/>
    <p:sldLayoutId id="2147485117" r:id="rId3"/>
    <p:sldLayoutId id="2147485118" r:id="rId4"/>
    <p:sldLayoutId id="2147485119" r:id="rId5"/>
    <p:sldLayoutId id="2147485120" r:id="rId6"/>
    <p:sldLayoutId id="2147485121" r:id="rId7"/>
    <p:sldLayoutId id="2147485122" r:id="rId8"/>
    <p:sldLayoutId id="2147485123" r:id="rId9"/>
    <p:sldLayoutId id="2147485124" r:id="rId10"/>
    <p:sldLayoutId id="2147485125" r:id="rId11"/>
    <p:sldLayoutId id="2147485126" r:id="rId12"/>
    <p:sldLayoutId id="2147485127" r:id="rId13"/>
    <p:sldLayoutId id="2147485128" r:id="rId14"/>
  </p:sldLayoutIdLst>
  <p:hf hdr="0" ftr="0" dt="0"/>
  <p:txStyles>
    <p:titleStyle>
      <a:lvl1pPr algn="l" defTabSz="1242769" rtl="0" eaLnBrk="1" latinLnBrk="0" hangingPunct="1">
        <a:spcBef>
          <a:spcPct val="0"/>
        </a:spcBef>
        <a:spcAft>
          <a:spcPts val="1632"/>
        </a:spcAft>
        <a:buNone/>
        <a:defRPr lang="en-US" sz="1900" kern="1200" dirty="0" smtClean="0">
          <a:solidFill>
            <a:schemeClr val="bg1"/>
          </a:solidFill>
          <a:latin typeface="+mj-lt"/>
          <a:ea typeface="ＭＳ Ｐゴシック" charset="0"/>
          <a:cs typeface="Segoe UI" pitchFamily="34" charset="0"/>
        </a:defRPr>
      </a:lvl1pPr>
    </p:titleStyle>
    <p:bodyStyle>
      <a:lvl1pPr marL="0" indent="0" algn="l" defTabSz="1242769" rtl="0" eaLnBrk="1" fontAlgn="base" latinLnBrk="0" hangingPunct="1">
        <a:lnSpc>
          <a:spcPct val="95000"/>
        </a:lnSpc>
        <a:spcBef>
          <a:spcPts val="0"/>
        </a:spcBef>
        <a:spcAft>
          <a:spcPts val="1632"/>
        </a:spcAft>
        <a:buClr>
          <a:schemeClr val="accent1"/>
        </a:buClr>
        <a:buSzPct val="110000"/>
        <a:buFont typeface="Avenir LT Pro 45 Book" charset="0"/>
        <a:buNone/>
        <a:defRPr lang="en-US" sz="3299" b="0" kern="1200" cap="none" baseline="0" dirty="0" smtClean="0">
          <a:solidFill>
            <a:schemeClr val="bg1"/>
          </a:solidFill>
          <a:latin typeface="Segoe UI Light"/>
          <a:ea typeface="ＭＳ Ｐゴシック" charset="0"/>
          <a:cs typeface="Segoe UI Light"/>
        </a:defRPr>
      </a:lvl1pPr>
      <a:lvl2pPr marL="306375" indent="-306375" algn="l" defTabSz="1242769" rtl="0" eaLnBrk="1" latinLnBrk="0" hangingPunct="1">
        <a:lnSpc>
          <a:spcPct val="95000"/>
        </a:lnSpc>
        <a:spcBef>
          <a:spcPts val="0"/>
        </a:spcBef>
        <a:spcAft>
          <a:spcPts val="1632"/>
        </a:spcAft>
        <a:buClrTx/>
        <a:buFont typeface="Arial" pitchFamily="34" charset="0"/>
        <a:buChar char="•"/>
        <a:defRPr lang="en-US" sz="1900" b="0" kern="1200" dirty="0" smtClean="0">
          <a:solidFill>
            <a:schemeClr val="bg1"/>
          </a:solidFill>
          <a:latin typeface="+mn-lt"/>
          <a:ea typeface="+mn-ea"/>
          <a:cs typeface="+mn-cs"/>
        </a:defRPr>
      </a:lvl2pPr>
      <a:lvl3pPr marL="621384" indent="-310694" algn="l" defTabSz="1242769" rtl="0" eaLnBrk="1" latinLnBrk="0" hangingPunct="1">
        <a:lnSpc>
          <a:spcPct val="95000"/>
        </a:lnSpc>
        <a:spcBef>
          <a:spcPts val="0"/>
        </a:spcBef>
        <a:spcAft>
          <a:spcPts val="1632"/>
        </a:spcAft>
        <a:buFont typeface="Lucida Grande"/>
        <a:buChar char="-"/>
        <a:defRPr lang="en-US" sz="1900" b="0" kern="1200" dirty="0" smtClean="0">
          <a:solidFill>
            <a:schemeClr val="bg1"/>
          </a:solidFill>
          <a:latin typeface="+mn-lt"/>
          <a:ea typeface="+mn-ea"/>
          <a:cs typeface="+mn-cs"/>
        </a:defRPr>
      </a:lvl3pPr>
      <a:lvl4pPr marL="852247" indent="-230862" algn="l" defTabSz="1242769" rtl="0" eaLnBrk="1" latinLnBrk="0" hangingPunct="1">
        <a:lnSpc>
          <a:spcPct val="95000"/>
        </a:lnSpc>
        <a:spcBef>
          <a:spcPts val="0"/>
        </a:spcBef>
        <a:spcAft>
          <a:spcPts val="1632"/>
        </a:spcAft>
        <a:buFont typeface="Arial" pitchFamily="34" charset="0"/>
        <a:buChar char="•"/>
        <a:defRPr lang="en-US" sz="1900" b="0" kern="1200" dirty="0" smtClean="0">
          <a:solidFill>
            <a:schemeClr val="bg1"/>
          </a:solidFill>
          <a:latin typeface="+mn-lt"/>
          <a:ea typeface="+mn-ea"/>
          <a:cs typeface="+mn-cs"/>
        </a:defRPr>
      </a:lvl4pPr>
      <a:lvl5pPr marL="1242769" indent="-310694" algn="l" defTabSz="1242769" rtl="0" eaLnBrk="1" latinLnBrk="0" hangingPunct="1">
        <a:lnSpc>
          <a:spcPct val="95000"/>
        </a:lnSpc>
        <a:spcBef>
          <a:spcPts val="0"/>
        </a:spcBef>
        <a:spcAft>
          <a:spcPts val="1632"/>
        </a:spcAft>
        <a:buFont typeface="Lucida Grande"/>
        <a:buChar char="-"/>
        <a:defRPr lang="en-US" sz="1900" b="0" kern="1200" dirty="0">
          <a:solidFill>
            <a:schemeClr val="bg1"/>
          </a:solidFill>
          <a:latin typeface="+mn-lt"/>
          <a:ea typeface="+mn-ea"/>
          <a:cs typeface="+mn-cs"/>
        </a:defRPr>
      </a:lvl5pPr>
      <a:lvl6pPr marL="3417607" indent="-310694" algn="l" defTabSz="1242769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6pPr>
      <a:lvl7pPr marL="4038993" indent="-310694" algn="l" defTabSz="1242769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7pPr>
      <a:lvl8pPr marL="4660376" indent="-310694" algn="l" defTabSz="1242769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8pPr>
      <a:lvl9pPr marL="5281758" indent="-310694" algn="l" defTabSz="1242769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4276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21384" algn="l" defTabSz="124276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42769" algn="l" defTabSz="124276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64151" algn="l" defTabSz="124276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85533" algn="l" defTabSz="124276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106916" algn="l" defTabSz="124276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728297" algn="l" defTabSz="124276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349684" algn="l" defTabSz="124276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971067" algn="l" defTabSz="1242769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600059" y="466301"/>
            <a:ext cx="11239464" cy="56502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idx="1"/>
          </p:nvPr>
        </p:nvSpPr>
        <p:spPr>
          <a:xfrm>
            <a:off x="595915" y="1464081"/>
            <a:ext cx="11239464" cy="16448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 userDrawn="1"/>
        </p:nvGrpSpPr>
        <p:grpSpPr>
          <a:xfrm>
            <a:off x="0" y="0"/>
            <a:ext cx="12436475" cy="6994525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 userDrawn="1"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 userDrawn="1"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 userDrawn="1"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 userDrawn="1"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 userDrawn="1"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 userDrawn="1"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 userDrawn="1"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 userDrawn="1"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 userDrawn="1"/>
        </p:nvSpPr>
        <p:spPr bwMode="auto">
          <a:xfrm>
            <a:off x="1" y="0"/>
            <a:ext cx="596951" cy="59686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494" tIns="149196" rIns="186494" bIns="14919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084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 userDrawn="1"/>
        </p:nvSpPr>
        <p:spPr bwMode="auto">
          <a:xfrm>
            <a:off x="0" y="0"/>
            <a:ext cx="298475" cy="298433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6494" tIns="149196" rIns="186494" bIns="14919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50846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48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F7D1C1B0-B53E-499D-B47D-58586D6F44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2"/>
          <a:srcRect l="762"/>
          <a:stretch/>
        </p:blipFill>
        <p:spPr>
          <a:xfrm rot="5400000">
            <a:off x="9654779" y="2900302"/>
            <a:ext cx="6994525" cy="1193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26521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5879" r:id="rId1"/>
    <p:sldLayoutId id="2147485880" r:id="rId2"/>
    <p:sldLayoutId id="2147485881" r:id="rId3"/>
    <p:sldLayoutId id="2147485882" r:id="rId4"/>
    <p:sldLayoutId id="2147485883" r:id="rId5"/>
    <p:sldLayoutId id="2147485884" r:id="rId6"/>
    <p:sldLayoutId id="2147485885" r:id="rId7"/>
    <p:sldLayoutId id="2147485886" r:id="rId8"/>
    <p:sldLayoutId id="2147485887" r:id="rId9"/>
    <p:sldLayoutId id="2147485888" r:id="rId10"/>
    <p:sldLayoutId id="2147485889" r:id="rId11"/>
    <p:sldLayoutId id="2147485890" r:id="rId12"/>
    <p:sldLayoutId id="2147485891" r:id="rId13"/>
    <p:sldLayoutId id="2147485892" r:id="rId14"/>
    <p:sldLayoutId id="2147485893" r:id="rId15"/>
    <p:sldLayoutId id="2147485894" r:id="rId16"/>
    <p:sldLayoutId id="2147485895" r:id="rId17"/>
    <p:sldLayoutId id="2147485896" r:id="rId18"/>
    <p:sldLayoutId id="2147485897" r:id="rId19"/>
    <p:sldLayoutId id="2147485898" r:id="rId20"/>
    <p:sldLayoutId id="2147485899" r:id="rId21"/>
    <p:sldLayoutId id="2147485900" r:id="rId22"/>
    <p:sldLayoutId id="2147485901" r:id="rId23"/>
    <p:sldLayoutId id="2147485902" r:id="rId24"/>
    <p:sldLayoutId id="2147485903" r:id="rId25"/>
    <p:sldLayoutId id="2147485904" r:id="rId26"/>
    <p:sldLayoutId id="2147485905" r:id="rId27"/>
    <p:sldLayoutId id="2147485906" r:id="rId28"/>
    <p:sldLayoutId id="2147485907" r:id="rId29"/>
    <p:sldLayoutId id="2147485908" r:id="rId30"/>
    <p:sldLayoutId id="2147485909" r:id="rId31"/>
    <p:sldLayoutId id="2147485910" r:id="rId32"/>
    <p:sldLayoutId id="2147485911" r:id="rId33"/>
    <p:sldLayoutId id="2147485912" r:id="rId34"/>
    <p:sldLayoutId id="2147485913" r:id="rId35"/>
    <p:sldLayoutId id="2147485914" r:id="rId36"/>
    <p:sldLayoutId id="2147485915" r:id="rId37"/>
    <p:sldLayoutId id="2147485916" r:id="rId38"/>
    <p:sldLayoutId id="2147485917" r:id="rId39"/>
    <p:sldLayoutId id="2147485918" r:id="rId40"/>
    <p:sldLayoutId id="2147485919" r:id="rId41"/>
    <p:sldLayoutId id="2147485920" r:id="rId42"/>
    <p:sldLayoutId id="2147485921" r:id="rId43"/>
    <p:sldLayoutId id="2147485922" r:id="rId44"/>
    <p:sldLayoutId id="2147485923" r:id="rId45"/>
    <p:sldLayoutId id="2147485924" r:id="rId46"/>
    <p:sldLayoutId id="2147485925" r:id="rId47"/>
    <p:sldLayoutId id="2147485926" r:id="rId48"/>
    <p:sldLayoutId id="2147485927" r:id="rId49"/>
    <p:sldLayoutId id="2147485928" r:id="rId50"/>
  </p:sldLayoutIdLst>
  <p:transition>
    <p:fade/>
  </p:transition>
  <p:hf sldNum="0" hdr="0" ftr="0" dt="0"/>
  <p:txStyles>
    <p:titleStyle>
      <a:lvl1pPr algn="l" defTabSz="951121" rtl="0" eaLnBrk="1" latinLnBrk="0" hangingPunct="1">
        <a:lnSpc>
          <a:spcPct val="100000"/>
        </a:lnSpc>
        <a:spcBef>
          <a:spcPct val="0"/>
        </a:spcBef>
        <a:buNone/>
        <a:defRPr lang="en-US" sz="3672" b="0" kern="1200" cap="none" spc="-51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33104" marR="0" indent="-233104" algn="l" defTabSz="951121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56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" panose="020B0502040204020203" pitchFamily="34" charset="0"/>
        </a:defRPr>
      </a:lvl1pPr>
      <a:lvl2pPr marL="466209" marR="0" indent="-233104" algn="l" defTabSz="951121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4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70175" marR="0" indent="-203966" algn="l" defTabSz="951121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32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859573" marR="0" indent="-184541" algn="l" defTabSz="951121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28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044113" marR="0" indent="-171591" algn="l" defTabSz="951121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28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615581" indent="-237781" algn="l" defTabSz="951121" rtl="0" eaLnBrk="1" latinLnBrk="0" hangingPunct="1">
        <a:spcBef>
          <a:spcPct val="20000"/>
        </a:spcBef>
        <a:buFont typeface="Arial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6pPr>
      <a:lvl7pPr marL="3091144" indent="-237781" algn="l" defTabSz="951121" rtl="0" eaLnBrk="1" latinLnBrk="0" hangingPunct="1">
        <a:spcBef>
          <a:spcPct val="20000"/>
        </a:spcBef>
        <a:buFont typeface="Arial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7pPr>
      <a:lvl8pPr marL="3566704" indent="-237781" algn="l" defTabSz="951121" rtl="0" eaLnBrk="1" latinLnBrk="0" hangingPunct="1">
        <a:spcBef>
          <a:spcPct val="20000"/>
        </a:spcBef>
        <a:buFont typeface="Arial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8pPr>
      <a:lvl9pPr marL="4042266" indent="-237781" algn="l" defTabSz="951121" rtl="0" eaLnBrk="1" latinLnBrk="0" hangingPunct="1">
        <a:spcBef>
          <a:spcPct val="20000"/>
        </a:spcBef>
        <a:buFont typeface="Arial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51121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1pPr>
      <a:lvl2pPr marL="475561" algn="l" defTabSz="951121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2pPr>
      <a:lvl3pPr marL="951121" algn="l" defTabSz="951121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3pPr>
      <a:lvl4pPr marL="1426681" algn="l" defTabSz="951121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1902242" algn="l" defTabSz="951121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377803" algn="l" defTabSz="951121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2853363" algn="l" defTabSz="951121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328923" algn="l" defTabSz="951121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804484" algn="l" defTabSz="951121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8">
          <p15:clr>
            <a:srgbClr val="C35EA4"/>
          </p15:clr>
        </p15:guide>
        <p15:guide id="17" pos="7313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85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95">
          <p15:clr>
            <a:srgbClr val="A4A3A4"/>
          </p15:clr>
        </p15:guide>
      </p15:sldGuideLst>
    </p:ext>
  </p:extLst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6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6"/>
          <a:stretch>
            <a:fillRect/>
          </a:stretch>
        </p:blipFill>
        <p:spPr>
          <a:xfrm rot="5400000">
            <a:off x="9393899" y="3050514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414778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5996" r:id="rId1"/>
    <p:sldLayoutId id="2147485997" r:id="rId2"/>
    <p:sldLayoutId id="2147485998" r:id="rId3"/>
    <p:sldLayoutId id="2147485999" r:id="rId4"/>
    <p:sldLayoutId id="2147486000" r:id="rId5"/>
    <p:sldLayoutId id="2147486001" r:id="rId6"/>
    <p:sldLayoutId id="2147486002" r:id="rId7"/>
    <p:sldLayoutId id="2147486003" r:id="rId8"/>
    <p:sldLayoutId id="2147486004" r:id="rId9"/>
    <p:sldLayoutId id="2147486005" r:id="rId10"/>
    <p:sldLayoutId id="2147486006" r:id="rId11"/>
    <p:sldLayoutId id="2147486007" r:id="rId12"/>
    <p:sldLayoutId id="2147486008" r:id="rId13"/>
    <p:sldLayoutId id="2147486009" r:id="rId14"/>
    <p:sldLayoutId id="2147486010" r:id="rId15"/>
    <p:sldLayoutId id="2147486011" r:id="rId16"/>
    <p:sldLayoutId id="2147486012" r:id="rId17"/>
    <p:sldLayoutId id="2147486013" r:id="rId18"/>
    <p:sldLayoutId id="2147486014" r:id="rId19"/>
    <p:sldLayoutId id="2147486015" r:id="rId20"/>
    <p:sldLayoutId id="2147486016" r:id="rId21"/>
    <p:sldLayoutId id="2147486017" r:id="rId22"/>
    <p:sldLayoutId id="2147486018" r:id="rId23"/>
    <p:sldLayoutId id="2147486019" r:id="rId24"/>
    <p:sldLayoutId id="2147486020" r:id="rId25"/>
    <p:sldLayoutId id="2147486021" r:id="rId26"/>
    <p:sldLayoutId id="2147486022" r:id="rId27"/>
    <p:sldLayoutId id="2147486023" r:id="rId28"/>
    <p:sldLayoutId id="2147486024" r:id="rId29"/>
    <p:sldLayoutId id="2147486025" r:id="rId30"/>
    <p:sldLayoutId id="2147486026" r:id="rId31"/>
    <p:sldLayoutId id="2147486027" r:id="rId32"/>
    <p:sldLayoutId id="2147486029" r:id="rId33"/>
    <p:sldLayoutId id="2147486030" r:id="rId34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5B6C2C-3188-4F0B-A952-43DE38EF47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5008" y="372394"/>
            <a:ext cx="10726460" cy="13519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E9B8DA-9819-47F6-BFB4-52B4DF5E1F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55008" y="1861968"/>
            <a:ext cx="10726460" cy="44379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54F7D10-8BF3-4A9F-8760-E31138BFBD3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5008" y="6482889"/>
            <a:ext cx="2798207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2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764C94B-9F0D-4B4A-9E9A-843BD9221386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F997A0-2900-4253-9E5D-E4EC7A60EC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19583" y="6482889"/>
            <a:ext cx="4197310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2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939A9B-ED5D-4E32-AB6A-7ACB74367D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83260" y="6482889"/>
            <a:ext cx="2798207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2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1EAD611-E633-44C1-A41A-3A2FC4F4365F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6191294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32" r:id="rId1"/>
    <p:sldLayoutId id="2147486033" r:id="rId2"/>
    <p:sldLayoutId id="2147486034" r:id="rId3"/>
    <p:sldLayoutId id="2147486035" r:id="rId4"/>
    <p:sldLayoutId id="2147486036" r:id="rId5"/>
    <p:sldLayoutId id="2147486037" r:id="rId6"/>
    <p:sldLayoutId id="2147486038" r:id="rId7"/>
    <p:sldLayoutId id="2147486039" r:id="rId8"/>
    <p:sldLayoutId id="2147486040" r:id="rId9"/>
    <p:sldLayoutId id="2147486041" r:id="rId10"/>
    <p:sldLayoutId id="2147486042" r:id="rId11"/>
  </p:sldLayoutIdLst>
  <p:txStyles>
    <p:titleStyle>
      <a:lvl1pPr algn="l" defTabSz="932597" rtl="0" eaLnBrk="1" latinLnBrk="0" hangingPunct="1">
        <a:lnSpc>
          <a:spcPct val="90000"/>
        </a:lnSpc>
        <a:spcBef>
          <a:spcPct val="0"/>
        </a:spcBef>
        <a:buNone/>
        <a:defRPr sz="448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33149" indent="-233149" algn="l" defTabSz="932597" rtl="0" eaLnBrk="1" latinLnBrk="0" hangingPunct="1">
        <a:lnSpc>
          <a:spcPct val="90000"/>
        </a:lnSpc>
        <a:spcBef>
          <a:spcPts val="1020"/>
        </a:spcBef>
        <a:buFont typeface="Arial" panose="020B0604020202020204" pitchFamily="34" charset="0"/>
        <a:buChar char="•"/>
        <a:defRPr sz="2856" kern="1200">
          <a:solidFill>
            <a:schemeClr val="tx1"/>
          </a:solidFill>
          <a:latin typeface="+mn-lt"/>
          <a:ea typeface="+mn-ea"/>
          <a:cs typeface="+mn-cs"/>
        </a:defRPr>
      </a:lvl1pPr>
      <a:lvl2pPr marL="699447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165746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3pPr>
      <a:lvl4pPr marL="1632044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2098342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564641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3030939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497237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963535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1pPr>
      <a:lvl2pPr marL="466298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2pPr>
      <a:lvl3pPr marL="932597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3pPr>
      <a:lvl4pPr marL="1398895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1865193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331491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2797790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264088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730386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1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9"/>
          <a:stretch>
            <a:fillRect/>
          </a:stretch>
        </p:blipFill>
        <p:spPr>
          <a:xfrm rot="5400000">
            <a:off x="9393899" y="3050514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420809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6044" r:id="rId1"/>
    <p:sldLayoutId id="2147486045" r:id="rId2"/>
    <p:sldLayoutId id="2147486046" r:id="rId3"/>
    <p:sldLayoutId id="2147486047" r:id="rId4"/>
    <p:sldLayoutId id="2147486048" r:id="rId5"/>
    <p:sldLayoutId id="2147486049" r:id="rId6"/>
    <p:sldLayoutId id="2147486050" r:id="rId7"/>
    <p:sldLayoutId id="2147486051" r:id="rId8"/>
    <p:sldLayoutId id="2147486052" r:id="rId9"/>
    <p:sldLayoutId id="2147486053" r:id="rId10"/>
    <p:sldLayoutId id="2147486054" r:id="rId11"/>
    <p:sldLayoutId id="2147486055" r:id="rId12"/>
    <p:sldLayoutId id="2147486056" r:id="rId13"/>
    <p:sldLayoutId id="2147486057" r:id="rId14"/>
    <p:sldLayoutId id="2147486058" r:id="rId15"/>
    <p:sldLayoutId id="2147486059" r:id="rId16"/>
    <p:sldLayoutId id="2147486060" r:id="rId17"/>
    <p:sldLayoutId id="2147486061" r:id="rId18"/>
    <p:sldLayoutId id="2147486062" r:id="rId19"/>
    <p:sldLayoutId id="2147486063" r:id="rId20"/>
    <p:sldLayoutId id="2147486064" r:id="rId21"/>
    <p:sldLayoutId id="2147486065" r:id="rId22"/>
    <p:sldLayoutId id="2147486066" r:id="rId23"/>
    <p:sldLayoutId id="2147486067" r:id="rId24"/>
    <p:sldLayoutId id="2147486068" r:id="rId25"/>
    <p:sldLayoutId id="2147486069" r:id="rId26"/>
    <p:sldLayoutId id="2147486070" r:id="rId27"/>
    <p:sldLayoutId id="2147486071" r:id="rId28"/>
    <p:sldLayoutId id="2147486072" r:id="rId29"/>
    <p:sldLayoutId id="2147486073" r:id="rId30"/>
    <p:sldLayoutId id="2147486074" r:id="rId31"/>
    <p:sldLayoutId id="2147486075" r:id="rId32"/>
    <p:sldLayoutId id="2147486076" r:id="rId33"/>
    <p:sldLayoutId id="2147486077" r:id="rId34"/>
    <p:sldLayoutId id="2147486078" r:id="rId35"/>
    <p:sldLayoutId id="2147486079" r:id="rId36"/>
    <p:sldLayoutId id="2147486080" r:id="rId37"/>
  </p:sldLayoutIdLst>
  <p:transition>
    <p:fade/>
  </p:transition>
  <p:txStyles>
    <p:titleStyle>
      <a:lvl1pPr algn="l" defTabSz="932563" rtl="0" eaLnBrk="1" latinLnBrk="0" hangingPunct="1">
        <a:lnSpc>
          <a:spcPct val="90000"/>
        </a:lnSpc>
        <a:spcBef>
          <a:spcPct val="0"/>
        </a:spcBef>
        <a:buNone/>
        <a:defRPr lang="en-US" sz="4799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34" marR="0" indent="-342834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9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088" marR="0" indent="-241253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946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503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058" marR="0" indent="-228557" algn="l" defTabSz="9325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548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830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112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394" indent="-233141" algn="l" defTabSz="9325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281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56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844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126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408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689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970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253" algn="l" defTabSz="9325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56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B3A23CD-1C29-41A8-97A4-3459DFFE7C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5008" y="372396"/>
            <a:ext cx="10726460" cy="13519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360B19-8C36-4DD8-BB56-1200DF33CE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55008" y="1861968"/>
            <a:ext cx="10726460" cy="44379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FA5659-53CE-41E0-B416-F51FBFC8AA0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5010" y="6482891"/>
            <a:ext cx="2798207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2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32239">
              <a:defRPr/>
            </a:pPr>
            <a:fld id="{D5450E1F-BDE5-4E90-8D1C-FA441692A6D9}" type="datetime1">
              <a:rPr lang="en-AU" smtClean="0">
                <a:solidFill>
                  <a:prstClr val="black">
                    <a:tint val="75000"/>
                  </a:prstClr>
                </a:solidFill>
              </a:rPr>
              <a:pPr defTabSz="932239">
                <a:defRPr/>
              </a:pPr>
              <a:t>7/05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E9DAE0-1B5A-4710-ACAB-6616AF5AD8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19583" y="6482891"/>
            <a:ext cx="4197310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2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32239"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57286F7-EBB5-425D-B85E-5ED13C49BD9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83260" y="6482891"/>
            <a:ext cx="2798207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2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32239">
              <a:defRPr/>
            </a:pPr>
            <a:fld id="{98005AF1-E2B5-43EC-9CF1-67452EF1650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32239"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57187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082" r:id="rId1"/>
    <p:sldLayoutId id="2147486083" r:id="rId2"/>
    <p:sldLayoutId id="2147486084" r:id="rId3"/>
    <p:sldLayoutId id="2147486085" r:id="rId4"/>
    <p:sldLayoutId id="2147486086" r:id="rId5"/>
    <p:sldLayoutId id="2147486087" r:id="rId6"/>
    <p:sldLayoutId id="2147486088" r:id="rId7"/>
    <p:sldLayoutId id="2147486089" r:id="rId8"/>
    <p:sldLayoutId id="2147486090" r:id="rId9"/>
    <p:sldLayoutId id="2147486091" r:id="rId10"/>
    <p:sldLayoutId id="2147486092" r:id="rId11"/>
    <p:sldLayoutId id="2147486093" r:id="rId12"/>
    <p:sldLayoutId id="2147486094" r:id="rId13"/>
    <p:sldLayoutId id="2147486095" r:id="rId14"/>
    <p:sldLayoutId id="2147486096" r:id="rId15"/>
    <p:sldLayoutId id="2147486097" r:id="rId16"/>
    <p:sldLayoutId id="2147486098" r:id="rId17"/>
    <p:sldLayoutId id="2147486099" r:id="rId18"/>
    <p:sldLayoutId id="2147486100" r:id="rId19"/>
    <p:sldLayoutId id="2147486101" r:id="rId20"/>
    <p:sldLayoutId id="2147486102" r:id="rId21"/>
    <p:sldLayoutId id="2147486103" r:id="rId22"/>
    <p:sldLayoutId id="2147486104" r:id="rId23"/>
    <p:sldLayoutId id="2147486105" r:id="rId24"/>
    <p:sldLayoutId id="2147486106" r:id="rId25"/>
    <p:sldLayoutId id="2147486107" r:id="rId26"/>
    <p:sldLayoutId id="2147486108" r:id="rId27"/>
    <p:sldLayoutId id="2147486109" r:id="rId28"/>
    <p:sldLayoutId id="2147486110" r:id="rId29"/>
    <p:sldLayoutId id="2147486111" r:id="rId30"/>
    <p:sldLayoutId id="2147486112" r:id="rId31"/>
    <p:sldLayoutId id="2147486113" r:id="rId32"/>
    <p:sldLayoutId id="2147486114" r:id="rId33"/>
  </p:sldLayoutIdLst>
  <p:hf sldNum="0" hdr="0" ftr="0" dt="0"/>
  <p:txStyles>
    <p:titleStyle>
      <a:lvl1pPr algn="l" defTabSz="932239" rtl="0" eaLnBrk="1" latinLnBrk="0" hangingPunct="1">
        <a:lnSpc>
          <a:spcPct val="90000"/>
        </a:lnSpc>
        <a:spcBef>
          <a:spcPct val="0"/>
        </a:spcBef>
        <a:buNone/>
        <a:defRPr sz="448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33059" indent="-233059" algn="l" defTabSz="932239" rtl="0" eaLnBrk="1" latinLnBrk="0" hangingPunct="1">
        <a:lnSpc>
          <a:spcPct val="90000"/>
        </a:lnSpc>
        <a:spcBef>
          <a:spcPts val="1020"/>
        </a:spcBef>
        <a:buFont typeface="Arial" panose="020B0604020202020204" pitchFamily="34" charset="0"/>
        <a:buChar char="•"/>
        <a:defRPr sz="2856" kern="1200">
          <a:solidFill>
            <a:schemeClr val="tx1"/>
          </a:solidFill>
          <a:latin typeface="+mn-lt"/>
          <a:ea typeface="+mn-ea"/>
          <a:cs typeface="+mn-cs"/>
        </a:defRPr>
      </a:lvl1pPr>
      <a:lvl2pPr marL="699179" indent="-233059" algn="l" defTabSz="932239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165298" indent="-233059" algn="l" defTabSz="932239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3pPr>
      <a:lvl4pPr marL="1631418" indent="-233059" algn="l" defTabSz="932239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2097537" indent="-233059" algn="l" defTabSz="932239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563656" indent="-233059" algn="l" defTabSz="932239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3029775" indent="-233059" algn="l" defTabSz="932239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495894" indent="-233059" algn="l" defTabSz="932239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962013" indent="-233059" algn="l" defTabSz="932239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23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1pPr>
      <a:lvl2pPr marL="466120" algn="l" defTabSz="93223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2pPr>
      <a:lvl3pPr marL="932239" algn="l" defTabSz="93223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3pPr>
      <a:lvl4pPr marL="1398358" algn="l" defTabSz="93223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1864477" algn="l" defTabSz="93223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330596" algn="l" defTabSz="93223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2796716" algn="l" defTabSz="93223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262835" algn="l" defTabSz="93223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728953" algn="l" defTabSz="932239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55008" y="372394"/>
            <a:ext cx="10726460" cy="13519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5008" y="1861968"/>
            <a:ext cx="10726460" cy="44379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55008" y="6482889"/>
            <a:ext cx="2798207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2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47F7F1-0E89-4D7B-8516-36A4AC75346A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19583" y="6482889"/>
            <a:ext cx="4197310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2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83260" y="6482889"/>
            <a:ext cx="2798207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2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792400-19F6-4B13-9EA1-2A330825251F}" type="slidenum">
              <a:rPr lang="en-AU" smtClean="0"/>
              <a:t>‹#›</a:t>
            </a:fld>
            <a:endParaRPr lang="en-AU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5858F8D-807E-4ECD-A361-10CB5A79DDE1}"/>
              </a:ext>
            </a:extLst>
          </p:cNvPr>
          <p:cNvSpPr txBox="1"/>
          <p:nvPr userDrawn="1"/>
        </p:nvSpPr>
        <p:spPr>
          <a:xfrm>
            <a:off x="4664274" y="6816267"/>
            <a:ext cx="2388950" cy="10169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Aft>
                <a:spcPts val="376"/>
              </a:spcAft>
            </a:pPr>
            <a:r>
              <a:rPr lang="en-US" sz="72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MICROSOFT</a:t>
            </a:r>
            <a:r>
              <a:rPr lang="en-US" sz="720" baseline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CONFIDENTIAL / </a:t>
            </a:r>
            <a:r>
              <a:rPr lang="en-US" sz="720" b="1" baseline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FOR INTERNAL USE</a:t>
            </a:r>
            <a:r>
              <a:rPr lang="en-US" sz="720" baseline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ONLY</a:t>
            </a:r>
            <a:endParaRPr lang="en-US" sz="72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:p14="http://schemas.microsoft.com/office/powerpoint/2010/main" val="28017551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35" r:id="rId1"/>
    <p:sldLayoutId id="2147486136" r:id="rId2"/>
    <p:sldLayoutId id="2147486137" r:id="rId3"/>
    <p:sldLayoutId id="2147486138" r:id="rId4"/>
    <p:sldLayoutId id="2147486139" r:id="rId5"/>
    <p:sldLayoutId id="2147486140" r:id="rId6"/>
    <p:sldLayoutId id="2147486141" r:id="rId7"/>
    <p:sldLayoutId id="2147486142" r:id="rId8"/>
    <p:sldLayoutId id="2147486143" r:id="rId9"/>
    <p:sldLayoutId id="2147486144" r:id="rId10"/>
    <p:sldLayoutId id="2147486145" r:id="rId11"/>
    <p:sldLayoutId id="2147486146" r:id="rId12"/>
    <p:sldLayoutId id="2147486147" r:id="rId13"/>
  </p:sldLayoutIdLst>
  <p:transition>
    <p:fade/>
  </p:transition>
  <p:txStyles>
    <p:titleStyle>
      <a:lvl1pPr algn="l" defTabSz="932597" rtl="0" eaLnBrk="1" latinLnBrk="0" hangingPunct="1">
        <a:lnSpc>
          <a:spcPct val="90000"/>
        </a:lnSpc>
        <a:spcBef>
          <a:spcPct val="0"/>
        </a:spcBef>
        <a:buNone/>
        <a:defRPr sz="448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33149" indent="-233149" algn="l" defTabSz="932597" rtl="0" eaLnBrk="1" latinLnBrk="0" hangingPunct="1">
        <a:lnSpc>
          <a:spcPct val="90000"/>
        </a:lnSpc>
        <a:spcBef>
          <a:spcPts val="1020"/>
        </a:spcBef>
        <a:buFont typeface="Arial" panose="020B0604020202020204" pitchFamily="34" charset="0"/>
        <a:buChar char="•"/>
        <a:defRPr sz="2856" kern="1200">
          <a:solidFill>
            <a:schemeClr val="tx1"/>
          </a:solidFill>
          <a:latin typeface="+mn-lt"/>
          <a:ea typeface="+mn-ea"/>
          <a:cs typeface="+mn-cs"/>
        </a:defRPr>
      </a:lvl1pPr>
      <a:lvl2pPr marL="699447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165746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3pPr>
      <a:lvl4pPr marL="1632044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2098342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564641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3030939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497237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963535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1pPr>
      <a:lvl2pPr marL="466298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2pPr>
      <a:lvl3pPr marL="932597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3pPr>
      <a:lvl4pPr marL="1398895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1865193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331491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2797790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264088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730386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641AD55-1844-4CE6-92A2-6DCABA85BB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5008" y="372394"/>
            <a:ext cx="10726460" cy="13519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224D54-9B28-4FD7-BA4E-56626E63D4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55008" y="1861968"/>
            <a:ext cx="10726460" cy="44379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B80048-9A26-4B15-8838-544D8533787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5008" y="6482889"/>
            <a:ext cx="2798207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2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FDBAD4-3189-41EB-9AF6-F76065F2104E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0CEAECE-6895-46C2-9541-40EB8E7659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19583" y="6482889"/>
            <a:ext cx="4197310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2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5C38C5-CEFB-46C3-B085-7C41A58FE2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83260" y="6482889"/>
            <a:ext cx="2798207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2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F2E0C4-5B8C-4F8F-BDB9-A952EB01EADD}" type="slidenum">
              <a:rPr lang="en-AU" smtClean="0"/>
              <a:t>‹#›</a:t>
            </a:fld>
            <a:endParaRPr lang="en-AU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A5A5150-80AB-40DA-B94F-6A342D1E2AC7}"/>
              </a:ext>
            </a:extLst>
          </p:cNvPr>
          <p:cNvPicPr>
            <a:picLocks noChangeAspect="1"/>
          </p:cNvPicPr>
          <p:nvPr userDrawn="1"/>
        </p:nvPicPr>
        <p:blipFill>
          <a:blip r:embed="rId46"/>
          <a:stretch>
            <a:fillRect/>
          </a:stretch>
        </p:blipFill>
        <p:spPr>
          <a:xfrm>
            <a:off x="12489100" y="1"/>
            <a:ext cx="1048603" cy="2456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13062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63" r:id="rId1"/>
    <p:sldLayoutId id="2147485164" r:id="rId2"/>
    <p:sldLayoutId id="2147485165" r:id="rId3"/>
    <p:sldLayoutId id="2147485166" r:id="rId4"/>
    <p:sldLayoutId id="2147485167" r:id="rId5"/>
    <p:sldLayoutId id="2147485168" r:id="rId6"/>
    <p:sldLayoutId id="2147485169" r:id="rId7"/>
    <p:sldLayoutId id="2147485170" r:id="rId8"/>
    <p:sldLayoutId id="2147485171" r:id="rId9"/>
    <p:sldLayoutId id="2147485172" r:id="rId10"/>
    <p:sldLayoutId id="2147485173" r:id="rId11"/>
    <p:sldLayoutId id="2147485174" r:id="rId12"/>
    <p:sldLayoutId id="2147485001" r:id="rId13"/>
    <p:sldLayoutId id="2147485002" r:id="rId14"/>
    <p:sldLayoutId id="2147485003" r:id="rId15"/>
    <p:sldLayoutId id="2147485004" r:id="rId16"/>
    <p:sldLayoutId id="2147485005" r:id="rId17"/>
    <p:sldLayoutId id="2147485006" r:id="rId18"/>
    <p:sldLayoutId id="2147485007" r:id="rId19"/>
    <p:sldLayoutId id="2147485008" r:id="rId20"/>
    <p:sldLayoutId id="2147485009" r:id="rId21"/>
    <p:sldLayoutId id="2147485010" r:id="rId22"/>
    <p:sldLayoutId id="2147485011" r:id="rId23"/>
    <p:sldLayoutId id="2147485012" r:id="rId24"/>
    <p:sldLayoutId id="2147485013" r:id="rId25"/>
    <p:sldLayoutId id="2147485014" r:id="rId26"/>
    <p:sldLayoutId id="2147485017" r:id="rId27"/>
    <p:sldLayoutId id="2147485018" r:id="rId28"/>
    <p:sldLayoutId id="2147485019" r:id="rId29"/>
    <p:sldLayoutId id="2147485020" r:id="rId30"/>
    <p:sldLayoutId id="2147485021" r:id="rId31"/>
    <p:sldLayoutId id="2147485022" r:id="rId32"/>
    <p:sldLayoutId id="2147485023" r:id="rId33"/>
    <p:sldLayoutId id="2147485024" r:id="rId34"/>
    <p:sldLayoutId id="2147485026" r:id="rId35"/>
    <p:sldLayoutId id="2147485027" r:id="rId36"/>
    <p:sldLayoutId id="2147485028" r:id="rId37"/>
    <p:sldLayoutId id="2147485029" r:id="rId38"/>
    <p:sldLayoutId id="2147485030" r:id="rId39"/>
    <p:sldLayoutId id="2147485031" r:id="rId40"/>
    <p:sldLayoutId id="2147485032" r:id="rId41"/>
    <p:sldLayoutId id="2147485034" r:id="rId42"/>
    <p:sldLayoutId id="2147485035" r:id="rId43"/>
    <p:sldLayoutId id="2147485036" r:id="rId44"/>
  </p:sldLayoutIdLst>
  <p:transition>
    <p:fade/>
  </p:transition>
  <p:txStyles>
    <p:titleStyle>
      <a:lvl1pPr algn="l" defTabSz="932597" rtl="0" eaLnBrk="1" latinLnBrk="0" hangingPunct="1">
        <a:lnSpc>
          <a:spcPct val="90000"/>
        </a:lnSpc>
        <a:spcBef>
          <a:spcPct val="0"/>
        </a:spcBef>
        <a:buNone/>
        <a:defRPr sz="448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33149" indent="-233149" algn="l" defTabSz="932597" rtl="0" eaLnBrk="1" latinLnBrk="0" hangingPunct="1">
        <a:lnSpc>
          <a:spcPct val="90000"/>
        </a:lnSpc>
        <a:spcBef>
          <a:spcPts val="1020"/>
        </a:spcBef>
        <a:buFont typeface="Arial" panose="020B0604020202020204" pitchFamily="34" charset="0"/>
        <a:buChar char="•"/>
        <a:defRPr sz="2856" kern="1200">
          <a:solidFill>
            <a:schemeClr val="tx1"/>
          </a:solidFill>
          <a:latin typeface="+mn-lt"/>
          <a:ea typeface="+mn-ea"/>
          <a:cs typeface="+mn-cs"/>
        </a:defRPr>
      </a:lvl1pPr>
      <a:lvl2pPr marL="699447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165746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3pPr>
      <a:lvl4pPr marL="1632044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2098342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564641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3030939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497237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963535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1pPr>
      <a:lvl2pPr marL="466298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2pPr>
      <a:lvl3pPr marL="932597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3pPr>
      <a:lvl4pPr marL="1398895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1865193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331491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2797790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264088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730386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641AD55-1844-4CE6-92A2-6DCABA85BB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5008" y="372394"/>
            <a:ext cx="10726460" cy="13519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224D54-9B28-4FD7-BA4E-56626E63D4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55008" y="1861968"/>
            <a:ext cx="10726460" cy="44379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B80048-9A26-4B15-8838-544D8533787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5008" y="6482889"/>
            <a:ext cx="2798207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2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FDBAD4-3189-41EB-9AF6-F76065F2104E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0CEAECE-6895-46C2-9541-40EB8E76599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19583" y="6482889"/>
            <a:ext cx="4197310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2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5C38C5-CEFB-46C3-B085-7C41A58FE2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83260" y="6482889"/>
            <a:ext cx="2798207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2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F2E0C4-5B8C-4F8F-BDB9-A952EB01EADD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3039269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39" r:id="rId1"/>
    <p:sldLayoutId id="2147485240" r:id="rId2"/>
    <p:sldLayoutId id="2147485241" r:id="rId3"/>
    <p:sldLayoutId id="2147485242" r:id="rId4"/>
    <p:sldLayoutId id="2147485243" r:id="rId5"/>
    <p:sldLayoutId id="2147485244" r:id="rId6"/>
    <p:sldLayoutId id="2147485245" r:id="rId7"/>
    <p:sldLayoutId id="2147485246" r:id="rId8"/>
    <p:sldLayoutId id="2147485247" r:id="rId9"/>
    <p:sldLayoutId id="2147485248" r:id="rId10"/>
    <p:sldLayoutId id="2147485249" r:id="rId11"/>
  </p:sldLayoutIdLst>
  <p:txStyles>
    <p:titleStyle>
      <a:lvl1pPr algn="l" defTabSz="932597" rtl="0" eaLnBrk="1" latinLnBrk="0" hangingPunct="1">
        <a:lnSpc>
          <a:spcPct val="90000"/>
        </a:lnSpc>
        <a:spcBef>
          <a:spcPct val="0"/>
        </a:spcBef>
        <a:buNone/>
        <a:defRPr sz="448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33149" indent="-233149" algn="l" defTabSz="932597" rtl="0" eaLnBrk="1" latinLnBrk="0" hangingPunct="1">
        <a:lnSpc>
          <a:spcPct val="90000"/>
        </a:lnSpc>
        <a:spcBef>
          <a:spcPts val="1020"/>
        </a:spcBef>
        <a:buFont typeface="Arial" panose="020B0604020202020204" pitchFamily="34" charset="0"/>
        <a:buChar char="•"/>
        <a:defRPr sz="2856" kern="1200">
          <a:solidFill>
            <a:schemeClr val="tx1"/>
          </a:solidFill>
          <a:latin typeface="+mn-lt"/>
          <a:ea typeface="+mn-ea"/>
          <a:cs typeface="+mn-cs"/>
        </a:defRPr>
      </a:lvl1pPr>
      <a:lvl2pPr marL="699447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165746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3pPr>
      <a:lvl4pPr marL="1632044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2098342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564641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3030939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497237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963535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1pPr>
      <a:lvl2pPr marL="466298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2pPr>
      <a:lvl3pPr marL="932597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3pPr>
      <a:lvl4pPr marL="1398895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1865193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331491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2797790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264088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730386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6EAE8C3-91A4-4715-9AAF-4E6ED7B5FF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5008" y="372394"/>
            <a:ext cx="10726460" cy="13519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1FAF0B-2E47-4318-A004-3918A89C82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55008" y="1861968"/>
            <a:ext cx="10726460" cy="44379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8EFEB0-C7BB-4D94-9046-E1AF128E6F8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5008" y="6482889"/>
            <a:ext cx="2798207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2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A781E68-B349-404A-BD0A-9E1CB3E9E318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57526E-580C-4B19-910B-F1055C20A4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19583" y="6482889"/>
            <a:ext cx="4197310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2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FE73EE6-2B28-44D0-A7DA-54AAD262B8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83260" y="6482889"/>
            <a:ext cx="2798207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2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466D64-94D5-4B37-808A-9098561C6433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4831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77" r:id="rId1"/>
    <p:sldLayoutId id="2147485378" r:id="rId2"/>
    <p:sldLayoutId id="2147485379" r:id="rId3"/>
    <p:sldLayoutId id="2147485380" r:id="rId4"/>
    <p:sldLayoutId id="2147485381" r:id="rId5"/>
    <p:sldLayoutId id="2147485382" r:id="rId6"/>
    <p:sldLayoutId id="2147485383" r:id="rId7"/>
    <p:sldLayoutId id="2147485384" r:id="rId8"/>
    <p:sldLayoutId id="2147485385" r:id="rId9"/>
    <p:sldLayoutId id="2147485386" r:id="rId10"/>
    <p:sldLayoutId id="2147485387" r:id="rId11"/>
  </p:sldLayoutIdLst>
  <p:txStyles>
    <p:titleStyle>
      <a:lvl1pPr algn="l" defTabSz="932597" rtl="0" eaLnBrk="1" latinLnBrk="0" hangingPunct="1">
        <a:lnSpc>
          <a:spcPct val="90000"/>
        </a:lnSpc>
        <a:spcBef>
          <a:spcPct val="0"/>
        </a:spcBef>
        <a:buNone/>
        <a:defRPr sz="448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33149" indent="-233149" algn="l" defTabSz="932597" rtl="0" eaLnBrk="1" latinLnBrk="0" hangingPunct="1">
        <a:lnSpc>
          <a:spcPct val="90000"/>
        </a:lnSpc>
        <a:spcBef>
          <a:spcPts val="1020"/>
        </a:spcBef>
        <a:buFont typeface="Arial" panose="020B0604020202020204" pitchFamily="34" charset="0"/>
        <a:buChar char="•"/>
        <a:defRPr sz="2856" kern="1200">
          <a:solidFill>
            <a:schemeClr val="tx1"/>
          </a:solidFill>
          <a:latin typeface="+mn-lt"/>
          <a:ea typeface="+mn-ea"/>
          <a:cs typeface="+mn-cs"/>
        </a:defRPr>
      </a:lvl1pPr>
      <a:lvl2pPr marL="699447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165746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3pPr>
      <a:lvl4pPr marL="1632044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2098342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564641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3030939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497237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963535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1pPr>
      <a:lvl2pPr marL="466298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2pPr>
      <a:lvl3pPr marL="932597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3pPr>
      <a:lvl4pPr marL="1398895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1865193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331491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2797790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264088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730386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6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2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4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71797" y="3072300"/>
            <a:ext cx="6995160" cy="849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0014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91" r:id="rId1"/>
    <p:sldLayoutId id="2147485392" r:id="rId2"/>
    <p:sldLayoutId id="2147485393" r:id="rId3"/>
    <p:sldLayoutId id="2147485394" r:id="rId4"/>
    <p:sldLayoutId id="2147485395" r:id="rId5"/>
    <p:sldLayoutId id="2147485396" r:id="rId6"/>
    <p:sldLayoutId id="2147485397" r:id="rId7"/>
    <p:sldLayoutId id="2147485398" r:id="rId8"/>
    <p:sldLayoutId id="2147485399" r:id="rId9"/>
    <p:sldLayoutId id="2147485400" r:id="rId10"/>
    <p:sldLayoutId id="2147485401" r:id="rId11"/>
    <p:sldLayoutId id="2147485402" r:id="rId12"/>
    <p:sldLayoutId id="2147485403" r:id="rId13"/>
    <p:sldLayoutId id="2147485404" r:id="rId14"/>
    <p:sldLayoutId id="2147485405" r:id="rId15"/>
    <p:sldLayoutId id="2147485406" r:id="rId16"/>
    <p:sldLayoutId id="2147485407" r:id="rId17"/>
    <p:sldLayoutId id="2147485408" r:id="rId18"/>
    <p:sldLayoutId id="2147485409" r:id="rId19"/>
    <p:sldLayoutId id="2147485410" r:id="rId20"/>
    <p:sldLayoutId id="2147485411" r:id="rId21"/>
    <p:sldLayoutId id="2147485412" r:id="rId22"/>
    <p:sldLayoutId id="2147485413" r:id="rId23"/>
    <p:sldLayoutId id="2147485414" r:id="rId24"/>
    <p:sldLayoutId id="2147485415" r:id="rId25"/>
    <p:sldLayoutId id="2147485416" r:id="rId26"/>
    <p:sldLayoutId id="2147485417" r:id="rId27"/>
    <p:sldLayoutId id="2147485418" r:id="rId28"/>
    <p:sldLayoutId id="2147485419" r:id="rId29"/>
    <p:sldLayoutId id="2147485420" r:id="rId30"/>
    <p:sldLayoutId id="2147485421" r:id="rId31"/>
    <p:sldLayoutId id="2147485422" r:id="rId32"/>
    <p:sldLayoutId id="2147485423" r:id="rId33"/>
    <p:sldLayoutId id="2147485424" r:id="rId34"/>
    <p:sldLayoutId id="2147485425" r:id="rId35"/>
    <p:sldLayoutId id="2147485426" r:id="rId36"/>
    <p:sldLayoutId id="2147485427" r:id="rId37"/>
    <p:sldLayoutId id="2147485428" r:id="rId38"/>
    <p:sldLayoutId id="2147485429" r:id="rId39"/>
    <p:sldLayoutId id="2147485430" r:id="rId40"/>
    <p:sldLayoutId id="2147485431" r:id="rId41"/>
    <p:sldLayoutId id="2147485432" r:id="rId42"/>
    <p:sldLayoutId id="2147485433" r:id="rId43"/>
    <p:sldLayoutId id="2147485434" r:id="rId44"/>
  </p:sldLayoutIdLst>
  <p:transition>
    <p:fade/>
  </p:transition>
  <p:txStyles>
    <p:titleStyle>
      <a:lvl1pPr algn="l" defTabSz="932384" rtl="0" eaLnBrk="1" latinLnBrk="0" hangingPunct="1">
        <a:lnSpc>
          <a:spcPct val="90000"/>
        </a:lnSpc>
        <a:spcBef>
          <a:spcPct val="0"/>
        </a:spcBef>
        <a:buNone/>
        <a:defRPr lang="en-US" sz="4798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768" marR="0" indent="-342768" algn="l" defTabSz="93238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998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3975" marR="0" indent="-241206" algn="l" defTabSz="93238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9792" marR="0" indent="-228513" algn="l" defTabSz="93238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305" marR="0" indent="-228513" algn="l" defTabSz="93238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6817" marR="0" indent="-228513" algn="l" defTabSz="932384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055" indent="-233096" algn="l" defTabSz="93238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0248" indent="-233096" algn="l" defTabSz="93238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6441" indent="-233096" algn="l" defTabSz="93238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2633" indent="-233096" algn="l" defTabSz="93238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3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191" algn="l" defTabSz="9323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384" algn="l" defTabSz="9323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576" algn="l" defTabSz="9323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4768" algn="l" defTabSz="9323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0960" algn="l" defTabSz="9323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152" algn="l" defTabSz="9323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3343" algn="l" defTabSz="9323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29537" algn="l" defTabSz="93238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2C3E145-CE37-4B14-AFF7-83A1708A1C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5008" y="372394"/>
            <a:ext cx="10726460" cy="13519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FEF5924-E457-4025-A388-5F80B6C9E8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55008" y="1861968"/>
            <a:ext cx="10726460" cy="44379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F13AAB-7C8A-4E42-B3C9-8558AAEB451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55008" y="6482889"/>
            <a:ext cx="2798207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2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940D08-F693-4964-9434-EA65985C0752}" type="datetimeFigureOut">
              <a:rPr lang="en-AU" smtClean="0"/>
              <a:t>7/05/2021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1002F1-0946-46E8-9EF3-1826147408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19583" y="6482889"/>
            <a:ext cx="4197310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2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31A42B4-210A-4D71-8BA3-5CCCDB770D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83260" y="6482889"/>
            <a:ext cx="2798207" cy="3723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2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346780-FE8F-4CBE-8B77-4594C054D1CB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8991988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54" r:id="rId1"/>
    <p:sldLayoutId id="2147485455" r:id="rId2"/>
    <p:sldLayoutId id="2147485456" r:id="rId3"/>
    <p:sldLayoutId id="2147485457" r:id="rId4"/>
    <p:sldLayoutId id="2147485458" r:id="rId5"/>
    <p:sldLayoutId id="2147485459" r:id="rId6"/>
    <p:sldLayoutId id="2147485460" r:id="rId7"/>
    <p:sldLayoutId id="2147485461" r:id="rId8"/>
    <p:sldLayoutId id="2147485462" r:id="rId9"/>
    <p:sldLayoutId id="2147485463" r:id="rId10"/>
    <p:sldLayoutId id="2147485464" r:id="rId11"/>
    <p:sldLayoutId id="2147485465" r:id="rId12"/>
    <p:sldLayoutId id="2147485466" r:id="rId13"/>
    <p:sldLayoutId id="2147485468" r:id="rId14"/>
  </p:sldLayoutIdLst>
  <p:transition>
    <p:fade/>
  </p:transition>
  <p:txStyles>
    <p:titleStyle>
      <a:lvl1pPr algn="l" defTabSz="932597" rtl="0" eaLnBrk="1" latinLnBrk="0" hangingPunct="1">
        <a:lnSpc>
          <a:spcPct val="90000"/>
        </a:lnSpc>
        <a:spcBef>
          <a:spcPct val="0"/>
        </a:spcBef>
        <a:buNone/>
        <a:defRPr sz="448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33149" indent="-233149" algn="l" defTabSz="932597" rtl="0" eaLnBrk="1" latinLnBrk="0" hangingPunct="1">
        <a:lnSpc>
          <a:spcPct val="90000"/>
        </a:lnSpc>
        <a:spcBef>
          <a:spcPts val="1020"/>
        </a:spcBef>
        <a:buFont typeface="Arial" panose="020B0604020202020204" pitchFamily="34" charset="0"/>
        <a:buChar char="•"/>
        <a:defRPr sz="2856" kern="1200">
          <a:solidFill>
            <a:schemeClr val="tx1"/>
          </a:solidFill>
          <a:latin typeface="+mn-lt"/>
          <a:ea typeface="+mn-ea"/>
          <a:cs typeface="+mn-cs"/>
        </a:defRPr>
      </a:lvl1pPr>
      <a:lvl2pPr marL="699447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165746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3pPr>
      <a:lvl4pPr marL="1632044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2098342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564641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3030939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497237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963535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1pPr>
      <a:lvl2pPr marL="466298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2pPr>
      <a:lvl3pPr marL="932597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3pPr>
      <a:lvl4pPr marL="1398895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1865193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331491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2797790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264088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730386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678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308324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273257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5472" r:id="rId1"/>
    <p:sldLayoutId id="2147485473" r:id="rId2"/>
    <p:sldLayoutId id="2147485474" r:id="rId3"/>
    <p:sldLayoutId id="2147485475" r:id="rId4"/>
    <p:sldLayoutId id="2147485476" r:id="rId5"/>
    <p:sldLayoutId id="2147485477" r:id="rId6"/>
    <p:sldLayoutId id="2147485478" r:id="rId7"/>
    <p:sldLayoutId id="2147485479" r:id="rId8"/>
    <p:sldLayoutId id="2147485480" r:id="rId9"/>
    <p:sldLayoutId id="2147485481" r:id="rId10"/>
    <p:sldLayoutId id="2147485482" r:id="rId11"/>
    <p:sldLayoutId id="2147485483" r:id="rId12"/>
    <p:sldLayoutId id="2147485484" r:id="rId13"/>
    <p:sldLayoutId id="2147485485" r:id="rId14"/>
    <p:sldLayoutId id="2147485486" r:id="rId15"/>
    <p:sldLayoutId id="2147485487" r:id="rId16"/>
    <p:sldLayoutId id="2147485488" r:id="rId17"/>
    <p:sldLayoutId id="2147485489" r:id="rId18"/>
    <p:sldLayoutId id="2147485490" r:id="rId19"/>
    <p:sldLayoutId id="2147485492" r:id="rId20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36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4572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6858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9144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1430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2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600601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97" r:id="rId1"/>
    <p:sldLayoutId id="2147485498" r:id="rId2"/>
    <p:sldLayoutId id="2147485499" r:id="rId3"/>
    <p:sldLayoutId id="2147485500" r:id="rId4"/>
  </p:sldLayoutIdLst>
  <p:txStyles>
    <p:titleStyle>
      <a:lvl1pPr algn="l" defTabSz="932597" rtl="0" eaLnBrk="1" latinLnBrk="0" hangingPunct="1">
        <a:lnSpc>
          <a:spcPct val="90000"/>
        </a:lnSpc>
        <a:spcBef>
          <a:spcPct val="0"/>
        </a:spcBef>
        <a:buNone/>
        <a:defRPr sz="448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33149" indent="-233149" algn="l" defTabSz="932597" rtl="0" eaLnBrk="1" latinLnBrk="0" hangingPunct="1">
        <a:lnSpc>
          <a:spcPct val="90000"/>
        </a:lnSpc>
        <a:spcBef>
          <a:spcPts val="1020"/>
        </a:spcBef>
        <a:buFont typeface="Arial" panose="020B0604020202020204" pitchFamily="34" charset="0"/>
        <a:buChar char="•"/>
        <a:defRPr sz="2856" kern="1200">
          <a:solidFill>
            <a:schemeClr val="tx1"/>
          </a:solidFill>
          <a:latin typeface="+mn-lt"/>
          <a:ea typeface="+mn-ea"/>
          <a:cs typeface="+mn-cs"/>
        </a:defRPr>
      </a:lvl1pPr>
      <a:lvl2pPr marL="699447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165746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3pPr>
      <a:lvl4pPr marL="1632044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2098342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564641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3030939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497237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963535" indent="-233149" algn="l" defTabSz="932597" rtl="0" eaLnBrk="1" latinLnBrk="0" hangingPunct="1">
        <a:lnSpc>
          <a:spcPct val="90000"/>
        </a:lnSpc>
        <a:spcBef>
          <a:spcPts val="510"/>
        </a:spcBef>
        <a:buFont typeface="Arial" panose="020B0604020202020204" pitchFamily="34" charset="0"/>
        <a:buChar char="•"/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1pPr>
      <a:lvl2pPr marL="466298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2pPr>
      <a:lvl3pPr marL="932597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3pPr>
      <a:lvl4pPr marL="1398895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4pPr>
      <a:lvl5pPr marL="1865193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5pPr>
      <a:lvl6pPr marL="2331491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6pPr>
      <a:lvl7pPr marL="2797790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7pPr>
      <a:lvl8pPr marL="3264088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8pPr>
      <a:lvl9pPr marL="3730386" algn="l" defTabSz="932597" rtl="0" eaLnBrk="1" latinLnBrk="0" hangingPunct="1">
        <a:defRPr sz="183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7.xml"/><Relationship Id="rId4" Type="http://schemas.openxmlformats.org/officeDocument/2006/relationships/image" Target="../media/image75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4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4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8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48.xml"/><Relationship Id="rId1" Type="http://schemas.openxmlformats.org/officeDocument/2006/relationships/tags" Target="../tags/tag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8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2.xml"/><Relationship Id="rId4" Type="http://schemas.openxmlformats.org/officeDocument/2006/relationships/image" Target="../media/image9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37.xml"/><Relationship Id="rId1" Type="http://schemas.openxmlformats.org/officeDocument/2006/relationships/tags" Target="../tags/tag5.xml"/><Relationship Id="rId5" Type="http://schemas.openxmlformats.org/officeDocument/2006/relationships/image" Target="../media/image100.jpeg"/><Relationship Id="rId4" Type="http://schemas.openxmlformats.org/officeDocument/2006/relationships/image" Target="../media/image9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37.xml"/><Relationship Id="rId1" Type="http://schemas.openxmlformats.org/officeDocument/2006/relationships/tags" Target="../tags/tag6.xml"/><Relationship Id="rId4" Type="http://schemas.openxmlformats.org/officeDocument/2006/relationships/image" Target="../media/image10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71.xml"/><Relationship Id="rId1" Type="http://schemas.openxmlformats.org/officeDocument/2006/relationships/tags" Target="../tags/tag7.xml"/><Relationship Id="rId4" Type="http://schemas.openxmlformats.org/officeDocument/2006/relationships/image" Target="../media/image10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49.xml"/><Relationship Id="rId1" Type="http://schemas.openxmlformats.org/officeDocument/2006/relationships/tags" Target="../tags/tag8.xml"/><Relationship Id="rId5" Type="http://schemas.openxmlformats.org/officeDocument/2006/relationships/image" Target="../media/image103.png"/><Relationship Id="rId4" Type="http://schemas.openxmlformats.org/officeDocument/2006/relationships/hyperlink" Target="https://news.sky.com/story/trial-finds-using-microsofts-one-note-software-boosts-dyslexic-childrens-learning-10761839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customXml" Target="../ink/ink2.xml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3.xml"/><Relationship Id="rId6" Type="http://schemas.openxmlformats.org/officeDocument/2006/relationships/image" Target="../media/image77.png"/><Relationship Id="rId5" Type="http://schemas.openxmlformats.org/officeDocument/2006/relationships/customXml" Target="../ink/ink1.xml"/><Relationship Id="rId4" Type="http://schemas.openxmlformats.org/officeDocument/2006/relationships/image" Target="../media/image7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75.xml"/><Relationship Id="rId1" Type="http://schemas.openxmlformats.org/officeDocument/2006/relationships/tags" Target="../tags/tag9.xml"/><Relationship Id="rId5" Type="http://schemas.openxmlformats.org/officeDocument/2006/relationships/image" Target="../media/image104.png"/><Relationship Id="rId4" Type="http://schemas.openxmlformats.org/officeDocument/2006/relationships/hyperlink" Target="http://aka.ms/LearningToolsStudy" TargetMode="Externa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528.xml"/><Relationship Id="rId1" Type="http://schemas.openxmlformats.org/officeDocument/2006/relationships/tags" Target="../tags/tag10.xml"/><Relationship Id="rId6" Type="http://schemas.openxmlformats.org/officeDocument/2006/relationships/image" Target="../media/image107.png"/><Relationship Id="rId5" Type="http://schemas.openxmlformats.org/officeDocument/2006/relationships/image" Target="../media/image106.png"/><Relationship Id="rId4" Type="http://schemas.openxmlformats.org/officeDocument/2006/relationships/image" Target="../media/image10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82.xml"/><Relationship Id="rId4" Type="http://schemas.openxmlformats.org/officeDocument/2006/relationships/image" Target="../media/image108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528.xml"/><Relationship Id="rId1" Type="http://schemas.openxmlformats.org/officeDocument/2006/relationships/tags" Target="../tags/tag11.xml"/><Relationship Id="rId5" Type="http://schemas.openxmlformats.org/officeDocument/2006/relationships/image" Target="../media/image110.png"/><Relationship Id="rId4" Type="http://schemas.openxmlformats.org/officeDocument/2006/relationships/image" Target="../media/image109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528.xml"/><Relationship Id="rId1" Type="http://schemas.openxmlformats.org/officeDocument/2006/relationships/tags" Target="../tags/tag12.xml"/><Relationship Id="rId5" Type="http://schemas.openxmlformats.org/officeDocument/2006/relationships/image" Target="../media/image96.png"/><Relationship Id="rId4" Type="http://schemas.openxmlformats.org/officeDocument/2006/relationships/image" Target="../media/image111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528.xml"/><Relationship Id="rId1" Type="http://schemas.openxmlformats.org/officeDocument/2006/relationships/tags" Target="../tags/tag13.xml"/><Relationship Id="rId5" Type="http://schemas.openxmlformats.org/officeDocument/2006/relationships/image" Target="../media/image112.png"/><Relationship Id="rId4" Type="http://schemas.openxmlformats.org/officeDocument/2006/relationships/image" Target="../media/image96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528.xml"/><Relationship Id="rId1" Type="http://schemas.openxmlformats.org/officeDocument/2006/relationships/tags" Target="../tags/tag14.xml"/><Relationship Id="rId5" Type="http://schemas.openxmlformats.org/officeDocument/2006/relationships/image" Target="../media/image113.png"/><Relationship Id="rId4" Type="http://schemas.openxmlformats.org/officeDocument/2006/relationships/image" Target="../media/image96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528.xml"/><Relationship Id="rId1" Type="http://schemas.openxmlformats.org/officeDocument/2006/relationships/tags" Target="../tags/tag15.xml"/><Relationship Id="rId5" Type="http://schemas.openxmlformats.org/officeDocument/2006/relationships/image" Target="../media/image114.png"/><Relationship Id="rId4" Type="http://schemas.openxmlformats.org/officeDocument/2006/relationships/image" Target="../media/image96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9.xml"/><Relationship Id="rId7" Type="http://schemas.openxmlformats.org/officeDocument/2006/relationships/image" Target="../media/image117.png"/><Relationship Id="rId2" Type="http://schemas.openxmlformats.org/officeDocument/2006/relationships/tags" Target="../tags/tag16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16.png"/><Relationship Id="rId5" Type="http://schemas.openxmlformats.org/officeDocument/2006/relationships/image" Target="../media/image115.png"/><Relationship Id="rId4" Type="http://schemas.openxmlformats.org/officeDocument/2006/relationships/notesSlide" Target="../notesSlides/notesSlide2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8.png"/><Relationship Id="rId1" Type="http://schemas.openxmlformats.org/officeDocument/2006/relationships/slideLayout" Target="../slideLayouts/slideLayout25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2.xml"/><Relationship Id="rId5" Type="http://schemas.openxmlformats.org/officeDocument/2006/relationships/image" Target="../media/image79.emf"/><Relationship Id="rId4" Type="http://schemas.openxmlformats.org/officeDocument/2006/relationships/image" Target="../media/image78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9.xml"/><Relationship Id="rId2" Type="http://schemas.openxmlformats.org/officeDocument/2006/relationships/tags" Target="../tags/tag17.xml"/><Relationship Id="rId1" Type="http://schemas.openxmlformats.org/officeDocument/2006/relationships/themeOverride" Target="../theme/themeOverride2.xml"/><Relationship Id="rId5" Type="http://schemas.openxmlformats.org/officeDocument/2006/relationships/image" Target="../media/image119.jpeg"/><Relationship Id="rId4" Type="http://schemas.openxmlformats.org/officeDocument/2006/relationships/notesSlide" Target="../notesSlides/notesSlide28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528.xml"/><Relationship Id="rId1" Type="http://schemas.openxmlformats.org/officeDocument/2006/relationships/tags" Target="../tags/tag18.xml"/><Relationship Id="rId5" Type="http://schemas.openxmlformats.org/officeDocument/2006/relationships/image" Target="../media/image120.png"/><Relationship Id="rId4" Type="http://schemas.openxmlformats.org/officeDocument/2006/relationships/image" Target="../media/image96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528.xml"/><Relationship Id="rId1" Type="http://schemas.openxmlformats.org/officeDocument/2006/relationships/tags" Target="../tags/tag19.xml"/><Relationship Id="rId5" Type="http://schemas.openxmlformats.org/officeDocument/2006/relationships/image" Target="../media/image121.png"/><Relationship Id="rId4" Type="http://schemas.openxmlformats.org/officeDocument/2006/relationships/image" Target="../media/image96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8.png"/><Relationship Id="rId3" Type="http://schemas.openxmlformats.org/officeDocument/2006/relationships/notesSlide" Target="../notesSlides/notesSlide31.xml"/><Relationship Id="rId7" Type="http://schemas.openxmlformats.org/officeDocument/2006/relationships/image" Target="../media/image123.png"/><Relationship Id="rId2" Type="http://schemas.openxmlformats.org/officeDocument/2006/relationships/slideLayout" Target="../slideLayouts/slideLayout528.xml"/><Relationship Id="rId1" Type="http://schemas.openxmlformats.org/officeDocument/2006/relationships/tags" Target="../tags/tag20.xml"/><Relationship Id="rId6" Type="http://schemas.openxmlformats.org/officeDocument/2006/relationships/image" Target="../media/image122.png"/><Relationship Id="rId5" Type="http://schemas.openxmlformats.org/officeDocument/2006/relationships/image" Target="../media/image96.png"/><Relationship Id="rId4" Type="http://schemas.openxmlformats.org/officeDocument/2006/relationships/image" Target="../media/image98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2" Type="http://schemas.openxmlformats.org/officeDocument/2006/relationships/slideLayout" Target="../slideLayouts/slideLayout538.xml"/><Relationship Id="rId1" Type="http://schemas.openxmlformats.org/officeDocument/2006/relationships/tags" Target="../tags/tag21.xml"/><Relationship Id="rId6" Type="http://schemas.openxmlformats.org/officeDocument/2006/relationships/image" Target="../media/image125.png"/><Relationship Id="rId5" Type="http://schemas.openxmlformats.org/officeDocument/2006/relationships/image" Target="../media/image124.png"/><Relationship Id="rId4" Type="http://schemas.openxmlformats.org/officeDocument/2006/relationships/image" Target="../media/image91.jpe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png"/><Relationship Id="rId2" Type="http://schemas.openxmlformats.org/officeDocument/2006/relationships/image" Target="../media/image126.png"/><Relationship Id="rId1" Type="http://schemas.openxmlformats.org/officeDocument/2006/relationships/slideLayout" Target="../slideLayouts/slideLayout53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hyperlink" Target="https://education.microsoft.com/en-us/resource/9b010288" TargetMode="External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128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539.xml"/><Relationship Id="rId4" Type="http://schemas.openxmlformats.org/officeDocument/2006/relationships/hyperlink" Target="https://aka.ms/AccessibilitySupport" TargetMode="Externa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jpeg"/><Relationship Id="rId2" Type="http://schemas.openxmlformats.org/officeDocument/2006/relationships/slideLayout" Target="../slideLayouts/slideLayout149.xml"/><Relationship Id="rId1" Type="http://schemas.openxmlformats.org/officeDocument/2006/relationships/video" Target="https://www.youtube.com/embed/B2JzcWz8SG8?feature=oembed" TargetMode="Externa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1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349.xml"/><Relationship Id="rId4" Type="http://schemas.openxmlformats.org/officeDocument/2006/relationships/hyperlink" Target="https://aka.ms/TroyYT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sway.com/vAdiAMXOJEQGVbqX" TargetMode="External"/><Relationship Id="rId3" Type="http://schemas.openxmlformats.org/officeDocument/2006/relationships/image" Target="../media/image80.emf"/><Relationship Id="rId7" Type="http://schemas.openxmlformats.org/officeDocument/2006/relationships/image" Target="../media/image84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2.xml"/><Relationship Id="rId6" Type="http://schemas.openxmlformats.org/officeDocument/2006/relationships/image" Target="../media/image83.emf"/><Relationship Id="rId5" Type="http://schemas.openxmlformats.org/officeDocument/2006/relationships/image" Target="../media/image82.emf"/><Relationship Id="rId4" Type="http://schemas.openxmlformats.org/officeDocument/2006/relationships/image" Target="../media/image81.emf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hyperlink" Target="https://aka.ms/MECAccessibility" TargetMode="External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133.png"/></Relationships>
</file>

<file path=ppt/slides/_rels/slide42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image" Target="../media/image135.png"/><Relationship Id="rId7" Type="http://schemas.openxmlformats.org/officeDocument/2006/relationships/image" Target="../media/image138.png"/><Relationship Id="rId2" Type="http://schemas.openxmlformats.org/officeDocument/2006/relationships/image" Target="../media/image134.jpeg"/><Relationship Id="rId1" Type="http://schemas.openxmlformats.org/officeDocument/2006/relationships/slideLayout" Target="../slideLayouts/slideLayout524.xml"/><Relationship Id="rId6" Type="http://schemas.openxmlformats.org/officeDocument/2006/relationships/image" Target="../media/image137.png"/><Relationship Id="rId5" Type="http://schemas.openxmlformats.org/officeDocument/2006/relationships/image" Target="../media/image136.png"/><Relationship Id="rId4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4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7" Type="http://schemas.openxmlformats.org/officeDocument/2006/relationships/image" Target="../media/image9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47.xml"/><Relationship Id="rId6" Type="http://schemas.openxmlformats.org/officeDocument/2006/relationships/image" Target="../media/image89.png"/><Relationship Id="rId5" Type="http://schemas.openxmlformats.org/officeDocument/2006/relationships/image" Target="../media/image88.png"/><Relationship Id="rId4" Type="http://schemas.openxmlformats.org/officeDocument/2006/relationships/image" Target="../media/image8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4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4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4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erson sitting at a table using a computer&#10;&#10;Description automatically generated">
            <a:extLst>
              <a:ext uri="{FF2B5EF4-FFF2-40B4-BE49-F238E27FC236}">
                <a16:creationId xmlns:a16="http://schemas.microsoft.com/office/drawing/2014/main" id="{9F54DFF6-3609-47B5-8824-16E80C94A9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46049" y="-21118"/>
            <a:ext cx="12482524" cy="7010897"/>
          </a:xfrm>
          <a:prstGeom prst="rect">
            <a:avLst/>
          </a:prstGeom>
        </p:spPr>
      </p:pic>
      <p:sp>
        <p:nvSpPr>
          <p:cNvPr id="5" name="Rectangle 4" title="Gradient Overlay"/>
          <p:cNvSpPr/>
          <p:nvPr/>
        </p:nvSpPr>
        <p:spPr bwMode="auto">
          <a:xfrm>
            <a:off x="-138147" y="0"/>
            <a:ext cx="12814757" cy="7001699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75000"/>
                  <a:lumOff val="25000"/>
                </a:schemeClr>
              </a:gs>
              <a:gs pos="100000">
                <a:schemeClr val="tx1">
                  <a:alpha val="0"/>
                  <a:lumMod val="0"/>
                </a:schemeClr>
              </a:gs>
              <a:gs pos="98000">
                <a:schemeClr val="tx1">
                  <a:alpha val="39000"/>
                </a:schemeClr>
              </a:gs>
            </a:gsLst>
            <a:lin ang="0" scaled="1"/>
            <a:tileRect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8" name="Picture 7" title="Microsoft Logo">
            <a:extLst>
              <a:ext uri="{FF2B5EF4-FFF2-40B4-BE49-F238E27FC236}">
                <a16:creationId xmlns:a16="http://schemas.microsoft.com/office/drawing/2014/main" id="{60230DA9-59EC-4890-A1F2-C66DBC30077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 bwMode="black">
          <a:xfrm>
            <a:off x="457200" y="479425"/>
            <a:ext cx="1483418" cy="310896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63673" y="1190065"/>
            <a:ext cx="8194527" cy="4040521"/>
          </a:xfrm>
        </p:spPr>
        <p:txBody>
          <a:bodyPr>
            <a:noAutofit/>
          </a:bodyPr>
          <a:lstStyle/>
          <a:p>
            <a:r>
              <a:rPr lang="en-US" b="1" spc="-110" dirty="0">
                <a:solidFill>
                  <a:schemeClr val="bg2"/>
                </a:solidFill>
                <a:latin typeface="Segoe UI Light" charset="0"/>
                <a:ea typeface="Segoe UI Light" charset="0"/>
                <a:cs typeface="Segoe UI Light" charset="0"/>
              </a:rPr>
              <a:t>Inclusive Technology Design to Support Students with Print Disabilities</a:t>
            </a:r>
            <a:br>
              <a:rPr lang="en-US" b="1" spc="-110" dirty="0">
                <a:solidFill>
                  <a:schemeClr val="bg2"/>
                </a:solidFill>
                <a:latin typeface="Segoe UI Light" charset="0"/>
                <a:ea typeface="Segoe UI Light" charset="0"/>
                <a:cs typeface="Segoe UI Light" charset="0"/>
              </a:rPr>
            </a:br>
            <a:endParaRPr lang="en-US" b="1" spc="-110" dirty="0">
              <a:solidFill>
                <a:schemeClr val="bg2"/>
              </a:solidFill>
              <a:latin typeface="Segoe UI Light" charset="0"/>
              <a:ea typeface="Segoe UI Light" charset="0"/>
              <a:cs typeface="Segoe UI Light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B04BAEE-002C-4DAF-A5F2-1947CBBDBDC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63673" y="4775572"/>
            <a:ext cx="5017925" cy="730183"/>
          </a:xfrm>
        </p:spPr>
        <p:txBody>
          <a:bodyPr/>
          <a:lstStyle/>
          <a:p>
            <a:r>
              <a:rPr lang="en-US" sz="2400" kern="0" dirty="0">
                <a:solidFill>
                  <a:prstClr val="white"/>
                </a:solidFill>
                <a:latin typeface="Segoe UI"/>
                <a:cs typeface="Segoe UI Light" panose="020B0502040204020203" pitchFamily="34" charset="0"/>
              </a:rPr>
              <a:t>Troy Waller</a:t>
            </a:r>
          </a:p>
          <a:p>
            <a:r>
              <a:rPr lang="en-US" sz="2400" kern="0" dirty="0">
                <a:solidFill>
                  <a:prstClr val="white"/>
                </a:solidFill>
                <a:latin typeface="Segoe UI"/>
                <a:cs typeface="Segoe UI Light" panose="020B0502040204020203" pitchFamily="34" charset="0"/>
              </a:rPr>
              <a:t>Accessibility Lead, Education </a:t>
            </a:r>
          </a:p>
        </p:txBody>
      </p:sp>
    </p:spTree>
    <p:extLst>
      <p:ext uri="{BB962C8B-B14F-4D97-AF65-F5344CB8AC3E}">
        <p14:creationId xmlns:p14="http://schemas.microsoft.com/office/powerpoint/2010/main" val="3707431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7" name="Rectangle 56">
            <a:extLst>
              <a:ext uri="{FF2B5EF4-FFF2-40B4-BE49-F238E27FC236}">
                <a16:creationId xmlns:a16="http://schemas.microsoft.com/office/drawing/2014/main" id="{82A5F716-98EF-42EF-A471-87C6DFDCC799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82" y="-1"/>
            <a:ext cx="12434711" cy="69945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662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ckwell" panose="02060603020205020403"/>
              <a:ea typeface="+mn-ea"/>
              <a:cs typeface="+mn-cs"/>
            </a:endParaRPr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B87687D8-4EF1-4EF2-BF7E-74BB4A3D180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931529">
            <a:off x="2218075" y="2346737"/>
            <a:ext cx="4506723" cy="4344407"/>
          </a:xfrm>
          <a:custGeom>
            <a:avLst/>
            <a:gdLst>
              <a:gd name="connsiteX0" fmla="*/ 404107 w 4507111"/>
              <a:gd name="connsiteY0" fmla="*/ 0 h 4344781"/>
              <a:gd name="connsiteX1" fmla="*/ 371857 w 4507111"/>
              <a:gd name="connsiteY1" fmla="*/ 117359 h 4344781"/>
              <a:gd name="connsiteX2" fmla="*/ 307833 w 4507111"/>
              <a:gd name="connsiteY2" fmla="*/ 632970 h 4344781"/>
              <a:gd name="connsiteX3" fmla="*/ 3569418 w 4507111"/>
              <a:gd name="connsiteY3" fmla="*/ 4141149 h 4344781"/>
              <a:gd name="connsiteX4" fmla="*/ 4440861 w 4507111"/>
              <a:gd name="connsiteY4" fmla="*/ 4332480 h 4344781"/>
              <a:gd name="connsiteX5" fmla="*/ 4507111 w 4507111"/>
              <a:gd name="connsiteY5" fmla="*/ 4341752 h 4344781"/>
              <a:gd name="connsiteX6" fmla="*/ 4296045 w 4507111"/>
              <a:gd name="connsiteY6" fmla="*/ 4344781 h 4344781"/>
              <a:gd name="connsiteX7" fmla="*/ 3749565 w 4507111"/>
              <a:gd name="connsiteY7" fmla="*/ 4321853 h 4344781"/>
              <a:gd name="connsiteX8" fmla="*/ 36764 w 4507111"/>
              <a:gd name="connsiteY8" fmla="*/ 1629794 h 4344781"/>
              <a:gd name="connsiteX9" fmla="*/ 300069 w 4507111"/>
              <a:gd name="connsiteY9" fmla="*/ 144750 h 43447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507111" h="4344781">
                <a:moveTo>
                  <a:pt x="404107" y="0"/>
                </a:moveTo>
                <a:lnTo>
                  <a:pt x="371857" y="117359"/>
                </a:lnTo>
                <a:cubicBezTo>
                  <a:pt x="333827" y="278567"/>
                  <a:pt x="311875" y="450459"/>
                  <a:pt x="307833" y="632970"/>
                </a:cubicBezTo>
                <a:cubicBezTo>
                  <a:pt x="264711" y="2579752"/>
                  <a:pt x="2253987" y="3769243"/>
                  <a:pt x="3569418" y="4141149"/>
                </a:cubicBezTo>
                <a:cubicBezTo>
                  <a:pt x="3816061" y="4210881"/>
                  <a:pt x="4114807" y="4279754"/>
                  <a:pt x="4440861" y="4332480"/>
                </a:cubicBezTo>
                <a:lnTo>
                  <a:pt x="4507111" y="4341752"/>
                </a:lnTo>
                <a:lnTo>
                  <a:pt x="4296045" y="4344781"/>
                </a:lnTo>
                <a:cubicBezTo>
                  <a:pt x="4097363" y="4343711"/>
                  <a:pt x="3912623" y="4335104"/>
                  <a:pt x="3749565" y="4321853"/>
                </a:cubicBezTo>
                <a:cubicBezTo>
                  <a:pt x="2445102" y="4215850"/>
                  <a:pt x="356405" y="3466499"/>
                  <a:pt x="36764" y="1629794"/>
                </a:cubicBezTo>
                <a:cubicBezTo>
                  <a:pt x="-63123" y="1055823"/>
                  <a:pt x="45741" y="555869"/>
                  <a:pt x="300069" y="144750"/>
                </a:cubicBezTo>
                <a:close/>
              </a:path>
            </a:pathLst>
          </a:cu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6629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ckwell" panose="02060603020205020403"/>
              <a:ea typeface="+mn-ea"/>
              <a:cs typeface="+mn-cs"/>
            </a:endParaRPr>
          </a:p>
        </p:txBody>
      </p:sp>
      <p:pic>
        <p:nvPicPr>
          <p:cNvPr id="2" name="Picture 1" descr="An overwhelmed teacher with her head in her hands">
            <a:extLst>
              <a:ext uri="{FF2B5EF4-FFF2-40B4-BE49-F238E27FC236}">
                <a16:creationId xmlns:a16="http://schemas.microsoft.com/office/drawing/2014/main" id="{F8111DE1-71C7-472D-9522-1E063311A74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649" r="1" b="1"/>
          <a:stretch/>
        </p:blipFill>
        <p:spPr>
          <a:xfrm>
            <a:off x="2402333" y="555132"/>
            <a:ext cx="7916444" cy="5449432"/>
          </a:xfrm>
          <a:custGeom>
            <a:avLst/>
            <a:gdLst/>
            <a:ahLst/>
            <a:cxnLst/>
            <a:rect l="l" t="t" r="r" b="b"/>
            <a:pathLst>
              <a:path w="7761924" h="5343065">
                <a:moveTo>
                  <a:pt x="3025687" y="76"/>
                </a:moveTo>
                <a:cubicBezTo>
                  <a:pt x="3140786" y="756"/>
                  <a:pt x="3256631" y="6055"/>
                  <a:pt x="3372722" y="16088"/>
                </a:cubicBezTo>
                <a:cubicBezTo>
                  <a:pt x="5230178" y="176616"/>
                  <a:pt x="7761924" y="1424594"/>
                  <a:pt x="7761924" y="3316816"/>
                </a:cubicBezTo>
                <a:cubicBezTo>
                  <a:pt x="7646022" y="5237647"/>
                  <a:pt x="4988715" y="5423921"/>
                  <a:pt x="3701109" y="5320611"/>
                </a:cubicBezTo>
                <a:cubicBezTo>
                  <a:pt x="2413504" y="5217301"/>
                  <a:pt x="351800" y="4486992"/>
                  <a:pt x="36290" y="2696959"/>
                </a:cubicBezTo>
                <a:cubicBezTo>
                  <a:pt x="-259500" y="1018804"/>
                  <a:pt x="1299198" y="-10133"/>
                  <a:pt x="3025687" y="76"/>
                </a:cubicBezTo>
                <a:close/>
              </a:path>
            </a:pathLst>
          </a:cu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DB552B80-A96E-43BA-9B93-C32F9862A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5008" y="-1351952"/>
            <a:ext cx="10726460" cy="1351952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AU" dirty="0"/>
              <a:t>Who has time to differentiate</a:t>
            </a:r>
          </a:p>
        </p:txBody>
      </p:sp>
    </p:spTree>
    <p:extLst>
      <p:ext uri="{BB962C8B-B14F-4D97-AF65-F5344CB8AC3E}">
        <p14:creationId xmlns:p14="http://schemas.microsoft.com/office/powerpoint/2010/main" val="8193075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0" name="Rectangle 49">
            <a:extLst>
              <a:ext uri="{FF2B5EF4-FFF2-40B4-BE49-F238E27FC236}">
                <a16:creationId xmlns:a16="http://schemas.microsoft.com/office/drawing/2014/main" id="{7C1E5815-D54C-487F-A054-6D4930ADE3D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82" y="-1"/>
            <a:ext cx="12434711" cy="69945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736F0DFD-0954-464F-BF12-DD2E6F6E038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10412602" y="-1"/>
            <a:ext cx="2022990" cy="6994525"/>
          </a:xfrm>
          <a:custGeom>
            <a:avLst/>
            <a:gdLst>
              <a:gd name="connsiteX0" fmla="*/ 0 w 1983504"/>
              <a:gd name="connsiteY0" fmla="*/ 0 h 6858000"/>
              <a:gd name="connsiteX1" fmla="*/ 1376658 w 1983504"/>
              <a:gd name="connsiteY1" fmla="*/ 0 h 6858000"/>
              <a:gd name="connsiteX2" fmla="*/ 1690650 w 1983504"/>
              <a:gd name="connsiteY2" fmla="*/ 110269 h 6858000"/>
              <a:gd name="connsiteX3" fmla="*/ 1645361 w 1983504"/>
              <a:gd name="connsiteY3" fmla="*/ 135168 h 6858000"/>
              <a:gd name="connsiteX4" fmla="*/ 1373640 w 1983504"/>
              <a:gd name="connsiteY4" fmla="*/ 71141 h 6858000"/>
              <a:gd name="connsiteX5" fmla="*/ 1319295 w 1983504"/>
              <a:gd name="connsiteY5" fmla="*/ 88927 h 6858000"/>
              <a:gd name="connsiteX6" fmla="*/ 1346468 w 1983504"/>
              <a:gd name="connsiteY6" fmla="*/ 163625 h 6858000"/>
              <a:gd name="connsiteX7" fmla="*/ 1464213 w 1983504"/>
              <a:gd name="connsiteY7" fmla="*/ 192082 h 6858000"/>
              <a:gd name="connsiteX8" fmla="*/ 1648381 w 1983504"/>
              <a:gd name="connsiteY8" fmla="*/ 373491 h 6858000"/>
              <a:gd name="connsiteX9" fmla="*/ 1370620 w 1983504"/>
              <a:gd name="connsiteY9" fmla="*/ 352148 h 6858000"/>
              <a:gd name="connsiteX10" fmla="*/ 1322314 w 1983504"/>
              <a:gd name="connsiteY10" fmla="*/ 394834 h 6858000"/>
              <a:gd name="connsiteX11" fmla="*/ 1304199 w 1983504"/>
              <a:gd name="connsiteY11" fmla="*/ 451747 h 6858000"/>
              <a:gd name="connsiteX12" fmla="*/ 1222682 w 1983504"/>
              <a:gd name="connsiteY12" fmla="*/ 359262 h 6858000"/>
              <a:gd name="connsiteX13" fmla="*/ 1153242 w 1983504"/>
              <a:gd name="connsiteY13" fmla="*/ 334364 h 6858000"/>
              <a:gd name="connsiteX14" fmla="*/ 1132108 w 1983504"/>
              <a:gd name="connsiteY14" fmla="*/ 416176 h 6858000"/>
              <a:gd name="connsiteX15" fmla="*/ 1195509 w 1983504"/>
              <a:gd name="connsiteY15" fmla="*/ 505101 h 6858000"/>
              <a:gd name="connsiteX16" fmla="*/ 1364582 w 1983504"/>
              <a:gd name="connsiteY16" fmla="*/ 558458 h 6858000"/>
              <a:gd name="connsiteX17" fmla="*/ 1183434 w 1983504"/>
              <a:gd name="connsiteY17" fmla="*/ 558458 h 6858000"/>
              <a:gd name="connsiteX18" fmla="*/ 975114 w 1983504"/>
              <a:gd name="connsiteY18" fmla="*/ 522887 h 6858000"/>
              <a:gd name="connsiteX19" fmla="*/ 754716 w 1983504"/>
              <a:gd name="connsiteY19" fmla="*/ 533558 h 6858000"/>
              <a:gd name="connsiteX20" fmla="*/ 546395 w 1983504"/>
              <a:gd name="connsiteY20" fmla="*/ 462417 h 6858000"/>
              <a:gd name="connsiteX21" fmla="*/ 335056 w 1983504"/>
              <a:gd name="connsiteY21" fmla="*/ 465975 h 6858000"/>
              <a:gd name="connsiteX22" fmla="*/ 1270988 w 1983504"/>
              <a:gd name="connsiteY22" fmla="*/ 910606 h 6858000"/>
              <a:gd name="connsiteX23" fmla="*/ 1225701 w 1983504"/>
              <a:gd name="connsiteY23" fmla="*/ 921277 h 6858000"/>
              <a:gd name="connsiteX24" fmla="*/ 1165318 w 1983504"/>
              <a:gd name="connsiteY24" fmla="*/ 949734 h 6858000"/>
              <a:gd name="connsiteX25" fmla="*/ 1210606 w 1983504"/>
              <a:gd name="connsiteY25" fmla="*/ 1006647 h 6858000"/>
              <a:gd name="connsiteX26" fmla="*/ 1455156 w 1983504"/>
              <a:gd name="connsiteY26" fmla="*/ 1113358 h 6858000"/>
              <a:gd name="connsiteX27" fmla="*/ 1515538 w 1983504"/>
              <a:gd name="connsiteY27" fmla="*/ 1220069 h 6858000"/>
              <a:gd name="connsiteX28" fmla="*/ 1440060 w 1983504"/>
              <a:gd name="connsiteY28" fmla="*/ 1209399 h 6858000"/>
              <a:gd name="connsiteX29" fmla="*/ 1373640 w 1983504"/>
              <a:gd name="connsiteY29" fmla="*/ 1230741 h 6858000"/>
              <a:gd name="connsiteX30" fmla="*/ 1400810 w 1983504"/>
              <a:gd name="connsiteY30" fmla="*/ 1365909 h 6858000"/>
              <a:gd name="connsiteX31" fmla="*/ 1748012 w 1983504"/>
              <a:gd name="connsiteY31" fmla="*/ 1540204 h 6858000"/>
              <a:gd name="connsiteX32" fmla="*/ 1778203 w 1983504"/>
              <a:gd name="connsiteY32" fmla="*/ 1597117 h 6858000"/>
              <a:gd name="connsiteX33" fmla="*/ 1735936 w 1983504"/>
              <a:gd name="connsiteY33" fmla="*/ 1636245 h 6858000"/>
              <a:gd name="connsiteX34" fmla="*/ 1624228 w 1983504"/>
              <a:gd name="connsiteY34" fmla="*/ 1657587 h 6858000"/>
              <a:gd name="connsiteX35" fmla="*/ 1781223 w 1983504"/>
              <a:gd name="connsiteY35" fmla="*/ 1849668 h 6858000"/>
              <a:gd name="connsiteX36" fmla="*/ 1838587 w 1983504"/>
              <a:gd name="connsiteY36" fmla="*/ 1903025 h 6858000"/>
              <a:gd name="connsiteX37" fmla="*/ 1938218 w 1983504"/>
              <a:gd name="connsiteY37" fmla="*/ 1984836 h 6858000"/>
              <a:gd name="connsiteX38" fmla="*/ 1938218 w 1983504"/>
              <a:gd name="connsiteY38" fmla="*/ 2013292 h 6858000"/>
              <a:gd name="connsiteX39" fmla="*/ 1805376 w 1983504"/>
              <a:gd name="connsiteY39" fmla="*/ 2102219 h 6858000"/>
              <a:gd name="connsiteX40" fmla="*/ 1563844 w 1983504"/>
              <a:gd name="connsiteY40" fmla="*/ 2077320 h 6858000"/>
              <a:gd name="connsiteX41" fmla="*/ 1920104 w 1983504"/>
              <a:gd name="connsiteY41" fmla="*/ 2208931 h 6858000"/>
              <a:gd name="connsiteX42" fmla="*/ 766792 w 1983504"/>
              <a:gd name="connsiteY42" fmla="*/ 1892353 h 6858000"/>
              <a:gd name="connsiteX43" fmla="*/ 839252 w 1983504"/>
              <a:gd name="connsiteY43" fmla="*/ 1974165 h 6858000"/>
              <a:gd name="connsiteX44" fmla="*/ 1243816 w 1983504"/>
              <a:gd name="connsiteY44" fmla="*/ 2191146 h 6858000"/>
              <a:gd name="connsiteX45" fmla="*/ 1358543 w 1983504"/>
              <a:gd name="connsiteY45" fmla="*/ 2326314 h 6858000"/>
              <a:gd name="connsiteX46" fmla="*/ 1479310 w 1983504"/>
              <a:gd name="connsiteY46" fmla="*/ 2401012 h 6858000"/>
              <a:gd name="connsiteX47" fmla="*/ 1648381 w 1983504"/>
              <a:gd name="connsiteY47" fmla="*/ 2401012 h 6858000"/>
              <a:gd name="connsiteX48" fmla="*/ 1769146 w 1983504"/>
              <a:gd name="connsiteY48" fmla="*/ 2518395 h 6858000"/>
              <a:gd name="connsiteX49" fmla="*/ 1645361 w 1983504"/>
              <a:gd name="connsiteY49" fmla="*/ 2543294 h 6858000"/>
              <a:gd name="connsiteX50" fmla="*/ 1500444 w 1983504"/>
              <a:gd name="connsiteY50" fmla="*/ 2525509 h 6858000"/>
              <a:gd name="connsiteX51" fmla="*/ 1337410 w 1983504"/>
              <a:gd name="connsiteY51" fmla="*/ 2564636 h 6858000"/>
              <a:gd name="connsiteX52" fmla="*/ 1186452 w 1983504"/>
              <a:gd name="connsiteY52" fmla="*/ 2532623 h 6858000"/>
              <a:gd name="connsiteX53" fmla="*/ 1005304 w 1983504"/>
              <a:gd name="connsiteY53" fmla="*/ 2553965 h 6858000"/>
              <a:gd name="connsiteX54" fmla="*/ 947940 w 1983504"/>
              <a:gd name="connsiteY54" fmla="*/ 2692689 h 6858000"/>
              <a:gd name="connsiteX55" fmla="*/ 929826 w 1983504"/>
              <a:gd name="connsiteY55" fmla="*/ 2703362 h 6858000"/>
              <a:gd name="connsiteX56" fmla="*/ 594701 w 1983504"/>
              <a:gd name="connsiteY56" fmla="*/ 2923898 h 6858000"/>
              <a:gd name="connsiteX57" fmla="*/ 501108 w 1983504"/>
              <a:gd name="connsiteY57" fmla="*/ 2941684 h 6858000"/>
              <a:gd name="connsiteX58" fmla="*/ 1053610 w 1983504"/>
              <a:gd name="connsiteY58" fmla="*/ 3329402 h 6858000"/>
              <a:gd name="connsiteX59" fmla="*/ 682256 w 1983504"/>
              <a:gd name="connsiteY59" fmla="*/ 3229805 h 6858000"/>
              <a:gd name="connsiteX60" fmla="*/ 630932 w 1983504"/>
              <a:gd name="connsiteY60" fmla="*/ 3393429 h 6858000"/>
              <a:gd name="connsiteX61" fmla="*/ 806041 w 1983504"/>
              <a:gd name="connsiteY61" fmla="*/ 3539269 h 6858000"/>
              <a:gd name="connsiteX62" fmla="*/ 869444 w 1983504"/>
              <a:gd name="connsiteY62" fmla="*/ 3827390 h 6858000"/>
              <a:gd name="connsiteX63" fmla="*/ 839252 w 1983504"/>
              <a:gd name="connsiteY63" fmla="*/ 4090612 h 6858000"/>
              <a:gd name="connsiteX64" fmla="*/ 763774 w 1983504"/>
              <a:gd name="connsiteY64" fmla="*/ 4172424 h 6858000"/>
              <a:gd name="connsiteX65" fmla="*/ 655085 w 1983504"/>
              <a:gd name="connsiteY65" fmla="*/ 4321821 h 6858000"/>
              <a:gd name="connsiteX66" fmla="*/ 588662 w 1983504"/>
              <a:gd name="connsiteY66" fmla="*/ 4414305 h 6858000"/>
              <a:gd name="connsiteX67" fmla="*/ 356189 w 1983504"/>
              <a:gd name="connsiteY67" fmla="*/ 4378734 h 6858000"/>
              <a:gd name="connsiteX68" fmla="*/ 667160 w 1983504"/>
              <a:gd name="connsiteY68" fmla="*/ 4613499 h 6858000"/>
              <a:gd name="connsiteX69" fmla="*/ 416573 w 1983504"/>
              <a:gd name="connsiteY69" fmla="*/ 4585042 h 6858000"/>
              <a:gd name="connsiteX70" fmla="*/ 335056 w 1983504"/>
              <a:gd name="connsiteY70" fmla="*/ 4602828 h 6858000"/>
              <a:gd name="connsiteX71" fmla="*/ 380342 w 1983504"/>
              <a:gd name="connsiteY71" fmla="*/ 4677526 h 6858000"/>
              <a:gd name="connsiteX72" fmla="*/ 564510 w 1983504"/>
              <a:gd name="connsiteY72" fmla="*/ 4805580 h 6858000"/>
              <a:gd name="connsiteX73" fmla="*/ 944922 w 1983504"/>
              <a:gd name="connsiteY73" fmla="*/ 5154171 h 6858000"/>
              <a:gd name="connsiteX74" fmla="*/ 576586 w 1983504"/>
              <a:gd name="connsiteY74" fmla="*/ 4994104 h 6858000"/>
              <a:gd name="connsiteX75" fmla="*/ 963036 w 1983504"/>
              <a:gd name="connsiteY75" fmla="*/ 5353367 h 6858000"/>
              <a:gd name="connsiteX76" fmla="*/ 1047572 w 1983504"/>
              <a:gd name="connsiteY76" fmla="*/ 5474306 h 6858000"/>
              <a:gd name="connsiteX77" fmla="*/ 1222682 w 1983504"/>
              <a:gd name="connsiteY77" fmla="*/ 5769542 h 6858000"/>
              <a:gd name="connsiteX78" fmla="*/ 1213626 w 1983504"/>
              <a:gd name="connsiteY78" fmla="*/ 5801555 h 6858000"/>
              <a:gd name="connsiteX79" fmla="*/ 1014361 w 1983504"/>
              <a:gd name="connsiteY79" fmla="*/ 5755314 h 6858000"/>
              <a:gd name="connsiteX80" fmla="*/ 1274008 w 1983504"/>
              <a:gd name="connsiteY80" fmla="*/ 6004307 h 6858000"/>
              <a:gd name="connsiteX81" fmla="*/ 1542711 w 1983504"/>
              <a:gd name="connsiteY81" fmla="*/ 6196388 h 6858000"/>
              <a:gd name="connsiteX82" fmla="*/ 1352504 w 1983504"/>
              <a:gd name="connsiteY82" fmla="*/ 6167932 h 6858000"/>
              <a:gd name="connsiteX83" fmla="*/ 1089840 w 1983504"/>
              <a:gd name="connsiteY83" fmla="*/ 6057663 h 6858000"/>
              <a:gd name="connsiteX84" fmla="*/ 999266 w 1983504"/>
              <a:gd name="connsiteY84" fmla="*/ 6100347 h 6858000"/>
              <a:gd name="connsiteX85" fmla="*/ 1246836 w 1983504"/>
              <a:gd name="connsiteY85" fmla="*/ 6281757 h 6858000"/>
              <a:gd name="connsiteX86" fmla="*/ 1388735 w 1983504"/>
              <a:gd name="connsiteY86" fmla="*/ 6367127 h 6858000"/>
              <a:gd name="connsiteX87" fmla="*/ 1446099 w 1983504"/>
              <a:gd name="connsiteY87" fmla="*/ 6431153 h 6858000"/>
              <a:gd name="connsiteX88" fmla="*/ 1609132 w 1983504"/>
              <a:gd name="connsiteY88" fmla="*/ 6658805 h 6858000"/>
              <a:gd name="connsiteX89" fmla="*/ 1983504 w 1983504"/>
              <a:gd name="connsiteY89" fmla="*/ 6858000 h 6858000"/>
              <a:gd name="connsiteX90" fmla="*/ 0 w 1983504"/>
              <a:gd name="connsiteY90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</a:cxnLst>
            <a:rect l="l" t="t" r="r" b="b"/>
            <a:pathLst>
              <a:path w="1983504" h="6858000">
                <a:moveTo>
                  <a:pt x="0" y="0"/>
                </a:moveTo>
                <a:lnTo>
                  <a:pt x="1376658" y="0"/>
                </a:lnTo>
                <a:cubicBezTo>
                  <a:pt x="1482328" y="35571"/>
                  <a:pt x="1584980" y="78255"/>
                  <a:pt x="1690650" y="110269"/>
                </a:cubicBezTo>
                <a:cubicBezTo>
                  <a:pt x="1675553" y="145839"/>
                  <a:pt x="1660458" y="138725"/>
                  <a:pt x="1645361" y="135168"/>
                </a:cubicBezTo>
                <a:cubicBezTo>
                  <a:pt x="1554788" y="120941"/>
                  <a:pt x="1461194" y="110269"/>
                  <a:pt x="1373640" y="71141"/>
                </a:cubicBezTo>
                <a:cubicBezTo>
                  <a:pt x="1352504" y="64027"/>
                  <a:pt x="1328352" y="64027"/>
                  <a:pt x="1319295" y="88927"/>
                </a:cubicBezTo>
                <a:cubicBezTo>
                  <a:pt x="1304199" y="124497"/>
                  <a:pt x="1325332" y="145839"/>
                  <a:pt x="1346468" y="163625"/>
                </a:cubicBezTo>
                <a:cubicBezTo>
                  <a:pt x="1382696" y="195638"/>
                  <a:pt x="1424964" y="188525"/>
                  <a:pt x="1464213" y="192082"/>
                </a:cubicBezTo>
                <a:cubicBezTo>
                  <a:pt x="1572902" y="209867"/>
                  <a:pt x="1624228" y="259665"/>
                  <a:pt x="1648381" y="373491"/>
                </a:cubicBezTo>
                <a:cubicBezTo>
                  <a:pt x="1554788" y="327250"/>
                  <a:pt x="1461194" y="384162"/>
                  <a:pt x="1370620" y="352148"/>
                </a:cubicBezTo>
                <a:cubicBezTo>
                  <a:pt x="1346468" y="345034"/>
                  <a:pt x="1310237" y="355706"/>
                  <a:pt x="1322314" y="394834"/>
                </a:cubicBezTo>
                <a:cubicBezTo>
                  <a:pt x="1334390" y="430405"/>
                  <a:pt x="1373640" y="458860"/>
                  <a:pt x="1304199" y="451747"/>
                </a:cubicBezTo>
                <a:cubicBezTo>
                  <a:pt x="1252873" y="448189"/>
                  <a:pt x="1237778" y="405504"/>
                  <a:pt x="1222682" y="359262"/>
                </a:cubicBezTo>
                <a:cubicBezTo>
                  <a:pt x="1210606" y="334364"/>
                  <a:pt x="1177395" y="320135"/>
                  <a:pt x="1153242" y="334364"/>
                </a:cubicBezTo>
                <a:cubicBezTo>
                  <a:pt x="1123051" y="348592"/>
                  <a:pt x="1132108" y="387720"/>
                  <a:pt x="1132108" y="416176"/>
                </a:cubicBezTo>
                <a:cubicBezTo>
                  <a:pt x="1129088" y="469532"/>
                  <a:pt x="1153242" y="494431"/>
                  <a:pt x="1195509" y="505101"/>
                </a:cubicBezTo>
                <a:cubicBezTo>
                  <a:pt x="1246836" y="519330"/>
                  <a:pt x="1298160" y="537116"/>
                  <a:pt x="1364582" y="558458"/>
                </a:cubicBezTo>
                <a:cubicBezTo>
                  <a:pt x="1292122" y="594028"/>
                  <a:pt x="1237778" y="586915"/>
                  <a:pt x="1183434" y="558458"/>
                </a:cubicBezTo>
                <a:cubicBezTo>
                  <a:pt x="1117012" y="526444"/>
                  <a:pt x="1029458" y="483759"/>
                  <a:pt x="975114" y="522887"/>
                </a:cubicBezTo>
                <a:cubicBezTo>
                  <a:pt x="893597" y="579800"/>
                  <a:pt x="827176" y="544229"/>
                  <a:pt x="754716" y="533558"/>
                </a:cubicBezTo>
                <a:cubicBezTo>
                  <a:pt x="603758" y="512216"/>
                  <a:pt x="697352" y="480203"/>
                  <a:pt x="546395" y="462417"/>
                </a:cubicBezTo>
                <a:cubicBezTo>
                  <a:pt x="486012" y="455303"/>
                  <a:pt x="422610" y="426847"/>
                  <a:pt x="335056" y="465975"/>
                </a:cubicBezTo>
                <a:cubicBezTo>
                  <a:pt x="730563" y="672284"/>
                  <a:pt x="917750" y="658055"/>
                  <a:pt x="1270988" y="910606"/>
                </a:cubicBezTo>
                <a:cubicBezTo>
                  <a:pt x="1255893" y="935506"/>
                  <a:pt x="1240798" y="924835"/>
                  <a:pt x="1225701" y="921277"/>
                </a:cubicBezTo>
                <a:cubicBezTo>
                  <a:pt x="1201548" y="917720"/>
                  <a:pt x="1171356" y="903491"/>
                  <a:pt x="1165318" y="949734"/>
                </a:cubicBezTo>
                <a:cubicBezTo>
                  <a:pt x="1162298" y="985305"/>
                  <a:pt x="1180415" y="1003089"/>
                  <a:pt x="1210606" y="1006647"/>
                </a:cubicBezTo>
                <a:cubicBezTo>
                  <a:pt x="1298160" y="1020875"/>
                  <a:pt x="1376658" y="1070674"/>
                  <a:pt x="1455156" y="1113358"/>
                </a:cubicBezTo>
                <a:cubicBezTo>
                  <a:pt x="1491385" y="1131144"/>
                  <a:pt x="1530634" y="1156043"/>
                  <a:pt x="1515538" y="1220069"/>
                </a:cubicBezTo>
                <a:cubicBezTo>
                  <a:pt x="1485348" y="1237855"/>
                  <a:pt x="1464213" y="1212955"/>
                  <a:pt x="1440060" y="1209399"/>
                </a:cubicBezTo>
                <a:cubicBezTo>
                  <a:pt x="1415907" y="1205842"/>
                  <a:pt x="1358543" y="1220069"/>
                  <a:pt x="1373640" y="1230741"/>
                </a:cubicBezTo>
                <a:cubicBezTo>
                  <a:pt x="1443080" y="1269868"/>
                  <a:pt x="1316276" y="1365909"/>
                  <a:pt x="1400810" y="1365909"/>
                </a:cubicBezTo>
                <a:cubicBezTo>
                  <a:pt x="1539691" y="1365909"/>
                  <a:pt x="1615170" y="1536647"/>
                  <a:pt x="1748012" y="1540204"/>
                </a:cubicBezTo>
                <a:cubicBezTo>
                  <a:pt x="1769146" y="1540204"/>
                  <a:pt x="1778203" y="1572219"/>
                  <a:pt x="1778203" y="1597117"/>
                </a:cubicBezTo>
                <a:cubicBezTo>
                  <a:pt x="1778203" y="1629132"/>
                  <a:pt x="1757070" y="1632688"/>
                  <a:pt x="1735936" y="1636245"/>
                </a:cubicBezTo>
                <a:cubicBezTo>
                  <a:pt x="1702725" y="1639802"/>
                  <a:pt x="1666496" y="1597117"/>
                  <a:pt x="1624228" y="1657587"/>
                </a:cubicBezTo>
                <a:cubicBezTo>
                  <a:pt x="1702725" y="1693158"/>
                  <a:pt x="1784242" y="1728729"/>
                  <a:pt x="1781223" y="1849668"/>
                </a:cubicBezTo>
                <a:cubicBezTo>
                  <a:pt x="1781223" y="1881683"/>
                  <a:pt x="1814434" y="1895910"/>
                  <a:pt x="1838587" y="1903025"/>
                </a:cubicBezTo>
                <a:cubicBezTo>
                  <a:pt x="1880854" y="1917252"/>
                  <a:pt x="1914065" y="1938595"/>
                  <a:pt x="1938218" y="1984836"/>
                </a:cubicBezTo>
                <a:cubicBezTo>
                  <a:pt x="1938218" y="1995507"/>
                  <a:pt x="1938218" y="2002622"/>
                  <a:pt x="1938218" y="2013292"/>
                </a:cubicBezTo>
                <a:cubicBezTo>
                  <a:pt x="1932180" y="2123562"/>
                  <a:pt x="1871798" y="2120004"/>
                  <a:pt x="1805376" y="2102219"/>
                </a:cubicBezTo>
                <a:cubicBezTo>
                  <a:pt x="1726878" y="2080877"/>
                  <a:pt x="1648381" y="2038192"/>
                  <a:pt x="1563844" y="2077320"/>
                </a:cubicBezTo>
                <a:cubicBezTo>
                  <a:pt x="1681592" y="2130676"/>
                  <a:pt x="1811414" y="2134233"/>
                  <a:pt x="1920104" y="2208931"/>
                </a:cubicBezTo>
                <a:cubicBezTo>
                  <a:pt x="1515538" y="2223159"/>
                  <a:pt x="1159280" y="1984836"/>
                  <a:pt x="766792" y="1892353"/>
                </a:cubicBezTo>
                <a:cubicBezTo>
                  <a:pt x="778869" y="1952823"/>
                  <a:pt x="812080" y="1967051"/>
                  <a:pt x="839252" y="1974165"/>
                </a:cubicBezTo>
                <a:cubicBezTo>
                  <a:pt x="984170" y="2020407"/>
                  <a:pt x="1110974" y="2112891"/>
                  <a:pt x="1243816" y="2191146"/>
                </a:cubicBezTo>
                <a:cubicBezTo>
                  <a:pt x="1298160" y="2223159"/>
                  <a:pt x="1337410" y="2258731"/>
                  <a:pt x="1358543" y="2326314"/>
                </a:cubicBezTo>
                <a:cubicBezTo>
                  <a:pt x="1376658" y="2390340"/>
                  <a:pt x="1412888" y="2418796"/>
                  <a:pt x="1479310" y="2401012"/>
                </a:cubicBezTo>
                <a:cubicBezTo>
                  <a:pt x="1533654" y="2386784"/>
                  <a:pt x="1591018" y="2393898"/>
                  <a:pt x="1648381" y="2401012"/>
                </a:cubicBezTo>
                <a:cubicBezTo>
                  <a:pt x="1711782" y="2408126"/>
                  <a:pt x="1784242" y="2479267"/>
                  <a:pt x="1769146" y="2518395"/>
                </a:cubicBezTo>
                <a:cubicBezTo>
                  <a:pt x="1738956" y="2582422"/>
                  <a:pt x="1687630" y="2550408"/>
                  <a:pt x="1645361" y="2543294"/>
                </a:cubicBezTo>
                <a:cubicBezTo>
                  <a:pt x="1594036" y="2536181"/>
                  <a:pt x="1500444" y="2518395"/>
                  <a:pt x="1500444" y="2525509"/>
                </a:cubicBezTo>
                <a:cubicBezTo>
                  <a:pt x="1467232" y="2685576"/>
                  <a:pt x="1391754" y="2564636"/>
                  <a:pt x="1337410" y="2564636"/>
                </a:cubicBezTo>
                <a:cubicBezTo>
                  <a:pt x="1286084" y="2564636"/>
                  <a:pt x="1234759" y="2546851"/>
                  <a:pt x="1186452" y="2532623"/>
                </a:cubicBezTo>
                <a:cubicBezTo>
                  <a:pt x="1123051" y="2514837"/>
                  <a:pt x="1065688" y="2546851"/>
                  <a:pt x="1005304" y="2553965"/>
                </a:cubicBezTo>
                <a:cubicBezTo>
                  <a:pt x="950960" y="2561080"/>
                  <a:pt x="981150" y="2653563"/>
                  <a:pt x="947940" y="2692689"/>
                </a:cubicBezTo>
                <a:cubicBezTo>
                  <a:pt x="941903" y="2703362"/>
                  <a:pt x="935864" y="2703362"/>
                  <a:pt x="929826" y="2703362"/>
                </a:cubicBezTo>
                <a:cubicBezTo>
                  <a:pt x="911711" y="2980812"/>
                  <a:pt x="594701" y="2913227"/>
                  <a:pt x="594701" y="2923898"/>
                </a:cubicBezTo>
                <a:cubicBezTo>
                  <a:pt x="567529" y="2941684"/>
                  <a:pt x="534318" y="2899000"/>
                  <a:pt x="501108" y="2941684"/>
                </a:cubicBezTo>
                <a:cubicBezTo>
                  <a:pt x="643007" y="3137322"/>
                  <a:pt x="860386" y="3183563"/>
                  <a:pt x="1053610" y="3329402"/>
                </a:cubicBezTo>
                <a:cubicBezTo>
                  <a:pt x="893597" y="3379202"/>
                  <a:pt x="800002" y="3208463"/>
                  <a:pt x="682256" y="3229805"/>
                </a:cubicBezTo>
                <a:cubicBezTo>
                  <a:pt x="624893" y="3283162"/>
                  <a:pt x="796984" y="3368530"/>
                  <a:pt x="630932" y="3393429"/>
                </a:cubicBezTo>
                <a:cubicBezTo>
                  <a:pt x="703390" y="3439672"/>
                  <a:pt x="754716" y="3485914"/>
                  <a:pt x="806041" y="3539269"/>
                </a:cubicBezTo>
                <a:cubicBezTo>
                  <a:pt x="893597" y="3635309"/>
                  <a:pt x="911711" y="3699337"/>
                  <a:pt x="869444" y="3827390"/>
                </a:cubicBezTo>
                <a:cubicBezTo>
                  <a:pt x="842270" y="3912759"/>
                  <a:pt x="803022" y="3991015"/>
                  <a:pt x="839252" y="4090612"/>
                </a:cubicBezTo>
                <a:cubicBezTo>
                  <a:pt x="863405" y="4158196"/>
                  <a:pt x="854347" y="4204438"/>
                  <a:pt x="763774" y="4172424"/>
                </a:cubicBezTo>
                <a:cubicBezTo>
                  <a:pt x="667160" y="4140411"/>
                  <a:pt x="630932" y="4200882"/>
                  <a:pt x="655085" y="4321821"/>
                </a:cubicBezTo>
                <a:cubicBezTo>
                  <a:pt x="670179" y="4400076"/>
                  <a:pt x="655085" y="4424975"/>
                  <a:pt x="588662" y="4414305"/>
                </a:cubicBezTo>
                <a:cubicBezTo>
                  <a:pt x="516204" y="4403633"/>
                  <a:pt x="446764" y="4353835"/>
                  <a:pt x="356189" y="4378734"/>
                </a:cubicBezTo>
                <a:cubicBezTo>
                  <a:pt x="428648" y="4521016"/>
                  <a:pt x="582626" y="4478331"/>
                  <a:pt x="667160" y="4613499"/>
                </a:cubicBezTo>
                <a:cubicBezTo>
                  <a:pt x="567529" y="4613499"/>
                  <a:pt x="489031" y="4613499"/>
                  <a:pt x="416573" y="4585042"/>
                </a:cubicBezTo>
                <a:cubicBezTo>
                  <a:pt x="386381" y="4574373"/>
                  <a:pt x="353170" y="4560144"/>
                  <a:pt x="335056" y="4602828"/>
                </a:cubicBezTo>
                <a:cubicBezTo>
                  <a:pt x="313920" y="4652628"/>
                  <a:pt x="356189" y="4670412"/>
                  <a:pt x="380342" y="4677526"/>
                </a:cubicBezTo>
                <a:cubicBezTo>
                  <a:pt x="449784" y="4702425"/>
                  <a:pt x="504126" y="4759339"/>
                  <a:pt x="564510" y="4805580"/>
                </a:cubicBezTo>
                <a:cubicBezTo>
                  <a:pt x="694332" y="4905177"/>
                  <a:pt x="836233" y="4990547"/>
                  <a:pt x="944922" y="5154171"/>
                </a:cubicBezTo>
                <a:cubicBezTo>
                  <a:pt x="809060" y="5111487"/>
                  <a:pt x="706410" y="5011889"/>
                  <a:pt x="576586" y="4994104"/>
                </a:cubicBezTo>
                <a:cubicBezTo>
                  <a:pt x="688296" y="5143500"/>
                  <a:pt x="830194" y="5243097"/>
                  <a:pt x="963036" y="5353367"/>
                </a:cubicBezTo>
                <a:cubicBezTo>
                  <a:pt x="1002286" y="5385379"/>
                  <a:pt x="1041534" y="5406721"/>
                  <a:pt x="1047572" y="5474306"/>
                </a:cubicBezTo>
                <a:cubicBezTo>
                  <a:pt x="1065688" y="5605917"/>
                  <a:pt x="1113992" y="5712629"/>
                  <a:pt x="1222682" y="5769542"/>
                </a:cubicBezTo>
                <a:cubicBezTo>
                  <a:pt x="1222682" y="5769542"/>
                  <a:pt x="1216644" y="5790884"/>
                  <a:pt x="1213626" y="5801555"/>
                </a:cubicBezTo>
                <a:cubicBezTo>
                  <a:pt x="1147203" y="5805112"/>
                  <a:pt x="1095878" y="5726858"/>
                  <a:pt x="1014361" y="5755314"/>
                </a:cubicBezTo>
                <a:cubicBezTo>
                  <a:pt x="1095878" y="5862025"/>
                  <a:pt x="1162298" y="5954508"/>
                  <a:pt x="1274008" y="6004307"/>
                </a:cubicBezTo>
                <a:cubicBezTo>
                  <a:pt x="1364582" y="6043434"/>
                  <a:pt x="1476290" y="6068335"/>
                  <a:pt x="1542711" y="6196388"/>
                </a:cubicBezTo>
                <a:cubicBezTo>
                  <a:pt x="1467232" y="6221287"/>
                  <a:pt x="1409868" y="6189274"/>
                  <a:pt x="1352504" y="6167932"/>
                </a:cubicBezTo>
                <a:cubicBezTo>
                  <a:pt x="1264950" y="6132361"/>
                  <a:pt x="1177395" y="6093234"/>
                  <a:pt x="1089840" y="6057663"/>
                </a:cubicBezTo>
                <a:cubicBezTo>
                  <a:pt x="1056628" y="6043434"/>
                  <a:pt x="1020400" y="6036320"/>
                  <a:pt x="999266" y="6100347"/>
                </a:cubicBezTo>
                <a:cubicBezTo>
                  <a:pt x="1110974" y="6114575"/>
                  <a:pt x="1177395" y="6199945"/>
                  <a:pt x="1246836" y="6281757"/>
                </a:cubicBezTo>
                <a:cubicBezTo>
                  <a:pt x="1286084" y="6327999"/>
                  <a:pt x="1319295" y="6388469"/>
                  <a:pt x="1388735" y="6367127"/>
                </a:cubicBezTo>
                <a:cubicBezTo>
                  <a:pt x="1424964" y="6356456"/>
                  <a:pt x="1449118" y="6388469"/>
                  <a:pt x="1446099" y="6431153"/>
                </a:cubicBezTo>
                <a:cubicBezTo>
                  <a:pt x="1431002" y="6580550"/>
                  <a:pt x="1518558" y="6630349"/>
                  <a:pt x="1609132" y="6658805"/>
                </a:cubicBezTo>
                <a:cubicBezTo>
                  <a:pt x="1741974" y="6701489"/>
                  <a:pt x="1859720" y="6786859"/>
                  <a:pt x="1983504" y="6858000"/>
                </a:cubicBezTo>
                <a:lnTo>
                  <a:pt x="0" y="6858000"/>
                </a:lnTo>
                <a:close/>
              </a:path>
            </a:pathLst>
          </a:custGeom>
          <a:solidFill>
            <a:schemeClr val="bg2">
              <a:alpha val="50000"/>
            </a:schemeClr>
          </a:solidFill>
          <a:ln w="32707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254BB3C-FB5C-473A-BFE8-B807B58CCB1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60739" y="1940798"/>
            <a:ext cx="11914997" cy="2303268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none" lIns="93260" tIns="46630" rIns="93260" bIns="4663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75" b="1" i="0" u="none" strike="noStrike" kern="1200" cap="none" spc="0" normalizeH="0" baseline="0" noProof="0" dirty="0" err="1">
                <a:ln w="12700">
                  <a:solidFill>
                    <a:srgbClr val="44546A">
                      <a:lumMod val="75000"/>
                    </a:srgbClr>
                  </a:solidFill>
                  <a:prstDash val="solid"/>
                </a:ln>
                <a:solidFill>
                  <a:srgbClr val="70AD47">
                    <a:lumMod val="75000"/>
                  </a:srgbClr>
                </a:solidFill>
                <a:effectLst>
                  <a:outerShdw dist="38100" dir="2640000" algn="bl" rotWithShape="0">
                    <a:srgbClr val="44546A">
                      <a:lumMod val="75000"/>
                    </a:srgb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Personalisation</a:t>
            </a:r>
            <a:endParaRPr kumimoji="0" lang="en-US" sz="14075" b="1" i="0" u="none" strike="noStrike" kern="1200" cap="none" spc="0" normalizeH="0" baseline="0" noProof="0" dirty="0">
              <a:ln w="12700">
                <a:solidFill>
                  <a:srgbClr val="44546A">
                    <a:lumMod val="75000"/>
                  </a:srgbClr>
                </a:solidFill>
                <a:prstDash val="solid"/>
              </a:ln>
              <a:solidFill>
                <a:srgbClr val="70AD47">
                  <a:lumMod val="75000"/>
                </a:srgbClr>
              </a:solidFill>
              <a:effectLst>
                <a:outerShdw dist="38100" dir="2640000" algn="bl" rotWithShape="0">
                  <a:srgbClr val="44546A">
                    <a:lumMod val="75000"/>
                  </a:srgbClr>
                </a:outerShdw>
              </a:effectLs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272342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DC3D29-4635-4090-A8B4-31FE4735C0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1144905"/>
          </a:xfrm>
        </p:spPr>
        <p:txBody>
          <a:bodyPr/>
          <a:lstStyle/>
          <a:p>
            <a:r>
              <a:rPr lang="en-AU" dirty="0"/>
              <a:t>Make your PC easier to use - Windows 10 Ease of Access</a:t>
            </a:r>
          </a:p>
        </p:txBody>
      </p:sp>
      <p:pic>
        <p:nvPicPr>
          <p:cNvPr id="9" name="Picture 8" descr="A screenshot of Windows Ease of Access">
            <a:extLst>
              <a:ext uri="{FF2B5EF4-FFF2-40B4-BE49-F238E27FC236}">
                <a16:creationId xmlns:a16="http://schemas.microsoft.com/office/drawing/2014/main" id="{4096082C-A70B-4A73-A819-C4F6305E58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5763" y="1017083"/>
            <a:ext cx="11624945" cy="5977442"/>
          </a:xfrm>
          <a:prstGeom prst="rect">
            <a:avLst/>
          </a:prstGeom>
        </p:spPr>
      </p:pic>
      <p:sp>
        <p:nvSpPr>
          <p:cNvPr id="11" name="Rectangle: Rounded Corners 10" descr="A red rectangle highlighting the Ease of Access icon and description">
            <a:extLst>
              <a:ext uri="{FF2B5EF4-FFF2-40B4-BE49-F238E27FC236}">
                <a16:creationId xmlns:a16="http://schemas.microsoft.com/office/drawing/2014/main" id="{9E70294F-144E-402C-ABF6-0D2CD656FF6E}"/>
              </a:ext>
            </a:extLst>
          </p:cNvPr>
          <p:cNvSpPr/>
          <p:nvPr/>
        </p:nvSpPr>
        <p:spPr bwMode="auto">
          <a:xfrm>
            <a:off x="3566160" y="5040630"/>
            <a:ext cx="2217420" cy="833755"/>
          </a:xfrm>
          <a:prstGeom prst="roundRect">
            <a:avLst/>
          </a:prstGeom>
          <a:noFill/>
          <a:ln w="57150">
            <a:solidFill>
              <a:srgbClr val="FF0000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324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AU" sz="2400" b="0" i="0" u="none" strike="noStrike" kern="1200" cap="none" spc="0" normalizeH="0" baseline="0" noProof="0" dirty="0" err="1">
              <a:ln>
                <a:noFill/>
              </a:ln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ffectLst/>
              <a:uLnTx/>
              <a:uFillTx/>
              <a:latin typeface="Segoe UI"/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398875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781102" y="1776002"/>
            <a:ext cx="6874270" cy="2435455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 defTabSz="914400"/>
            <a:r>
              <a:rPr lang="en-US" sz="67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Demo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1971195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Rectangle 83">
            <a:extLst>
              <a:ext uri="{FF2B5EF4-FFF2-40B4-BE49-F238E27FC236}">
                <a16:creationId xmlns:a16="http://schemas.microsoft.com/office/drawing/2014/main" id="{1707FC24-6981-43D9-B525-C7832BA22463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43639" y="317649"/>
            <a:ext cx="4419179" cy="6302571"/>
          </a:xfrm>
          <a:prstGeom prst="rect">
            <a:avLst/>
          </a:prstGeom>
          <a:solidFill>
            <a:srgbClr val="404040"/>
          </a:solidFill>
          <a:ln w="127000" cap="sq" cmpd="thinThick">
            <a:solidFill>
              <a:srgbClr val="404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8ED6E4-A064-418C-8D61-5BD56194C5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7847" y="757741"/>
            <a:ext cx="3546339" cy="506131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 defTabSz="914400"/>
            <a:r>
              <a:rPr lang="en-US" sz="48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The Inclusive Classroom </a:t>
            </a:r>
            <a:br>
              <a:rPr lang="en-US" sz="48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</a:br>
            <a:r>
              <a:rPr lang="en-US" sz="48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/>
            </a:r>
            <a:br>
              <a:rPr lang="en-US" sz="48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</a:br>
            <a:r>
              <a:rPr lang="en-US" sz="48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Reading Support</a:t>
            </a:r>
          </a:p>
        </p:txBody>
      </p:sp>
      <p:pic>
        <p:nvPicPr>
          <p:cNvPr id="4" name="Picture 3" descr="The Immersive Reader icon">
            <a:extLst>
              <a:ext uri="{FF2B5EF4-FFF2-40B4-BE49-F238E27FC236}">
                <a16:creationId xmlns:a16="http://schemas.microsoft.com/office/drawing/2014/main" id="{9CA8019B-3302-4C02-985A-3FD6F2A35D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64684" y="502378"/>
            <a:ext cx="6469922" cy="5997868"/>
          </a:xfrm>
          <a:prstGeom prst="rect">
            <a:avLst/>
          </a:prstGeom>
        </p:spPr>
      </p:pic>
      <p:pic>
        <p:nvPicPr>
          <p:cNvPr id="12" name="Picture 11" descr="Microsoft 365">
            <a:extLst>
              <a:ext uri="{FF2B5EF4-FFF2-40B4-BE49-F238E27FC236}">
                <a16:creationId xmlns:a16="http://schemas.microsoft.com/office/drawing/2014/main" id="{27FCE3B4-7030-4436-90A9-2C638636BD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07019" y="541754"/>
            <a:ext cx="2002162" cy="341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67829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The Immersive Reader icon">
            <a:extLst>
              <a:ext uri="{FF2B5EF4-FFF2-40B4-BE49-F238E27FC236}">
                <a16:creationId xmlns:a16="http://schemas.microsoft.com/office/drawing/2014/main" id="{13B6A044-F557-4B31-847A-A159C4160E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37985" y="1251575"/>
            <a:ext cx="4838100" cy="4485105"/>
          </a:xfrm>
          <a:prstGeom prst="rect">
            <a:avLst/>
          </a:prstGeom>
        </p:spPr>
      </p:pic>
      <p:cxnSp>
        <p:nvCxnSpPr>
          <p:cNvPr id="4107" name="Straight Connector 77">
            <a:extLst>
              <a:ext uri="{FF2B5EF4-FFF2-40B4-BE49-F238E27FC236}">
                <a16:creationId xmlns:a16="http://schemas.microsoft.com/office/drawing/2014/main" id="{4D56677B-C0B7-4DAC-ACAD-8054FF1B599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6218237" y="1605219"/>
            <a:ext cx="0" cy="3784088"/>
          </a:xfrm>
          <a:prstGeom prst="line">
            <a:avLst/>
          </a:prstGeom>
          <a:ln w="19050">
            <a:solidFill>
              <a:srgbClr val="1881E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98" name="Picture 2" descr="See the source image">
            <a:extLst>
              <a:ext uri="{FF2B5EF4-FFF2-40B4-BE49-F238E27FC236}">
                <a16:creationId xmlns:a16="http://schemas.microsoft.com/office/drawing/2014/main" id="{00BEC124-2970-46F2-9C0F-075B4A9394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470435" y="1251516"/>
            <a:ext cx="4822821" cy="44852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6DD8198-FBA1-4AB7-A9E7-EAA64945CC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5008" y="-1351952"/>
            <a:ext cx="10726460" cy="1351952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AU" dirty="0"/>
              <a:t>Word online</a:t>
            </a:r>
          </a:p>
        </p:txBody>
      </p:sp>
    </p:spTree>
    <p:extLst>
      <p:ext uri="{BB962C8B-B14F-4D97-AF65-F5344CB8AC3E}">
        <p14:creationId xmlns:p14="http://schemas.microsoft.com/office/powerpoint/2010/main" val="232057688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Content Placeholder 3" descr="A child with a headset in front of a PC using Immersive Reader">
            <a:extLst>
              <a:ext uri="{FF2B5EF4-FFF2-40B4-BE49-F238E27FC236}">
                <a16:creationId xmlns:a16="http://schemas.microsoft.com/office/drawing/2014/main" id="{77D7EC12-B98C-4E7B-B851-FD8467F7541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4"/>
          <a:stretch/>
        </p:blipFill>
        <p:spPr>
          <a:xfrm>
            <a:off x="20" y="10"/>
            <a:ext cx="12436455" cy="6994515"/>
          </a:xfrm>
          <a:prstGeom prst="rect">
            <a:avLst/>
          </a:prstGeom>
          <a:blipFill dpi="0" rotWithShape="1">
            <a:blip r:embed="rId5"/>
            <a:srcRect/>
            <a:tile tx="0" ty="0" sx="100000" sy="100000" flip="none" algn="tl"/>
          </a:blipFill>
        </p:spPr>
      </p:pic>
      <p:sp>
        <p:nvSpPr>
          <p:cNvPr id="21" name="Rectangle 21">
            <a:extLst>
              <a:ext uri="{FF2B5EF4-FFF2-40B4-BE49-F238E27FC236}">
                <a16:creationId xmlns:a16="http://schemas.microsoft.com/office/drawing/2014/main" id="{37C89E4B-3C9F-44B9-8B86-D9E3D112D8E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5426052"/>
            <a:ext cx="12436475" cy="751214"/>
          </a:xfrm>
          <a:prstGeom prst="rect">
            <a:avLst/>
          </a:prstGeom>
          <a:solidFill>
            <a:schemeClr val="bg1">
              <a:alpha val="9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73138F5-7049-4F2E-8024-51D2CE424C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4379" y="5423092"/>
            <a:ext cx="11435728" cy="759664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 defTabSz="914400"/>
            <a:r>
              <a:rPr lang="en-US" sz="3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Listening posts and independent reading stations</a:t>
            </a:r>
          </a:p>
        </p:txBody>
      </p:sp>
      <p:cxnSp>
        <p:nvCxnSpPr>
          <p:cNvPr id="23" name="Straight Connector 23">
            <a:extLst>
              <a:ext uri="{FF2B5EF4-FFF2-40B4-BE49-F238E27FC236}">
                <a16:creationId xmlns:a16="http://schemas.microsoft.com/office/drawing/2014/main" id="{AA2EAA10-076F-46BD-8F0F-B9A2FB77A85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0" y="5346337"/>
            <a:ext cx="12436475" cy="0"/>
          </a:xfrm>
          <a:prstGeom prst="line">
            <a:avLst/>
          </a:prstGeom>
          <a:ln w="41275">
            <a:solidFill>
              <a:schemeClr val="bg1">
                <a:alpha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5">
            <a:extLst>
              <a:ext uri="{FF2B5EF4-FFF2-40B4-BE49-F238E27FC236}">
                <a16:creationId xmlns:a16="http://schemas.microsoft.com/office/drawing/2014/main" id="{D891E407-403B-4764-86C9-33A56D3BCAA3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0" y="6256980"/>
            <a:ext cx="12436475" cy="0"/>
          </a:xfrm>
          <a:prstGeom prst="line">
            <a:avLst/>
          </a:prstGeom>
          <a:ln w="41275">
            <a:solidFill>
              <a:schemeClr val="bg1">
                <a:alpha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13182826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4F5FA0D-0104-4987-8241-EFF7C85B88D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6212700" cy="6994525"/>
          </a:xfrm>
          <a:prstGeom prst="rect">
            <a:avLst/>
          </a:prstGeom>
          <a:gradFill>
            <a:gsLst>
              <a:gs pos="0">
                <a:schemeClr val="accent6">
                  <a:lumMod val="90000"/>
                </a:schemeClr>
              </a:gs>
              <a:gs pos="25000">
                <a:schemeClr val="accent6">
                  <a:lumMod val="90000"/>
                </a:schemeClr>
              </a:gs>
              <a:gs pos="94000">
                <a:schemeClr val="bg2">
                  <a:lumMod val="25000"/>
                </a:schemeClr>
              </a:gs>
              <a:gs pos="100000">
                <a:schemeClr val="bg2">
                  <a:lumMod val="2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897127E-6CEF-446C-BE87-93B7C46E49D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436475" cy="69945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6007307-B14F-44D7-9F65-46E4EC1898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913" y="2094523"/>
            <a:ext cx="3742736" cy="2815045"/>
          </a:xfrm>
        </p:spPr>
        <p:txBody>
          <a:bodyPr>
            <a:normAutofit/>
          </a:bodyPr>
          <a:lstStyle/>
          <a:p>
            <a:r>
              <a:rPr lang="en-US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ower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26739E3-201A-4DD5-BDA4-2FAF4539A1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12702" y="817829"/>
            <a:ext cx="5412482" cy="5334762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en-US" sz="2400" i="1" dirty="0">
                <a:solidFill>
                  <a:srgbClr val="0000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“It is an </a:t>
            </a:r>
            <a:r>
              <a:rPr lang="en-US" sz="2400" b="1" i="1" u="sng" dirty="0">
                <a:solidFill>
                  <a:srgbClr val="0000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mpowering</a:t>
            </a:r>
            <a:r>
              <a:rPr lang="en-US" sz="2400" i="1" dirty="0">
                <a:solidFill>
                  <a:srgbClr val="0000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tool.  It evens the playing field for kids who are struggling readers. It allows them to feel more like independent learners, not depending on the teacher, not depending on peers.”</a:t>
            </a:r>
          </a:p>
          <a:p>
            <a:pPr marL="0" indent="0">
              <a:buNone/>
            </a:pPr>
            <a:r>
              <a:rPr lang="en-US" sz="2400" i="1" dirty="0">
                <a:solidFill>
                  <a:srgbClr val="0000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– 4</a:t>
            </a:r>
            <a:r>
              <a:rPr lang="en-US" sz="2400" i="1" baseline="30000" dirty="0">
                <a:solidFill>
                  <a:srgbClr val="0000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h</a:t>
            </a:r>
            <a:r>
              <a:rPr lang="en-US" sz="2400" i="1" dirty="0">
                <a:solidFill>
                  <a:srgbClr val="0000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 grade teacher</a:t>
            </a:r>
            <a:endParaRPr lang="en-US" sz="2400" dirty="0">
              <a:solidFill>
                <a:srgbClr val="000000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138904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4351DFE5-F63D-4BE0-BDA9-E3EB88F01AA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62731" y="0"/>
            <a:ext cx="11710702" cy="2808759"/>
          </a:xfrm>
          <a:prstGeom prst="rect">
            <a:avLst/>
          </a:prstGeom>
          <a:gradFill>
            <a:gsLst>
              <a:gs pos="0">
                <a:schemeClr val="accent1">
                  <a:lumMod val="90000"/>
                </a:schemeClr>
              </a:gs>
              <a:gs pos="25000">
                <a:schemeClr val="accent1">
                  <a:lumMod val="90000"/>
                </a:schemeClr>
              </a:gs>
              <a:gs pos="94000">
                <a:schemeClr val="bg2">
                  <a:lumMod val="25000"/>
                </a:schemeClr>
              </a:gs>
              <a:gs pos="100000">
                <a:schemeClr val="bg2">
                  <a:lumMod val="2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3AA16612-ACD2-4A16-8F2B-4514FD6BF28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436475" cy="69945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FBF3340-0F49-4D40-99B5-E767764679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2871" y="843137"/>
            <a:ext cx="10030732" cy="1351951"/>
          </a:xfrm>
        </p:spPr>
        <p:txBody>
          <a:bodyPr>
            <a:normAutofit/>
          </a:bodyPr>
          <a:lstStyle/>
          <a:p>
            <a:pPr algn="ctr"/>
            <a:r>
              <a:rPr lang="en-US" sz="4000">
                <a:solidFill>
                  <a:srgbClr val="FFFFFF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High interest, low abilit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4214D1-8156-4114-9ADA-0D7F50ADDA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02871" y="3154543"/>
            <a:ext cx="10030732" cy="2747606"/>
          </a:xfrm>
        </p:spPr>
        <p:txBody>
          <a:bodyPr vert="horz" lIns="91440" tIns="45720" rIns="91440" bIns="45720" rtlCol="0">
            <a:normAutofit fontScale="85000" lnSpcReduction="10000"/>
          </a:bodyPr>
          <a:lstStyle/>
          <a:p>
            <a:pPr marL="0" indent="0">
              <a:buNone/>
            </a:pPr>
            <a:r>
              <a:rPr lang="en-US" sz="4300" i="1" dirty="0">
                <a:solidFill>
                  <a:srgbClr val="0000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“Nearly all of the study teachers mentioned how it enabled their readers, </a:t>
            </a:r>
            <a:r>
              <a:rPr lang="en-US" sz="4300" b="1" i="1" u="sng" dirty="0">
                <a:solidFill>
                  <a:srgbClr val="0000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egardless of skill level</a:t>
            </a:r>
            <a:r>
              <a:rPr lang="en-US" sz="4300" i="1" dirty="0">
                <a:solidFill>
                  <a:srgbClr val="0000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to access content aimed at a higher reading level. In this case, “access” means comprehension of content that had previously been unavailable.”</a:t>
            </a:r>
            <a:r>
              <a:rPr lang="en-US" sz="2000" i="1" dirty="0">
                <a:solidFill>
                  <a:srgbClr val="0000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/>
            </a:r>
            <a:br>
              <a:rPr lang="en-US" sz="2000" i="1" dirty="0">
                <a:solidFill>
                  <a:srgbClr val="0000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</a:br>
            <a:endParaRPr lang="en-US" sz="2000" i="1" dirty="0">
              <a:solidFill>
                <a:srgbClr val="000000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0478464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7">
            <a:extLst>
              <a:ext uri="{FF2B5EF4-FFF2-40B4-BE49-F238E27FC236}">
                <a16:creationId xmlns:a16="http://schemas.microsoft.com/office/drawing/2014/main" id="{6753252F-4873-4F63-801D-CC719279A7D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436475" cy="699452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9">
            <a:extLst>
              <a:ext uri="{FF2B5EF4-FFF2-40B4-BE49-F238E27FC236}">
                <a16:creationId xmlns:a16="http://schemas.microsoft.com/office/drawing/2014/main" id="{047C8CCB-F95D-4249-92DD-651249D3535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2053933" cy="6994525"/>
          </a:xfrm>
          <a:prstGeom prst="rect">
            <a:avLst/>
          </a:prstGeom>
          <a:solidFill>
            <a:srgbClr val="373B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61C1A050-ED1B-41BF-864A-E5FD6B97753F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2914" y="2115658"/>
            <a:ext cx="2807545" cy="2763209"/>
          </a:xfrm>
          <a:prstGeom prst="ellipse">
            <a:avLst/>
          </a:prstGeom>
          <a:solidFill>
            <a:srgbClr val="262626"/>
          </a:solidFill>
          <a:ln w="174625" cmpd="thinThick">
            <a:solidFill>
              <a:srgbClr val="262626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3259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88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Study by the British Dyslexia Association and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Knowl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Hill </a:t>
            </a:r>
          </a:p>
        </p:txBody>
      </p:sp>
      <p:pic>
        <p:nvPicPr>
          <p:cNvPr id="9" name="Picture 8" descr="Trail finds using Microsoft OneNote Software boosts dyslexic children's learning">
            <a:hlinkClick r:id="rId4"/>
            <a:extLst>
              <a:ext uri="{FF2B5EF4-FFF2-40B4-BE49-F238E27FC236}">
                <a16:creationId xmlns:a16="http://schemas.microsoft.com/office/drawing/2014/main" id="{E27FBFAA-C817-442E-B1B3-5BC88C9E808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49853" y="1150441"/>
            <a:ext cx="8632271" cy="4855653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B0EC2F79-8C27-4A2E-8806-A7DEAAA9392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/>
        </p:nvSpPr>
        <p:spPr>
          <a:xfrm>
            <a:off x="9495093" y="2437999"/>
            <a:ext cx="2602615" cy="3818075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7007327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9696" y="1184642"/>
            <a:ext cx="5486400" cy="5123496"/>
          </a:xfrm>
        </p:spPr>
        <p:txBody>
          <a:bodyPr>
            <a:normAutofit fontScale="90000"/>
          </a:bodyPr>
          <a:lstStyle/>
          <a:p>
            <a:r>
              <a:rPr lang="en-US" sz="5385" dirty="0"/>
              <a:t>"Our mission is to empower </a:t>
            </a:r>
            <a:r>
              <a:rPr lang="en-US" sz="5385" b="1" u="sng" dirty="0"/>
              <a:t>every</a:t>
            </a:r>
            <a:r>
              <a:rPr lang="en-US" sz="5385" u="sng" dirty="0"/>
              <a:t> </a:t>
            </a:r>
            <a:r>
              <a:rPr lang="en-US" sz="5385" b="1" u="sng" dirty="0"/>
              <a:t>person</a:t>
            </a:r>
            <a:r>
              <a:rPr lang="en-US" sz="5385" dirty="0"/>
              <a:t> and every </a:t>
            </a:r>
            <a:r>
              <a:rPr lang="en-US" sz="5385" dirty="0" err="1"/>
              <a:t>organisation</a:t>
            </a:r>
            <a:r>
              <a:rPr lang="en-US" sz="5385" dirty="0"/>
              <a:t> on the planet to achieve more."</a:t>
            </a:r>
            <a:br>
              <a:rPr lang="en-US" sz="5385" dirty="0"/>
            </a:br>
            <a:r>
              <a:rPr lang="en-US" sz="5385" dirty="0"/>
              <a:t/>
            </a:r>
            <a:br>
              <a:rPr lang="en-US" sz="5385" dirty="0"/>
            </a:br>
            <a:endParaRPr lang="en-US" sz="5385" dirty="0"/>
          </a:p>
        </p:txBody>
      </p:sp>
      <p:pic>
        <p:nvPicPr>
          <p:cNvPr id="16" name="Picture 15" descr="Microsoft CEO Satya Nadella speaking to a class of secondary students. 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19014" y="3063"/>
            <a:ext cx="6216578" cy="6993651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4" name="Ink 3">
                <a:extLst>
                  <a:ext uri="{FF2B5EF4-FFF2-40B4-BE49-F238E27FC236}">
                    <a16:creationId xmlns:a16="http://schemas.microsoft.com/office/drawing/2014/main" id="{C66EEDD5-5F3E-4495-9C07-DD8EB2053C60}"/>
                  </a:ext>
                  <a:ext uri="{C183D7F6-B498-43B3-948B-1728B52AA6E4}">
                    <adec:decorative xmlns:adec="http://schemas.microsoft.com/office/drawing/2017/decorative" xmlns="" val="1"/>
                  </a:ext>
                </a:extLst>
              </p14:cNvPr>
              <p14:cNvContentPartPr/>
              <p14:nvPr/>
            </p14:nvContentPartPr>
            <p14:xfrm>
              <a:off x="4663847" y="686387"/>
              <a:ext cx="122" cy="122"/>
            </p14:xfrm>
          </p:contentPart>
        </mc:Choice>
        <mc:Fallback xmlns="">
          <p:pic>
            <p:nvPicPr>
              <p:cNvPr id="4" name="Ink 3">
                <a:extLst>
                  <a:ext uri="{FF2B5EF4-FFF2-40B4-BE49-F238E27FC236}">
                    <a16:creationId xmlns:a16="http://schemas.microsoft.com/office/drawing/2014/main" id="{C66EEDD5-5F3E-4495-9C07-DD8EB2053C60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662871" y="685411"/>
                <a:ext cx="2074" cy="2074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5" name="Ink 4">
                <a:extLst>
                  <a:ext uri="{FF2B5EF4-FFF2-40B4-BE49-F238E27FC236}">
                    <a16:creationId xmlns:a16="http://schemas.microsoft.com/office/drawing/2014/main" id="{3B088912-83D2-4FCF-AA08-D4EDE373D9AA}"/>
                  </a:ext>
                  <a:ext uri="{C183D7F6-B498-43B3-948B-1728B52AA6E4}">
                    <adec:decorative xmlns:adec="http://schemas.microsoft.com/office/drawing/2017/decorative" xmlns="" val="1"/>
                  </a:ext>
                </a:extLst>
              </p14:cNvPr>
              <p14:cNvContentPartPr/>
              <p14:nvPr/>
            </p14:nvContentPartPr>
            <p14:xfrm>
              <a:off x="4443670" y="686387"/>
              <a:ext cx="122" cy="122"/>
            </p14:xfrm>
          </p:contentPart>
        </mc:Choice>
        <mc:Fallback xmlns="">
          <p:pic>
            <p:nvPicPr>
              <p:cNvPr id="5" name="Ink 4">
                <a:extLst>
                  <a:ext uri="{FF2B5EF4-FFF2-40B4-BE49-F238E27FC236}">
                    <a16:creationId xmlns:a16="http://schemas.microsoft.com/office/drawing/2014/main" id="{3B088912-83D2-4FCF-AA08-D4EDE373D9AA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442694" y="685411"/>
                <a:ext cx="2074" cy="2074"/>
              </a:xfrm>
              <a:prstGeom prst="rect">
                <a:avLst/>
              </a:prstGeom>
            </p:spPr>
          </p:pic>
        </mc:Fallback>
      </mc:AlternateContent>
    </p:spTree>
    <p:custDataLst>
      <p:tags r:id="rId1"/>
    </p:custDataLst>
    <p:extLst>
      <p:ext uri="{BB962C8B-B14F-4D97-AF65-F5344CB8AC3E}">
        <p14:creationId xmlns:p14="http://schemas.microsoft.com/office/powerpoint/2010/main" val="34541596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972BB3-1938-4C32-B8CC-5446CC2AB6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1941" y="641793"/>
            <a:ext cx="3740571" cy="1709979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defTabSz="914400"/>
            <a:r>
              <a:rPr lang="en-US" sz="3700"/>
              <a:t>Learning Tools 3</a:t>
            </a:r>
            <a:r>
              <a:rPr lang="en-US" sz="3700" baseline="30000"/>
              <a:t>rd</a:t>
            </a:r>
            <a:r>
              <a:rPr lang="en-US" sz="3700"/>
              <a:t> party research study – RTI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1412333-2187-4C26-BE3F-97F0D56AD28F}"/>
              </a:ext>
            </a:extLst>
          </p:cNvPr>
          <p:cNvSpPr txBox="1"/>
          <p:nvPr/>
        </p:nvSpPr>
        <p:spPr>
          <a:xfrm>
            <a:off x="661942" y="2486942"/>
            <a:ext cx="3740569" cy="386077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91380" indent="-228600" defTabSz="9144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/>
              <a:t>4</a:t>
            </a:r>
            <a:r>
              <a:rPr lang="en-US" baseline="30000"/>
              <a:t>th</a:t>
            </a:r>
            <a:r>
              <a:rPr lang="en-US"/>
              <a:t> grade, 6</a:t>
            </a:r>
            <a:r>
              <a:rPr lang="en-US" baseline="30000"/>
              <a:t>th</a:t>
            </a:r>
            <a:r>
              <a:rPr lang="en-US"/>
              <a:t>-8</a:t>
            </a:r>
            <a:r>
              <a:rPr lang="en-US" baseline="30000"/>
              <a:t>th</a:t>
            </a:r>
            <a:r>
              <a:rPr lang="en-US"/>
              <a:t>, and 10-12</a:t>
            </a:r>
            <a:r>
              <a:rPr lang="en-US" baseline="30000"/>
              <a:t>th</a:t>
            </a:r>
            <a:r>
              <a:rPr lang="en-US"/>
              <a:t> grade students</a:t>
            </a:r>
          </a:p>
          <a:p>
            <a:pPr marL="291380" indent="-228600" defTabSz="9144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/>
              <a:t>Reading Comprehension scores improved</a:t>
            </a:r>
          </a:p>
          <a:p>
            <a:pPr marL="291380" indent="-228600" defTabSz="9144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/>
              <a:t>Writing improved</a:t>
            </a:r>
          </a:p>
          <a:p>
            <a:pPr marL="291380" indent="-228600" defTabSz="9144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/>
              <a:t>Non-cognitive processes improved</a:t>
            </a:r>
          </a:p>
          <a:p>
            <a:pPr marL="291380" indent="-228600" defTabSz="9144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/>
              <a:t>Equal access of materials </a:t>
            </a:r>
          </a:p>
          <a:p>
            <a:pPr marL="291380" indent="-228600" defTabSz="9144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/>
              <a:t>Full Report: </a:t>
            </a:r>
            <a:r>
              <a:rPr lang="en-US" b="1">
                <a:hlinkClick r:id="rId4"/>
              </a:rPr>
              <a:t>http://aka.ms/LearningToolsStudy</a:t>
            </a:r>
            <a:r>
              <a:rPr lang="en-US" b="1"/>
              <a:t> </a:t>
            </a:r>
          </a:p>
        </p:txBody>
      </p:sp>
      <p:pic>
        <p:nvPicPr>
          <p:cNvPr id="3" name="Picture 2" descr="Text: Levelling the playing field with Microsoft Learning Tools">
            <a:extLst>
              <a:ext uri="{FF2B5EF4-FFF2-40B4-BE49-F238E27FC236}">
                <a16:creationId xmlns:a16="http://schemas.microsoft.com/office/drawing/2014/main" id="{AA1AC497-2FF0-460A-BB88-C02DAAE91F1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3" b="2262"/>
          <a:stretch/>
        </p:blipFill>
        <p:spPr>
          <a:xfrm>
            <a:off x="4728969" y="652824"/>
            <a:ext cx="7055016" cy="5688877"/>
          </a:xfrm>
          <a:prstGeom prst="rect">
            <a:avLst/>
          </a:prstGeom>
          <a:effectLst/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8929911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833CDA-3708-41C9-AF65-16FA62414C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39829" y="5220655"/>
            <a:ext cx="8756816" cy="1065090"/>
          </a:xfrm>
        </p:spPr>
        <p:txBody>
          <a:bodyPr vert="horz" lIns="91440" tIns="45720" rIns="91440" bIns="45720" rtlCol="0" anchor="t">
            <a:normAutofit/>
          </a:bodyPr>
          <a:lstStyle/>
          <a:p>
            <a:pPr algn="ctr" defTabSz="914400"/>
            <a:r>
              <a:rPr lang="en-US" sz="3400" i="1"/>
              <a:t>Immersive Reader is available in </a:t>
            </a:r>
            <a:br>
              <a:rPr lang="en-US" sz="3400" i="1"/>
            </a:br>
            <a:r>
              <a:rPr lang="en-US" sz="3400" i="1"/>
              <a:t>Office 365, Office Online &amp; Teams</a:t>
            </a:r>
          </a:p>
        </p:txBody>
      </p:sp>
      <p:sp>
        <p:nvSpPr>
          <p:cNvPr id="23" name="Oval 13">
            <a:extLst>
              <a:ext uri="{FF2B5EF4-FFF2-40B4-BE49-F238E27FC236}">
                <a16:creationId xmlns:a16="http://schemas.microsoft.com/office/drawing/2014/main" id="{0C45045A-6083-4B3E-956A-67582337527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45396" y="849474"/>
            <a:ext cx="3367176" cy="3366698"/>
          </a:xfrm>
          <a:prstGeom prst="ellipse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Oval 15">
            <a:extLst>
              <a:ext uri="{FF2B5EF4-FFF2-40B4-BE49-F238E27FC236}">
                <a16:creationId xmlns:a16="http://schemas.microsoft.com/office/drawing/2014/main" id="{EBD2B2B2-1395-4E7B-87A0-BD34551C01B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13289" y="1017343"/>
            <a:ext cx="3031391" cy="303096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2" descr="Microsoft Teams icon">
            <a:extLst>
              <a:ext uri="{FF2B5EF4-FFF2-40B4-BE49-F238E27FC236}">
                <a16:creationId xmlns:a16="http://schemas.microsoft.com/office/drawing/2014/main" id="{6948DC68-A552-4C0F-BAA3-435C0991942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51341" y="1595903"/>
            <a:ext cx="1555287" cy="1873841"/>
          </a:xfrm>
          <a:prstGeom prst="rect">
            <a:avLst/>
          </a:prstGeom>
        </p:spPr>
      </p:pic>
      <p:sp>
        <p:nvSpPr>
          <p:cNvPr id="26" name="Oval 17">
            <a:extLst>
              <a:ext uri="{FF2B5EF4-FFF2-40B4-BE49-F238E27FC236}">
                <a16:creationId xmlns:a16="http://schemas.microsoft.com/office/drawing/2014/main" id="{42875DDC-0225-45F8-B745-78688F2D1AD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534650" y="849474"/>
            <a:ext cx="3367176" cy="3366698"/>
          </a:xfrm>
          <a:prstGeom prst="ellipse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Oval 19">
            <a:extLst>
              <a:ext uri="{FF2B5EF4-FFF2-40B4-BE49-F238E27FC236}">
                <a16:creationId xmlns:a16="http://schemas.microsoft.com/office/drawing/2014/main" id="{4F329563-0961-4426-90D2-2DF4888E546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02543" y="1017343"/>
            <a:ext cx="3031390" cy="303096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9" name="Picture 8" descr="A picture containing vector graphics&#10;&#10;Description generated with high confidence">
            <a:extLst>
              <a:ext uri="{FF2B5EF4-FFF2-40B4-BE49-F238E27FC236}">
                <a16:creationId xmlns:a16="http://schemas.microsoft.com/office/drawing/2014/main" id="{D74632E9-2490-48C7-BB6E-25356D2E207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80970" y="1595211"/>
            <a:ext cx="1874533" cy="1874533"/>
          </a:xfrm>
          <a:prstGeom prst="rect">
            <a:avLst/>
          </a:prstGeom>
        </p:spPr>
      </p:pic>
      <p:sp>
        <p:nvSpPr>
          <p:cNvPr id="22" name="Oval 21">
            <a:extLst>
              <a:ext uri="{FF2B5EF4-FFF2-40B4-BE49-F238E27FC236}">
                <a16:creationId xmlns:a16="http://schemas.microsoft.com/office/drawing/2014/main" id="{12617755-D451-4BAF-9B55-518297BFF42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323903" y="849474"/>
            <a:ext cx="3367176" cy="3366698"/>
          </a:xfrm>
          <a:prstGeom prst="ellipse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86C062C2-3673-4248-BE21-B51B16E63267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491795" y="1017343"/>
            <a:ext cx="3031391" cy="3030961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Picture 4" descr="Office Online icon">
            <a:extLst>
              <a:ext uri="{FF2B5EF4-FFF2-40B4-BE49-F238E27FC236}">
                <a16:creationId xmlns:a16="http://schemas.microsoft.com/office/drawing/2014/main" id="{E62E2E5A-0E5F-4175-A2E9-F1EE0FAE8AC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70091" y="2005190"/>
            <a:ext cx="1874799" cy="105457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560269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The Immersive Reader icon">
            <a:extLst>
              <a:ext uri="{FF2B5EF4-FFF2-40B4-BE49-F238E27FC236}">
                <a16:creationId xmlns:a16="http://schemas.microsoft.com/office/drawing/2014/main" id="{2C734912-A093-4F87-8C06-342DD6376D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37985" y="1251575"/>
            <a:ext cx="4838100" cy="4485105"/>
          </a:xfrm>
          <a:prstGeom prst="rect">
            <a:avLst/>
          </a:prstGeom>
        </p:spPr>
      </p:pic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4D56677B-C0B7-4DAC-ACAD-8054FF1B599A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6218237" y="1605219"/>
            <a:ext cx="0" cy="3784088"/>
          </a:xfrm>
          <a:prstGeom prst="line">
            <a:avLst/>
          </a:prstGeom>
          <a:ln w="19050">
            <a:solidFill>
              <a:srgbClr val="B426E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50" name="Picture 2" descr="See the source image">
            <a:extLst>
              <a:ext uri="{FF2B5EF4-FFF2-40B4-BE49-F238E27FC236}">
                <a16:creationId xmlns:a16="http://schemas.microsoft.com/office/drawing/2014/main" id="{3FDD794D-C3C1-483E-81E2-68C9B4302F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470435" y="1145893"/>
            <a:ext cx="4696470" cy="46964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D1249C7-1BA5-47A3-B584-9494AD84B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5008" y="-1351952"/>
            <a:ext cx="10726460" cy="1351952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AU" dirty="0"/>
              <a:t>OneNote</a:t>
            </a:r>
          </a:p>
        </p:txBody>
      </p:sp>
    </p:spTree>
    <p:extLst>
      <p:ext uri="{BB962C8B-B14F-4D97-AF65-F5344CB8AC3E}">
        <p14:creationId xmlns:p14="http://schemas.microsoft.com/office/powerpoint/2010/main" val="140454897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833CDA-3708-41C9-AF65-16FA62414C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5200" y="3869871"/>
            <a:ext cx="5347378" cy="1960518"/>
          </a:xfrm>
        </p:spPr>
        <p:txBody>
          <a:bodyPr vert="horz" lIns="91440" tIns="45720" rIns="91440" bIns="45720" rtlCol="0" anchor="t">
            <a:normAutofit/>
          </a:bodyPr>
          <a:lstStyle/>
          <a:p>
            <a:pPr defTabSz="914400"/>
            <a:r>
              <a:rPr lang="en-US" sz="48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OneNote for iPad &amp; OneNote for Mac</a:t>
            </a: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60B21A5C-062F-46C2-8389-53D40F46AA2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493090"/>
            <a:ext cx="5660306" cy="6501436"/>
          </a:xfrm>
          <a:custGeom>
            <a:avLst/>
            <a:gdLst>
              <a:gd name="connsiteX0" fmla="*/ 2203019 w 5549037"/>
              <a:gd name="connsiteY0" fmla="*/ 0 h 6374535"/>
              <a:gd name="connsiteX1" fmla="*/ 5549037 w 5549037"/>
              <a:gd name="connsiteY1" fmla="*/ 3346018 h 6374535"/>
              <a:gd name="connsiteX2" fmla="*/ 3797930 w 5549037"/>
              <a:gd name="connsiteY2" fmla="*/ 6288190 h 6374535"/>
              <a:gd name="connsiteX3" fmla="*/ 3618689 w 5549037"/>
              <a:gd name="connsiteY3" fmla="*/ 6374535 h 6374535"/>
              <a:gd name="connsiteX4" fmla="*/ 779546 w 5549037"/>
              <a:gd name="connsiteY4" fmla="*/ 6374535 h 6374535"/>
              <a:gd name="connsiteX5" fmla="*/ 537516 w 5549037"/>
              <a:gd name="connsiteY5" fmla="*/ 6248727 h 6374535"/>
              <a:gd name="connsiteX6" fmla="*/ 74641 w 5549037"/>
              <a:gd name="connsiteY6" fmla="*/ 5927968 h 6374535"/>
              <a:gd name="connsiteX7" fmla="*/ 0 w 5549037"/>
              <a:gd name="connsiteY7" fmla="*/ 5860130 h 6374535"/>
              <a:gd name="connsiteX8" fmla="*/ 0 w 5549037"/>
              <a:gd name="connsiteY8" fmla="*/ 831906 h 6374535"/>
              <a:gd name="connsiteX9" fmla="*/ 74641 w 5549037"/>
              <a:gd name="connsiteY9" fmla="*/ 764068 h 6374535"/>
              <a:gd name="connsiteX10" fmla="*/ 2203019 w 5549037"/>
              <a:gd name="connsiteY10" fmla="*/ 0 h 63745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549037" h="6374535">
                <a:moveTo>
                  <a:pt x="2203019" y="0"/>
                </a:moveTo>
                <a:cubicBezTo>
                  <a:pt x="4050974" y="0"/>
                  <a:pt x="5549037" y="1498063"/>
                  <a:pt x="5549037" y="3346018"/>
                </a:cubicBezTo>
                <a:cubicBezTo>
                  <a:pt x="5549037" y="4616487"/>
                  <a:pt x="4840968" y="5721578"/>
                  <a:pt x="3797930" y="6288190"/>
                </a:cubicBezTo>
                <a:lnTo>
                  <a:pt x="3618689" y="6374535"/>
                </a:lnTo>
                <a:lnTo>
                  <a:pt x="779546" y="6374535"/>
                </a:lnTo>
                <a:lnTo>
                  <a:pt x="537516" y="6248727"/>
                </a:lnTo>
                <a:cubicBezTo>
                  <a:pt x="374031" y="6154721"/>
                  <a:pt x="219238" y="6047301"/>
                  <a:pt x="74641" y="5927968"/>
                </a:cubicBezTo>
                <a:lnTo>
                  <a:pt x="0" y="5860130"/>
                </a:lnTo>
                <a:lnTo>
                  <a:pt x="0" y="831906"/>
                </a:lnTo>
                <a:lnTo>
                  <a:pt x="74641" y="764068"/>
                </a:lnTo>
                <a:cubicBezTo>
                  <a:pt x="653030" y="286739"/>
                  <a:pt x="1394539" y="0"/>
                  <a:pt x="2203019" y="0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4" name="Picture 13" descr="Immersive Reader on an iPad">
            <a:extLst>
              <a:ext uri="{FF2B5EF4-FFF2-40B4-BE49-F238E27FC236}">
                <a16:creationId xmlns:a16="http://schemas.microsoft.com/office/drawing/2014/main" id="{664DC1A1-A132-4A76-BEDB-4043DDFA484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8995" r="2" b="10576"/>
          <a:stretch/>
        </p:blipFill>
        <p:spPr>
          <a:xfrm>
            <a:off x="1" y="660260"/>
            <a:ext cx="5493113" cy="6334267"/>
          </a:xfrm>
          <a:custGeom>
            <a:avLst/>
            <a:gdLst/>
            <a:ahLst/>
            <a:cxnLst/>
            <a:rect l="l" t="t" r="r" b="b"/>
            <a:pathLst>
              <a:path w="5385130" h="6210629">
                <a:moveTo>
                  <a:pt x="2203018" y="0"/>
                </a:moveTo>
                <a:cubicBezTo>
                  <a:pt x="3960450" y="0"/>
                  <a:pt x="5385130" y="1424680"/>
                  <a:pt x="5385130" y="3182112"/>
                </a:cubicBezTo>
                <a:cubicBezTo>
                  <a:pt x="5385130" y="4500186"/>
                  <a:pt x="4583748" y="5631087"/>
                  <a:pt x="3441640" y="6114158"/>
                </a:cubicBezTo>
                <a:lnTo>
                  <a:pt x="3178061" y="6210629"/>
                </a:lnTo>
                <a:lnTo>
                  <a:pt x="1233206" y="6210629"/>
                </a:lnTo>
                <a:lnTo>
                  <a:pt x="1108901" y="6171135"/>
                </a:lnTo>
                <a:cubicBezTo>
                  <a:pt x="767738" y="6046219"/>
                  <a:pt x="453928" y="5864559"/>
                  <a:pt x="178899" y="5637585"/>
                </a:cubicBezTo>
                <a:lnTo>
                  <a:pt x="0" y="5474990"/>
                </a:lnTo>
                <a:lnTo>
                  <a:pt x="0" y="889234"/>
                </a:lnTo>
                <a:lnTo>
                  <a:pt x="178899" y="726640"/>
                </a:lnTo>
                <a:cubicBezTo>
                  <a:pt x="728956" y="272693"/>
                  <a:pt x="1434142" y="0"/>
                  <a:pt x="2203018" y="0"/>
                </a:cubicBezTo>
                <a:close/>
              </a:path>
            </a:pathLst>
          </a:custGeom>
        </p:spPr>
      </p:pic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8A177BCC-4208-4795-8572-4D623BA1E2A0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338710" y="1"/>
            <a:ext cx="4570405" cy="2564040"/>
          </a:xfrm>
          <a:custGeom>
            <a:avLst/>
            <a:gdLst>
              <a:gd name="connsiteX0" fmla="*/ 18382 w 4480560"/>
              <a:gd name="connsiteY0" fmla="*/ 0 h 2513993"/>
              <a:gd name="connsiteX1" fmla="*/ 4462178 w 4480560"/>
              <a:gd name="connsiteY1" fmla="*/ 0 h 2513993"/>
              <a:gd name="connsiteX2" fmla="*/ 4468994 w 4480560"/>
              <a:gd name="connsiteY2" fmla="*/ 44657 h 2513993"/>
              <a:gd name="connsiteX3" fmla="*/ 4480560 w 4480560"/>
              <a:gd name="connsiteY3" fmla="*/ 273713 h 2513993"/>
              <a:gd name="connsiteX4" fmla="*/ 2240280 w 4480560"/>
              <a:gd name="connsiteY4" fmla="*/ 2513993 h 2513993"/>
              <a:gd name="connsiteX5" fmla="*/ 0 w 4480560"/>
              <a:gd name="connsiteY5" fmla="*/ 273713 h 2513993"/>
              <a:gd name="connsiteX6" fmla="*/ 11567 w 4480560"/>
              <a:gd name="connsiteY6" fmla="*/ 44657 h 25139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80560" h="2513993">
                <a:moveTo>
                  <a:pt x="18382" y="0"/>
                </a:moveTo>
                <a:lnTo>
                  <a:pt x="4462178" y="0"/>
                </a:lnTo>
                <a:lnTo>
                  <a:pt x="4468994" y="44657"/>
                </a:lnTo>
                <a:cubicBezTo>
                  <a:pt x="4476642" y="119969"/>
                  <a:pt x="4480560" y="196384"/>
                  <a:pt x="4480560" y="273713"/>
                </a:cubicBezTo>
                <a:cubicBezTo>
                  <a:pt x="4480560" y="1510985"/>
                  <a:pt x="3477552" y="2513993"/>
                  <a:pt x="2240280" y="2513993"/>
                </a:cubicBezTo>
                <a:cubicBezTo>
                  <a:pt x="1003008" y="2513993"/>
                  <a:pt x="0" y="1510985"/>
                  <a:pt x="0" y="273713"/>
                </a:cubicBezTo>
                <a:cubicBezTo>
                  <a:pt x="0" y="196384"/>
                  <a:pt x="3918" y="119969"/>
                  <a:pt x="11567" y="44657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Picture 6" descr="Immersive Reader on a Mac">
            <a:extLst>
              <a:ext uri="{FF2B5EF4-FFF2-40B4-BE49-F238E27FC236}">
                <a16:creationId xmlns:a16="http://schemas.microsoft.com/office/drawing/2014/main" id="{BFCB0EE9-07AF-4EE2-98F3-36160512D03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4" b="1165"/>
          <a:stretch/>
        </p:blipFill>
        <p:spPr>
          <a:xfrm>
            <a:off x="5506603" y="1"/>
            <a:ext cx="4234620" cy="2396171"/>
          </a:xfrm>
          <a:custGeom>
            <a:avLst/>
            <a:gdLst/>
            <a:ahLst/>
            <a:cxnLst/>
            <a:rect l="l" t="t" r="r" b="b"/>
            <a:pathLst>
              <a:path w="4151376" h="2349401">
                <a:moveTo>
                  <a:pt x="20101" y="0"/>
                </a:moveTo>
                <a:lnTo>
                  <a:pt x="4131276" y="0"/>
                </a:lnTo>
                <a:lnTo>
                  <a:pt x="4140659" y="61486"/>
                </a:lnTo>
                <a:cubicBezTo>
                  <a:pt x="4147746" y="131265"/>
                  <a:pt x="4151376" y="202065"/>
                  <a:pt x="4151376" y="273713"/>
                </a:cubicBezTo>
                <a:cubicBezTo>
                  <a:pt x="4151376" y="1420084"/>
                  <a:pt x="3222059" y="2349401"/>
                  <a:pt x="2075688" y="2349401"/>
                </a:cubicBezTo>
                <a:cubicBezTo>
                  <a:pt x="929317" y="2349401"/>
                  <a:pt x="0" y="1420084"/>
                  <a:pt x="0" y="273713"/>
                </a:cubicBezTo>
                <a:cubicBezTo>
                  <a:pt x="0" y="202065"/>
                  <a:pt x="3630" y="131265"/>
                  <a:pt x="10717" y="61486"/>
                </a:cubicBezTo>
                <a:close/>
              </a:path>
            </a:pathLst>
          </a:cu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022832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Microsoft Edge browser icon">
            <a:extLst>
              <a:ext uri="{FF2B5EF4-FFF2-40B4-BE49-F238E27FC236}">
                <a16:creationId xmlns:a16="http://schemas.microsoft.com/office/drawing/2014/main" id="{FDB116B0-27FA-43FA-9CA0-A9006E4E63A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3620" r="24528" b="-1"/>
          <a:stretch/>
        </p:blipFill>
        <p:spPr>
          <a:xfrm>
            <a:off x="6919394" y="994602"/>
            <a:ext cx="4613925" cy="5005320"/>
          </a:xfrm>
          <a:prstGeom prst="rect">
            <a:avLst/>
          </a:prstGeom>
        </p:spPr>
      </p:pic>
      <p:pic>
        <p:nvPicPr>
          <p:cNvPr id="3" name="Picture 2" descr="The Immersive Reader icon">
            <a:extLst>
              <a:ext uri="{FF2B5EF4-FFF2-40B4-BE49-F238E27FC236}">
                <a16:creationId xmlns:a16="http://schemas.microsoft.com/office/drawing/2014/main" id="{1912DF64-0848-40C2-8533-14474F45495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048" y="1387446"/>
            <a:ext cx="4822821" cy="447094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EF6D60F-FB8A-4C55-9C59-20917A94BD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5008" y="-1351952"/>
            <a:ext cx="10726460" cy="1351952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AU" dirty="0"/>
              <a:t>Edge Browse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36546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The Immersive Reader icon">
            <a:extLst>
              <a:ext uri="{FF2B5EF4-FFF2-40B4-BE49-F238E27FC236}">
                <a16:creationId xmlns:a16="http://schemas.microsoft.com/office/drawing/2014/main" id="{739EA675-85B3-4806-88B6-110EBC1384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37985" y="1251575"/>
            <a:ext cx="4838100" cy="4485105"/>
          </a:xfrm>
          <a:prstGeom prst="rect">
            <a:avLst/>
          </a:prstGeom>
        </p:spPr>
      </p:pic>
      <p:pic>
        <p:nvPicPr>
          <p:cNvPr id="3" name="Picture 2" descr="Microsoft Forms icon">
            <a:extLst>
              <a:ext uri="{FF2B5EF4-FFF2-40B4-BE49-F238E27FC236}">
                <a16:creationId xmlns:a16="http://schemas.microsoft.com/office/drawing/2014/main" id="{AD573C35-A422-4AA8-8783-28AD89AD18D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70435" y="1145893"/>
            <a:ext cx="4696470" cy="469647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8797E45-E834-49BF-AFB8-EAC4E6EA33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5008" y="-1351952"/>
            <a:ext cx="10726460" cy="1351952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AU" dirty="0"/>
              <a:t>Form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2215279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The Immersive Reader icon">
            <a:extLst>
              <a:ext uri="{FF2B5EF4-FFF2-40B4-BE49-F238E27FC236}">
                <a16:creationId xmlns:a16="http://schemas.microsoft.com/office/drawing/2014/main" id="{208944A0-07AF-41F7-A5A8-12C5DD9BB1A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37985" y="1251575"/>
            <a:ext cx="4838100" cy="4485105"/>
          </a:xfrm>
          <a:prstGeom prst="rect">
            <a:avLst/>
          </a:prstGeom>
        </p:spPr>
      </p:pic>
      <p:pic>
        <p:nvPicPr>
          <p:cNvPr id="4" name="Picture 3" descr="Microsoft Outlook icon">
            <a:extLst>
              <a:ext uri="{FF2B5EF4-FFF2-40B4-BE49-F238E27FC236}">
                <a16:creationId xmlns:a16="http://schemas.microsoft.com/office/drawing/2014/main" id="{858F7086-6268-4F62-B00D-E4461DB500A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70435" y="1145893"/>
            <a:ext cx="4696470" cy="469647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5E2CF26-D723-4D4D-8DF0-DDF6FE79D7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5008" y="-1351952"/>
            <a:ext cx="10726460" cy="1351952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AU"/>
              <a:t>Outlook</a:t>
            </a:r>
            <a:endParaRPr lang="en-AU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7301062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The Immersive Reader icon">
            <a:extLst>
              <a:ext uri="{FF2B5EF4-FFF2-40B4-BE49-F238E27FC236}">
                <a16:creationId xmlns:a16="http://schemas.microsoft.com/office/drawing/2014/main" id="{17F08600-A79F-4E92-B9CD-8C07330C3A9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37985" y="1251575"/>
            <a:ext cx="4838100" cy="4485105"/>
          </a:xfrm>
          <a:prstGeom prst="rect">
            <a:avLst/>
          </a:prstGeom>
        </p:spPr>
      </p:pic>
      <p:pic>
        <p:nvPicPr>
          <p:cNvPr id="5122" name="Picture 2" descr="See the source image">
            <a:extLst>
              <a:ext uri="{FF2B5EF4-FFF2-40B4-BE49-F238E27FC236}">
                <a16:creationId xmlns:a16="http://schemas.microsoft.com/office/drawing/2014/main" id="{3E4DF1AA-93CD-450E-ABE2-AEAAC5C1B5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470435" y="1145893"/>
            <a:ext cx="4696470" cy="46964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71E1D0B-98CD-435E-95C9-946392015D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5008" y="-1351952"/>
            <a:ext cx="10726460" cy="1351952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AU" dirty="0"/>
              <a:t>Minecraf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8725951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CE19FA-7933-44B6-A0C6-22B331238A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748" y="488028"/>
            <a:ext cx="11884506" cy="917184"/>
          </a:xfrm>
        </p:spPr>
        <p:txBody>
          <a:bodyPr/>
          <a:lstStyle/>
          <a:p>
            <a:r>
              <a:rPr lang="en-US" sz="3997" dirty="0">
                <a:solidFill>
                  <a:schemeClr val="bg1"/>
                </a:solidFill>
              </a:rPr>
              <a:t>Minecraft: Education Edition</a:t>
            </a:r>
          </a:p>
        </p:txBody>
      </p:sp>
      <p:grpSp>
        <p:nvGrpSpPr>
          <p:cNvPr id="4" name="Group 3" descr="Dialogue box for an NPC in Minecraft: Education Edition">
            <a:extLst>
              <a:ext uri="{FF2B5EF4-FFF2-40B4-BE49-F238E27FC236}">
                <a16:creationId xmlns:a16="http://schemas.microsoft.com/office/drawing/2014/main" id="{577DA5DA-73C2-4054-9B89-CE63DC1AC69A}"/>
              </a:ext>
            </a:extLst>
          </p:cNvPr>
          <p:cNvGrpSpPr/>
          <p:nvPr/>
        </p:nvGrpSpPr>
        <p:grpSpPr>
          <a:xfrm>
            <a:off x="289291" y="1790479"/>
            <a:ext cx="6178346" cy="3703830"/>
            <a:chOff x="477178" y="1778842"/>
            <a:chExt cx="6180100" cy="3704881"/>
          </a:xfrm>
        </p:grpSpPr>
        <p:pic>
          <p:nvPicPr>
            <p:cNvPr id="2054" name="Picture 6">
              <a:extLst>
                <a:ext uri="{FF2B5EF4-FFF2-40B4-BE49-F238E27FC236}">
                  <a16:creationId xmlns:a16="http://schemas.microsoft.com/office/drawing/2014/main" id="{E3FC29E1-DDFC-41C3-8750-4ABFE0567B4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441"/>
            <a:stretch/>
          </p:blipFill>
          <p:spPr bwMode="auto">
            <a:xfrm>
              <a:off x="477178" y="1778842"/>
              <a:ext cx="6102042" cy="36576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" name="Oval 2">
              <a:extLst>
                <a:ext uri="{FF2B5EF4-FFF2-40B4-BE49-F238E27FC236}">
                  <a16:creationId xmlns:a16="http://schemas.microsoft.com/office/drawing/2014/main" id="{EEDB88D2-CBFC-48C5-84BE-E2DAC8F07ECC}"/>
                </a:ext>
              </a:extLst>
            </p:cNvPr>
            <p:cNvSpPr/>
            <p:nvPr/>
          </p:nvSpPr>
          <p:spPr bwMode="auto">
            <a:xfrm>
              <a:off x="5575609" y="4413206"/>
              <a:ext cx="1081669" cy="1070517"/>
            </a:xfrm>
            <a:prstGeom prst="ellipse">
              <a:avLst/>
            </a:prstGeom>
            <a:noFill/>
            <a:ln w="38100">
              <a:solidFill>
                <a:schemeClr val="accent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28" tIns="146262" rIns="182828" bIns="146262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114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240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ea typeface="Segoe UI" pitchFamily="34" charset="0"/>
                <a:cs typeface="Segoe UI" pitchFamily="34" charset="0"/>
              </a:endParaRPr>
            </a:p>
          </p:txBody>
        </p:sp>
      </p:grpSp>
      <p:pic>
        <p:nvPicPr>
          <p:cNvPr id="7" name="Picture 6" descr="A signboard in Minecraft: Education Edition">
            <a:extLst>
              <a:ext uri="{FF2B5EF4-FFF2-40B4-BE49-F238E27FC236}">
                <a16:creationId xmlns:a16="http://schemas.microsoft.com/office/drawing/2014/main" id="{9CCFC96E-06FD-46A5-AE62-B00CF4E0677B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4494" b="7116"/>
          <a:stretch/>
        </p:blipFill>
        <p:spPr>
          <a:xfrm>
            <a:off x="6467637" y="1790477"/>
            <a:ext cx="5659859" cy="3656562"/>
          </a:xfrm>
          <a:prstGeom prst="rect">
            <a:avLst/>
          </a:prstGeom>
        </p:spPr>
      </p:pic>
      <p:pic>
        <p:nvPicPr>
          <p:cNvPr id="2052" name="Picture 4" descr="Immersive Reader opening in in Minecraft: Education Edition">
            <a:extLst>
              <a:ext uri="{FF2B5EF4-FFF2-40B4-BE49-F238E27FC236}">
                <a16:creationId xmlns:a16="http://schemas.microsoft.com/office/drawing/2014/main" id="{D384EA00-6EA6-4331-89DE-49F03482E3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1365" y="2152065"/>
            <a:ext cx="5051269" cy="2933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7783433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Immersive Reader view of a signboard in Minecraft: Education Edition">
            <a:extLst>
              <a:ext uri="{FF2B5EF4-FFF2-40B4-BE49-F238E27FC236}">
                <a16:creationId xmlns:a16="http://schemas.microsoft.com/office/drawing/2014/main" id="{FB9A8CFA-181B-4E18-8847-CEC9175F87D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710"/>
          <a:stretch/>
        </p:blipFill>
        <p:spPr>
          <a:xfrm>
            <a:off x="630820" y="17542"/>
            <a:ext cx="11174836" cy="697599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2E16151-335F-4912-96E6-D7065D6701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639" y="-917575"/>
            <a:ext cx="11889564" cy="917575"/>
          </a:xfrm>
        </p:spPr>
        <p:txBody>
          <a:bodyPr vert="horz" wrap="square" lIns="146304" tIns="91440" rIns="146304" bIns="91440" rtlCol="0" anchor="b">
            <a:noAutofit/>
          </a:bodyPr>
          <a:lstStyle/>
          <a:p>
            <a:r>
              <a:rPr lang="en-AU" dirty="0"/>
              <a:t>Immersive Reader in Minecraft</a:t>
            </a:r>
          </a:p>
        </p:txBody>
      </p:sp>
    </p:spTree>
    <p:extLst>
      <p:ext uri="{BB962C8B-B14F-4D97-AF65-F5344CB8AC3E}">
        <p14:creationId xmlns:p14="http://schemas.microsoft.com/office/powerpoint/2010/main" val="23734052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59CA5BC0-9FEB-B349-849F-F30962971B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639" y="534803"/>
            <a:ext cx="11889564" cy="647886"/>
          </a:xfrm>
        </p:spPr>
        <p:txBody>
          <a:bodyPr/>
          <a:lstStyle/>
          <a:p>
            <a:pPr algn="ctr"/>
            <a:r>
              <a:rPr lang="en-US" sz="3200" dirty="0">
                <a:solidFill>
                  <a:srgbClr val="5C2D8E"/>
                </a:solidFill>
                <a:latin typeface="Segoe UI Light" charset="0"/>
                <a:ea typeface="Segoe UI Light" charset="0"/>
                <a:cs typeface="Segoe UI Light" charset="0"/>
              </a:rPr>
              <a:t>Building a foundation </a:t>
            </a:r>
            <a:r>
              <a:rPr lang="en-US" sz="3200">
                <a:solidFill>
                  <a:srgbClr val="5C2D8E"/>
                </a:solidFill>
                <a:latin typeface="Segoe UI Light" charset="0"/>
                <a:ea typeface="Segoe UI Light" charset="0"/>
                <a:cs typeface="Segoe UI Light" charset="0"/>
              </a:rPr>
              <a:t>for success  </a:t>
            </a:r>
            <a:endParaRPr lang="en-US" sz="3200" dirty="0"/>
          </a:p>
        </p:txBody>
      </p:sp>
      <p:sp>
        <p:nvSpPr>
          <p:cNvPr id="3" name="Rectangle 2"/>
          <p:cNvSpPr/>
          <p:nvPr/>
        </p:nvSpPr>
        <p:spPr>
          <a:xfrm>
            <a:off x="2629585" y="1182689"/>
            <a:ext cx="7177306" cy="7262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32513" rtl="0" eaLnBrk="1" fontAlgn="auto" latinLnBrk="0" hangingPunct="1">
              <a:lnSpc>
                <a:spcPct val="12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Segoe UI Light" charset="0"/>
                <a:ea typeface="Segoe UI Light" charset="0"/>
                <a:cs typeface="Segoe UI Light" charset="0"/>
              </a:rPr>
              <a:t>Inclusive education tools give more students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Segoe UI Light" charset="0"/>
                <a:ea typeface="Segoe UI Light" charset="0"/>
                <a:cs typeface="Segoe UI Light" charset="0"/>
              </a:rPr>
              <a:t>personalised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Segoe UI Light" charset="0"/>
                <a:ea typeface="Segoe UI Light" charset="0"/>
                <a:cs typeface="Segoe UI Light" charset="0"/>
              </a:rPr>
              <a:t> access to their curriculum,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Segoe UI Light" charset="0"/>
                <a:ea typeface="Segoe UI Light" charset="0"/>
                <a:cs typeface="Segoe UI Light" charset="0"/>
              </a:rPr>
              <a:t>optimis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Segoe UI Light" charset="0"/>
                <a:ea typeface="Segoe UI Light" charset="0"/>
                <a:cs typeface="Segoe UI Light" charset="0"/>
              </a:rPr>
              <a:t> educator time, and improve learning outcomes.</a:t>
            </a:r>
          </a:p>
        </p:txBody>
      </p:sp>
      <p:pic>
        <p:nvPicPr>
          <p:cNvPr id="12" name="Picture 11" descr="Illustration of a growing plant" title="Icon Growth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42657" y="2889612"/>
            <a:ext cx="858520" cy="1205230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685952" y="4334369"/>
            <a:ext cx="3429000" cy="10586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32513" rtl="0" eaLnBrk="1" fontAlgn="auto" latinLnBrk="0" hangingPunct="1">
              <a:lnSpc>
                <a:spcPct val="12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Segoe UI Light" charset="0"/>
                <a:ea typeface="Segoe UI Light" charset="0"/>
                <a:cs typeface="Segoe UI Light" charset="0"/>
              </a:rPr>
              <a:t>Students increase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Segoe UI Light" charset="0"/>
                <a:ea typeface="Segoe UI Light" charset="0"/>
                <a:cs typeface="Segoe UI Light" charset="0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Segoe UI Light" charset="0"/>
                <a:ea typeface="Segoe UI Light" charset="0"/>
                <a:cs typeface="Segoe UI Light" charset="0"/>
              </a:rPr>
              <a:t>independence and experience a reduction of stigma</a:t>
            </a:r>
          </a:p>
        </p:txBody>
      </p:sp>
      <p:pic>
        <p:nvPicPr>
          <p:cNvPr id="4" name="Picture 3" descr="Illustration of a group of teachers" title="Icon Teachers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45174" y="3188512"/>
            <a:ext cx="1405890" cy="754380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4507336" y="4334369"/>
            <a:ext cx="3429000" cy="10895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32513" rtl="0" eaLnBrk="1" fontAlgn="auto" latinLnBrk="0" hangingPunct="1">
              <a:lnSpc>
                <a:spcPct val="12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Segoe UI Light" charset="0"/>
                <a:ea typeface="Segoe UI Light" charset="0"/>
                <a:cs typeface="Segoe UI Light" charset="0"/>
              </a:rPr>
              <a:t>Educators are more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Segoe UI Light" charset="0"/>
                <a:ea typeface="Segoe UI Light" charset="0"/>
                <a:cs typeface="Segoe UI Light" charset="0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Segoe UI Light" charset="0"/>
                <a:ea typeface="Segoe UI Light" charset="0"/>
                <a:cs typeface="Segoe UI Light" charset="0"/>
              </a:rPr>
              <a:t>empowered to engage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Segoe UI Light" charset="0"/>
                <a:ea typeface="Segoe UI Light" charset="0"/>
                <a:cs typeface="Segoe UI Light" charset="0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Segoe UI Light" charset="0"/>
                <a:ea typeface="Segoe UI Light" charset="0"/>
                <a:cs typeface="Segoe UI Light" charset="0"/>
              </a:rPr>
              <a:t>every learner</a:t>
            </a:r>
          </a:p>
        </p:txBody>
      </p:sp>
      <p:pic>
        <p:nvPicPr>
          <p:cNvPr id="17" name="Picture 16" descr="Illustration of an award" title="Icon Award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72965" y="3015487"/>
            <a:ext cx="957580" cy="105664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8328721" y="4334369"/>
            <a:ext cx="3429000" cy="10895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32513" rtl="0" eaLnBrk="1" fontAlgn="auto" latinLnBrk="0" hangingPunct="1">
              <a:lnSpc>
                <a:spcPct val="12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Segoe UI Light" charset="0"/>
                <a:ea typeface="Segoe UI Light" charset="0"/>
                <a:cs typeface="Segoe UI Light" charset="0"/>
              </a:rPr>
              <a:t>Institutions build reputations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Segoe UI Light" charset="0"/>
                <a:ea typeface="Segoe UI Light" charset="0"/>
                <a:cs typeface="Segoe UI Light" charset="0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Segoe UI Light" charset="0"/>
                <a:ea typeface="Segoe UI Light" charset="0"/>
                <a:cs typeface="Segoe UI Light" charset="0"/>
              </a:rPr>
              <a:t>as positive places that promote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Segoe UI Light" charset="0"/>
                <a:ea typeface="Segoe UI Light" charset="0"/>
                <a:cs typeface="Segoe UI Light" charset="0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Segoe UI Light" charset="0"/>
                <a:ea typeface="Segoe UI Light" charset="0"/>
                <a:cs typeface="Segoe UI Light" charset="0"/>
              </a:rPr>
              <a:t>equity and inclusion</a:t>
            </a:r>
          </a:p>
        </p:txBody>
      </p:sp>
    </p:spTree>
    <p:extLst>
      <p:ext uri="{BB962C8B-B14F-4D97-AF65-F5344CB8AC3E}">
        <p14:creationId xmlns:p14="http://schemas.microsoft.com/office/powerpoint/2010/main" val="1478959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CE19FA-7933-44B6-A0C6-22B331238A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748" y="488028"/>
            <a:ext cx="11884506" cy="917184"/>
          </a:xfrm>
        </p:spPr>
        <p:txBody>
          <a:bodyPr/>
          <a:lstStyle/>
          <a:p>
            <a:r>
              <a:rPr lang="en-US" sz="3997">
                <a:solidFill>
                  <a:schemeClr val="bg1"/>
                </a:solidFill>
              </a:rPr>
              <a:t>Minecraft: Education Edition</a:t>
            </a:r>
          </a:p>
        </p:txBody>
      </p:sp>
      <p:pic>
        <p:nvPicPr>
          <p:cNvPr id="2050" name="Picture 2" descr="Picture Dictionary words specific to Minecraft: Education Edition">
            <a:extLst>
              <a:ext uri="{FF2B5EF4-FFF2-40B4-BE49-F238E27FC236}">
                <a16:creationId xmlns:a16="http://schemas.microsoft.com/office/drawing/2014/main" id="{1D162FFE-412C-4895-9544-2FAD58CAD7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827" y="179363"/>
            <a:ext cx="12353439" cy="6588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0828741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The Immersive Reader icon">
            <a:extLst>
              <a:ext uri="{FF2B5EF4-FFF2-40B4-BE49-F238E27FC236}">
                <a16:creationId xmlns:a16="http://schemas.microsoft.com/office/drawing/2014/main" id="{AEA3C784-1B1D-4A63-AEA6-090CC4C4C9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37985" y="1251575"/>
            <a:ext cx="4838100" cy="4485105"/>
          </a:xfrm>
          <a:prstGeom prst="rect">
            <a:avLst/>
          </a:prstGeom>
        </p:spPr>
      </p:pic>
      <p:pic>
        <p:nvPicPr>
          <p:cNvPr id="2050" name="Picture 2" descr="See the source image">
            <a:extLst>
              <a:ext uri="{FF2B5EF4-FFF2-40B4-BE49-F238E27FC236}">
                <a16:creationId xmlns:a16="http://schemas.microsoft.com/office/drawing/2014/main" id="{B1BBDE13-966A-44C7-B1F3-5AD370485A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4919" y="664246"/>
            <a:ext cx="5389307" cy="53893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A68A6B0-9F91-432C-A661-3A053BF340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5008" y="-1351952"/>
            <a:ext cx="10726460" cy="1351952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AU" dirty="0"/>
              <a:t>PowerPoi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4296800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The Immersive Reader icon">
            <a:extLst>
              <a:ext uri="{FF2B5EF4-FFF2-40B4-BE49-F238E27FC236}">
                <a16:creationId xmlns:a16="http://schemas.microsoft.com/office/drawing/2014/main" id="{AEA3C784-1B1D-4A63-AEA6-090CC4C4C9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37985" y="1251575"/>
            <a:ext cx="4838100" cy="4485105"/>
          </a:xfrm>
          <a:prstGeom prst="rect">
            <a:avLst/>
          </a:prstGeom>
        </p:spPr>
      </p:pic>
      <p:pic>
        <p:nvPicPr>
          <p:cNvPr id="3" name="Picture 2" descr="Microsoft Teams Icon&#10;&#10;Description automatically generated">
            <a:extLst>
              <a:ext uri="{FF2B5EF4-FFF2-40B4-BE49-F238E27FC236}">
                <a16:creationId xmlns:a16="http://schemas.microsoft.com/office/drawing/2014/main" id="{6D370B41-C5EC-41DB-8CCB-ECE9623598C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70435" y="1245487"/>
            <a:ext cx="4822821" cy="449728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290A33F-C0D7-435A-8200-2DB84D9D84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5008" y="-1351952"/>
            <a:ext cx="10726460" cy="1351952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AU" dirty="0"/>
              <a:t>Microsoft Team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6735962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F6E384F5-137A-40B1-97F0-694CC6ECD59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2164465"/>
            <a:ext cx="3805561" cy="4830060"/>
          </a:xfrm>
          <a:custGeom>
            <a:avLst/>
            <a:gdLst>
              <a:gd name="connsiteX0" fmla="*/ 640080 w 3730752"/>
              <a:gd name="connsiteY0" fmla="*/ 0 h 4735782"/>
              <a:gd name="connsiteX1" fmla="*/ 3730752 w 3730752"/>
              <a:gd name="connsiteY1" fmla="*/ 3090672 h 4735782"/>
              <a:gd name="connsiteX2" fmla="*/ 3357725 w 3730752"/>
              <a:gd name="connsiteY2" fmla="*/ 4563870 h 4735782"/>
              <a:gd name="connsiteX3" fmla="*/ 3253285 w 3730752"/>
              <a:gd name="connsiteY3" fmla="*/ 4735782 h 4735782"/>
              <a:gd name="connsiteX4" fmla="*/ 0 w 3730752"/>
              <a:gd name="connsiteY4" fmla="*/ 4735782 h 4735782"/>
              <a:gd name="connsiteX5" fmla="*/ 0 w 3730752"/>
              <a:gd name="connsiteY5" fmla="*/ 67215 h 4735782"/>
              <a:gd name="connsiteX6" fmla="*/ 17202 w 3730752"/>
              <a:gd name="connsiteY6" fmla="*/ 62792 h 4735782"/>
              <a:gd name="connsiteX7" fmla="*/ 640080 w 3730752"/>
              <a:gd name="connsiteY7" fmla="*/ 0 h 47357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30752" h="4735782">
                <a:moveTo>
                  <a:pt x="640080" y="0"/>
                </a:moveTo>
                <a:cubicBezTo>
                  <a:pt x="2347011" y="0"/>
                  <a:pt x="3730752" y="1383741"/>
                  <a:pt x="3730752" y="3090672"/>
                </a:cubicBezTo>
                <a:cubicBezTo>
                  <a:pt x="3730752" y="3624088"/>
                  <a:pt x="3595621" y="4125943"/>
                  <a:pt x="3357725" y="4563870"/>
                </a:cubicBezTo>
                <a:lnTo>
                  <a:pt x="3253285" y="4735782"/>
                </a:lnTo>
                <a:lnTo>
                  <a:pt x="0" y="4735782"/>
                </a:lnTo>
                <a:lnTo>
                  <a:pt x="0" y="67215"/>
                </a:lnTo>
                <a:lnTo>
                  <a:pt x="17202" y="62792"/>
                </a:lnTo>
                <a:cubicBezTo>
                  <a:pt x="218397" y="21621"/>
                  <a:pt x="426714" y="0"/>
                  <a:pt x="640080" y="0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9DBC4630-03DA-474F-BBCB-BA3AE6B317A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03677" y="-4418"/>
            <a:ext cx="4327894" cy="2503013"/>
          </a:xfrm>
          <a:custGeom>
            <a:avLst/>
            <a:gdLst>
              <a:gd name="connsiteX0" fmla="*/ 28633 w 4242816"/>
              <a:gd name="connsiteY0" fmla="*/ 0 h 2454158"/>
              <a:gd name="connsiteX1" fmla="*/ 4214183 w 4242816"/>
              <a:gd name="connsiteY1" fmla="*/ 0 h 2454158"/>
              <a:gd name="connsiteX2" fmla="*/ 4231864 w 4242816"/>
              <a:gd name="connsiteY2" fmla="*/ 115848 h 2454158"/>
              <a:gd name="connsiteX3" fmla="*/ 4242816 w 4242816"/>
              <a:gd name="connsiteY3" fmla="*/ 332750 h 2454158"/>
              <a:gd name="connsiteX4" fmla="*/ 2121408 w 4242816"/>
              <a:gd name="connsiteY4" fmla="*/ 2454158 h 2454158"/>
              <a:gd name="connsiteX5" fmla="*/ 0 w 4242816"/>
              <a:gd name="connsiteY5" fmla="*/ 332750 h 2454158"/>
              <a:gd name="connsiteX6" fmla="*/ 10953 w 4242816"/>
              <a:gd name="connsiteY6" fmla="*/ 115848 h 24541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42816" h="2454158">
                <a:moveTo>
                  <a:pt x="28633" y="0"/>
                </a:moveTo>
                <a:lnTo>
                  <a:pt x="4214183" y="0"/>
                </a:lnTo>
                <a:lnTo>
                  <a:pt x="4231864" y="115848"/>
                </a:lnTo>
                <a:cubicBezTo>
                  <a:pt x="4239106" y="187164"/>
                  <a:pt x="4242816" y="259524"/>
                  <a:pt x="4242816" y="332750"/>
                </a:cubicBezTo>
                <a:cubicBezTo>
                  <a:pt x="4242816" y="1504371"/>
                  <a:pt x="3293029" y="2454158"/>
                  <a:pt x="2121408" y="2454158"/>
                </a:cubicBezTo>
                <a:cubicBezTo>
                  <a:pt x="949787" y="2454158"/>
                  <a:pt x="0" y="1504371"/>
                  <a:pt x="0" y="332750"/>
                </a:cubicBezTo>
                <a:cubicBezTo>
                  <a:pt x="0" y="259524"/>
                  <a:pt x="3710" y="187164"/>
                  <a:pt x="10953" y="115848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2" name="Picture 2" descr="See the source image">
            <a:extLst>
              <a:ext uri="{FF2B5EF4-FFF2-40B4-BE49-F238E27FC236}">
                <a16:creationId xmlns:a16="http://schemas.microsoft.com/office/drawing/2014/main" id="{127E07DB-4F53-483A-BCF3-D9EE7E8ACC8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177" r="-3" b="19044"/>
          <a:stretch/>
        </p:blipFill>
        <p:spPr bwMode="auto">
          <a:xfrm>
            <a:off x="1271569" y="10"/>
            <a:ext cx="3992108" cy="2330717"/>
          </a:xfrm>
          <a:custGeom>
            <a:avLst/>
            <a:gdLst/>
            <a:ahLst/>
            <a:cxnLst/>
            <a:rect l="l" t="t" r="r" b="b"/>
            <a:pathLst>
              <a:path w="3913632" h="2285234">
                <a:moveTo>
                  <a:pt x="29691" y="0"/>
                </a:moveTo>
                <a:lnTo>
                  <a:pt x="3883942" y="0"/>
                </a:lnTo>
                <a:lnTo>
                  <a:pt x="3903529" y="128345"/>
                </a:lnTo>
                <a:cubicBezTo>
                  <a:pt x="3910210" y="194127"/>
                  <a:pt x="3913632" y="260873"/>
                  <a:pt x="3913632" y="328418"/>
                </a:cubicBezTo>
                <a:cubicBezTo>
                  <a:pt x="3913632" y="1409138"/>
                  <a:pt x="3037536" y="2285234"/>
                  <a:pt x="1956816" y="2285234"/>
                </a:cubicBezTo>
                <a:cubicBezTo>
                  <a:pt x="876096" y="2285234"/>
                  <a:pt x="0" y="1409138"/>
                  <a:pt x="0" y="328418"/>
                </a:cubicBezTo>
                <a:cubicBezTo>
                  <a:pt x="0" y="260873"/>
                  <a:pt x="3422" y="194127"/>
                  <a:pt x="10103" y="128345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The Immersive Reader icon">
            <a:extLst>
              <a:ext uri="{FF2B5EF4-FFF2-40B4-BE49-F238E27FC236}">
                <a16:creationId xmlns:a16="http://schemas.microsoft.com/office/drawing/2014/main" id="{99DBC6F4-3004-499C-8F85-80AF3B1EEB4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0096" r="7579"/>
          <a:stretch/>
        </p:blipFill>
        <p:spPr>
          <a:xfrm>
            <a:off x="20" y="2333885"/>
            <a:ext cx="3636096" cy="4660638"/>
          </a:xfrm>
          <a:custGeom>
            <a:avLst/>
            <a:gdLst/>
            <a:ahLst/>
            <a:cxnLst/>
            <a:rect l="l" t="t" r="r" b="b"/>
            <a:pathLst>
              <a:path w="3564638" h="4569668">
                <a:moveTo>
                  <a:pt x="640080" y="0"/>
                </a:moveTo>
                <a:cubicBezTo>
                  <a:pt x="2255269" y="0"/>
                  <a:pt x="3564638" y="1309369"/>
                  <a:pt x="3564638" y="2924558"/>
                </a:cubicBezTo>
                <a:cubicBezTo>
                  <a:pt x="3564638" y="3530254"/>
                  <a:pt x="3380508" y="4092944"/>
                  <a:pt x="3065170" y="4559707"/>
                </a:cubicBezTo>
                <a:lnTo>
                  <a:pt x="3057720" y="4569668"/>
                </a:lnTo>
                <a:lnTo>
                  <a:pt x="0" y="4569668"/>
                </a:lnTo>
                <a:lnTo>
                  <a:pt x="0" y="72448"/>
                </a:lnTo>
                <a:lnTo>
                  <a:pt x="50679" y="59417"/>
                </a:lnTo>
                <a:cubicBezTo>
                  <a:pt x="241061" y="20459"/>
                  <a:pt x="438181" y="0"/>
                  <a:pt x="640080" y="0"/>
                </a:cubicBezTo>
                <a:close/>
              </a:path>
            </a:pathLst>
          </a:custGeom>
        </p:spPr>
      </p:pic>
      <p:sp>
        <p:nvSpPr>
          <p:cNvPr id="31" name="Oval 30">
            <a:extLst>
              <a:ext uri="{FF2B5EF4-FFF2-40B4-BE49-F238E27FC236}">
                <a16:creationId xmlns:a16="http://schemas.microsoft.com/office/drawing/2014/main" id="{78418A25-6EAC-4140-BFE6-284E1925B5E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468465" y="572490"/>
            <a:ext cx="3245920" cy="3245459"/>
          </a:xfrm>
          <a:prstGeom prst="ellipse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9" name="Picture 8" descr="Microsoft Teams Icon&#10;&#10;Description automatically generated">
            <a:extLst>
              <a:ext uri="{FF2B5EF4-FFF2-40B4-BE49-F238E27FC236}">
                <a16:creationId xmlns:a16="http://schemas.microsoft.com/office/drawing/2014/main" id="{DD6A3DE5-B6B9-4DD6-8C44-2883EEA61BE8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6987" r="2" b="2"/>
          <a:stretch/>
        </p:blipFill>
        <p:spPr>
          <a:xfrm>
            <a:off x="5636357" y="740358"/>
            <a:ext cx="2910136" cy="2909723"/>
          </a:xfrm>
          <a:custGeom>
            <a:avLst/>
            <a:gdLst/>
            <a:ahLst/>
            <a:cxnLst/>
            <a:rect l="l" t="t" r="r" b="b"/>
            <a:pathLst>
              <a:path w="2852928" h="2852928">
                <a:moveTo>
                  <a:pt x="1426464" y="0"/>
                </a:moveTo>
                <a:cubicBezTo>
                  <a:pt x="2214278" y="0"/>
                  <a:pt x="2852928" y="638650"/>
                  <a:pt x="2852928" y="1426464"/>
                </a:cubicBezTo>
                <a:cubicBezTo>
                  <a:pt x="2852928" y="2214278"/>
                  <a:pt x="2214278" y="2852928"/>
                  <a:pt x="1426464" y="2852928"/>
                </a:cubicBezTo>
                <a:cubicBezTo>
                  <a:pt x="638650" y="2852928"/>
                  <a:pt x="0" y="2214278"/>
                  <a:pt x="0" y="1426464"/>
                </a:cubicBezTo>
                <a:cubicBezTo>
                  <a:pt x="0" y="638650"/>
                  <a:pt x="638650" y="0"/>
                  <a:pt x="1426464" y="0"/>
                </a:cubicBezTo>
                <a:close/>
              </a:path>
            </a:pathLst>
          </a:custGeom>
        </p:spPr>
      </p:pic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6B9D64DB-4D5C-4A91-B45F-F301E3174F9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928075" y="-4418"/>
            <a:ext cx="3508400" cy="3620755"/>
          </a:xfrm>
          <a:custGeom>
            <a:avLst/>
            <a:gdLst>
              <a:gd name="connsiteX0" fmla="*/ 115336 w 3439432"/>
              <a:gd name="connsiteY0" fmla="*/ 0 h 3550083"/>
              <a:gd name="connsiteX1" fmla="*/ 3439432 w 3439432"/>
              <a:gd name="connsiteY1" fmla="*/ 0 h 3550083"/>
              <a:gd name="connsiteX2" fmla="*/ 3439432 w 3439432"/>
              <a:gd name="connsiteY2" fmla="*/ 3462762 h 3550083"/>
              <a:gd name="connsiteX3" fmla="*/ 3318024 w 3439432"/>
              <a:gd name="connsiteY3" fmla="*/ 3493980 h 3550083"/>
              <a:gd name="connsiteX4" fmla="*/ 2761488 w 3439432"/>
              <a:gd name="connsiteY4" fmla="*/ 3550083 h 3550083"/>
              <a:gd name="connsiteX5" fmla="*/ 0 w 3439432"/>
              <a:gd name="connsiteY5" fmla="*/ 788595 h 3550083"/>
              <a:gd name="connsiteX6" fmla="*/ 70713 w 3439432"/>
              <a:gd name="connsiteY6" fmla="*/ 164949 h 35500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39432" h="3550083">
                <a:moveTo>
                  <a:pt x="115336" y="0"/>
                </a:moveTo>
                <a:lnTo>
                  <a:pt x="3439432" y="0"/>
                </a:lnTo>
                <a:lnTo>
                  <a:pt x="3439432" y="3462762"/>
                </a:lnTo>
                <a:lnTo>
                  <a:pt x="3318024" y="3493980"/>
                </a:lnTo>
                <a:cubicBezTo>
                  <a:pt x="3138258" y="3530765"/>
                  <a:pt x="2952129" y="3550083"/>
                  <a:pt x="2761488" y="3550083"/>
                </a:cubicBezTo>
                <a:cubicBezTo>
                  <a:pt x="1236360" y="3550083"/>
                  <a:pt x="0" y="2313723"/>
                  <a:pt x="0" y="788595"/>
                </a:cubicBezTo>
                <a:cubicBezTo>
                  <a:pt x="0" y="574124"/>
                  <a:pt x="24450" y="365364"/>
                  <a:pt x="70713" y="164949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8" name="Picture 17" descr="MS Forms icon&#10;&#10;Description automatically generated">
            <a:extLst>
              <a:ext uri="{FF2B5EF4-FFF2-40B4-BE49-F238E27FC236}">
                <a16:creationId xmlns:a16="http://schemas.microsoft.com/office/drawing/2014/main" id="{701C8D09-BA98-45DA-9A3D-E6699B7EBC15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3256" r="-2" b="-2"/>
          <a:stretch/>
        </p:blipFill>
        <p:spPr>
          <a:xfrm>
            <a:off x="9097600" y="-4417"/>
            <a:ext cx="3338873" cy="3451255"/>
          </a:xfrm>
          <a:custGeom>
            <a:avLst/>
            <a:gdLst/>
            <a:ahLst/>
            <a:cxnLst/>
            <a:rect l="l" t="t" r="r" b="b"/>
            <a:pathLst>
              <a:path w="3273238" h="3383891">
                <a:moveTo>
                  <a:pt x="122841" y="0"/>
                </a:moveTo>
                <a:lnTo>
                  <a:pt x="3273238" y="0"/>
                </a:lnTo>
                <a:lnTo>
                  <a:pt x="3273238" y="3291335"/>
                </a:lnTo>
                <a:lnTo>
                  <a:pt x="3118338" y="3331164"/>
                </a:lnTo>
                <a:cubicBezTo>
                  <a:pt x="2949390" y="3365736"/>
                  <a:pt x="2774463" y="3383891"/>
                  <a:pt x="2595295" y="3383891"/>
                </a:cubicBezTo>
                <a:cubicBezTo>
                  <a:pt x="1161953" y="3383891"/>
                  <a:pt x="0" y="2221938"/>
                  <a:pt x="0" y="788596"/>
                </a:cubicBezTo>
                <a:cubicBezTo>
                  <a:pt x="0" y="519845"/>
                  <a:pt x="40850" y="260634"/>
                  <a:pt x="116679" y="16835"/>
                </a:cubicBezTo>
                <a:close/>
              </a:path>
            </a:pathLst>
          </a:custGeom>
        </p:spPr>
      </p:pic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CB14CE1B-4BC5-4EF2-BE3D-05E4F580B3DB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9383796" y="3985204"/>
            <a:ext cx="3052679" cy="3009321"/>
          </a:xfrm>
          <a:custGeom>
            <a:avLst/>
            <a:gdLst>
              <a:gd name="connsiteX0" fmla="*/ 2052140 w 2992669"/>
              <a:gd name="connsiteY0" fmla="*/ 0 h 2950582"/>
              <a:gd name="connsiteX1" fmla="*/ 2850926 w 2992669"/>
              <a:gd name="connsiteY1" fmla="*/ 161267 h 2950582"/>
              <a:gd name="connsiteX2" fmla="*/ 2992669 w 2992669"/>
              <a:gd name="connsiteY2" fmla="*/ 229549 h 2950582"/>
              <a:gd name="connsiteX3" fmla="*/ 2992669 w 2992669"/>
              <a:gd name="connsiteY3" fmla="*/ 2950582 h 2950582"/>
              <a:gd name="connsiteX4" fmla="*/ 209274 w 2992669"/>
              <a:gd name="connsiteY4" fmla="*/ 2950582 h 2950582"/>
              <a:gd name="connsiteX5" fmla="*/ 161267 w 2992669"/>
              <a:gd name="connsiteY5" fmla="*/ 2850926 h 2950582"/>
              <a:gd name="connsiteX6" fmla="*/ 0 w 2992669"/>
              <a:gd name="connsiteY6" fmla="*/ 2052140 h 2950582"/>
              <a:gd name="connsiteX7" fmla="*/ 2052140 w 2992669"/>
              <a:gd name="connsiteY7" fmla="*/ 0 h 2950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92669" h="2950582">
                <a:moveTo>
                  <a:pt x="2052140" y="0"/>
                </a:moveTo>
                <a:cubicBezTo>
                  <a:pt x="2335482" y="0"/>
                  <a:pt x="2605411" y="57424"/>
                  <a:pt x="2850926" y="161267"/>
                </a:cubicBezTo>
                <a:lnTo>
                  <a:pt x="2992669" y="229549"/>
                </a:lnTo>
                <a:lnTo>
                  <a:pt x="2992669" y="2950582"/>
                </a:lnTo>
                <a:lnTo>
                  <a:pt x="209274" y="2950582"/>
                </a:lnTo>
                <a:lnTo>
                  <a:pt x="161267" y="2850926"/>
                </a:lnTo>
                <a:cubicBezTo>
                  <a:pt x="57423" y="2605411"/>
                  <a:pt x="0" y="2335482"/>
                  <a:pt x="0" y="2052140"/>
                </a:cubicBezTo>
                <a:cubicBezTo>
                  <a:pt x="0" y="918774"/>
                  <a:pt x="918774" y="0"/>
                  <a:pt x="2052140" y="0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0" name="Picture 2" descr="See the source image">
            <a:extLst>
              <a:ext uri="{FF2B5EF4-FFF2-40B4-BE49-F238E27FC236}">
                <a16:creationId xmlns:a16="http://schemas.microsoft.com/office/drawing/2014/main" id="{5D383319-B9A8-4B06-85CA-6B6ADF5F7D4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" b="1506"/>
          <a:stretch/>
        </p:blipFill>
        <p:spPr bwMode="auto">
          <a:xfrm>
            <a:off x="9550988" y="4152371"/>
            <a:ext cx="2885488" cy="2842154"/>
          </a:xfrm>
          <a:custGeom>
            <a:avLst/>
            <a:gdLst/>
            <a:ahLst/>
            <a:cxnLst/>
            <a:rect l="l" t="t" r="r" b="b"/>
            <a:pathLst>
              <a:path w="2828765" h="2786678">
                <a:moveTo>
                  <a:pt x="1888236" y="0"/>
                </a:moveTo>
                <a:cubicBezTo>
                  <a:pt x="2214125" y="0"/>
                  <a:pt x="2520731" y="82558"/>
                  <a:pt x="2788281" y="227900"/>
                </a:cubicBezTo>
                <a:lnTo>
                  <a:pt x="2828765" y="252495"/>
                </a:lnTo>
                <a:lnTo>
                  <a:pt x="2828765" y="2786678"/>
                </a:lnTo>
                <a:lnTo>
                  <a:pt x="227128" y="2786678"/>
                </a:lnTo>
                <a:lnTo>
                  <a:pt x="148387" y="2623223"/>
                </a:lnTo>
                <a:cubicBezTo>
                  <a:pt x="52837" y="2397318"/>
                  <a:pt x="0" y="2148947"/>
                  <a:pt x="0" y="1888236"/>
                </a:cubicBezTo>
                <a:cubicBezTo>
                  <a:pt x="0" y="845392"/>
                  <a:pt x="845392" y="0"/>
                  <a:pt x="1888236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15B23A3-22E7-4BFF-B778-9B190A7632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5008" y="-1351952"/>
            <a:ext cx="10726460" cy="1351952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AU" dirty="0"/>
              <a:t>Everything in team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045083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1">
            <a:extLst>
              <a:ext uri="{FF2B5EF4-FFF2-40B4-BE49-F238E27FC236}">
                <a16:creationId xmlns:a16="http://schemas.microsoft.com/office/drawing/2014/main" id="{08373A3F-54E0-424E-A84D-3522122109F4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436475" cy="6994525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38DF3BF-B166-4A9C-A4EF-D3D7D106345D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4441830" y="858123"/>
            <a:ext cx="4397370" cy="5031047"/>
          </a:xfrm>
          <a:prstGeom prst="ellipse">
            <a:avLst/>
          </a:prstGeom>
        </p:spPr>
        <p:txBody>
          <a:bodyPr rot="0" spcFirstLastPara="0" vertOverflow="overflow" horzOverflow="overflow" vert="horz" lIns="91440" tIns="45720" rIns="91440" bIns="45720" numCol="1" spcCol="0" rtlCol="0" fromWordArt="0" anchor="b" anchorCtr="0" forceAA="0" compatLnSpc="1">
            <a:prstTxWarp prst="textNoShape">
              <a:avLst/>
            </a:prstTxWarp>
            <a:normAutofit fontScale="90000"/>
          </a:bodyPr>
          <a:lstStyle/>
          <a:p>
            <a:pPr marL="0" marR="0" lvl="0" indent="0" algn="ctr" defTabSz="914400" fontAlgn="auto">
              <a:spcAft>
                <a:spcPts val="600"/>
              </a:spcAft>
              <a:buClr>
                <a:srgbClr val="00BCF2"/>
              </a:buClr>
              <a:buSzTx/>
              <a:tabLst/>
              <a:defRPr/>
            </a:pPr>
            <a:r>
              <a:rPr kumimoji="0" lang="en-US" sz="4000" b="0" i="0" u="none" strike="noStrike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In 2018, Microsoft was the first company to sign the Made By Dyslexia pledge.</a:t>
            </a:r>
          </a:p>
        </p:txBody>
      </p:sp>
      <p:grpSp>
        <p:nvGrpSpPr>
          <p:cNvPr id="10" name="Group 13">
            <a:extLst>
              <a:ext uri="{FF2B5EF4-FFF2-40B4-BE49-F238E27FC236}">
                <a16:creationId xmlns:a16="http://schemas.microsoft.com/office/drawing/2014/main" id="{B7BAEF06-AB74-442C-8C30-B88233FD836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" y="0"/>
            <a:ext cx="4169605" cy="6994525"/>
            <a:chOff x="1" y="0"/>
            <a:chExt cx="4087640" cy="6858000"/>
          </a:xfrm>
          <a:effectLst>
            <a:outerShdw blurRad="381000" dist="152400" algn="ctr" rotWithShape="0">
              <a:srgbClr val="000000">
                <a:alpha val="10000"/>
              </a:srgbClr>
            </a:outerShdw>
          </a:effectLst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BDFD9AA5-A6A4-499F-BB09-5CD7F814589B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Grp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GrpSpPr>
          <p:grpSpPr>
            <a:xfrm>
              <a:off x="1" y="0"/>
              <a:ext cx="3986041" cy="6858000"/>
              <a:chOff x="1" y="0"/>
              <a:chExt cx="3986041" cy="6858000"/>
            </a:xfrm>
          </p:grpSpPr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5F499571-4EEA-4442-B71C-2972335B3545}"/>
                  </a:ext>
                  <a:ext uri="{C183D7F6-B498-43B3-948B-1728B52AA6E4}">
                    <adec:decorative xmlns:adec="http://schemas.microsoft.com/office/drawing/2017/decorative" xmlns="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:p16="http://schemas.microsoft.com/office/powerpoint/2015/main" val="1"/>
                  </p:ext>
                </p:extLst>
              </p:nvPr>
            </p:nvSpPr>
            <p:spPr>
              <a:xfrm>
                <a:off x="1" y="0"/>
                <a:ext cx="3986041" cy="6858000"/>
              </a:xfrm>
              <a:custGeom>
                <a:avLst/>
                <a:gdLst>
                  <a:gd name="connsiteX0" fmla="*/ 0 w 3986041"/>
                  <a:gd name="connsiteY0" fmla="*/ 0 h 6858000"/>
                  <a:gd name="connsiteX1" fmla="*/ 3066495 w 3986041"/>
                  <a:gd name="connsiteY1" fmla="*/ 0 h 6858000"/>
                  <a:gd name="connsiteX2" fmla="*/ 3427241 w 3986041"/>
                  <a:gd name="connsiteY2" fmla="*/ 1211943 h 6858000"/>
                  <a:gd name="connsiteX3" fmla="*/ 3986041 w 3986041"/>
                  <a:gd name="connsiteY3" fmla="*/ 4122057 h 6858000"/>
                  <a:gd name="connsiteX4" fmla="*/ 3751724 w 3986041"/>
                  <a:gd name="connsiteY4" fmla="*/ 6858000 h 6858000"/>
                  <a:gd name="connsiteX5" fmla="*/ 0 w 3986041"/>
                  <a:gd name="connsiteY5" fmla="*/ 6858000 h 685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86041" h="6858000">
                    <a:moveTo>
                      <a:pt x="0" y="0"/>
                    </a:moveTo>
                    <a:lnTo>
                      <a:pt x="3066495" y="0"/>
                    </a:lnTo>
                    <a:lnTo>
                      <a:pt x="3427241" y="1211943"/>
                    </a:lnTo>
                    <a:lnTo>
                      <a:pt x="3986041" y="4122057"/>
                    </a:lnTo>
                    <a:lnTo>
                      <a:pt x="3751724" y="6858000"/>
                    </a:lnTo>
                    <a:lnTo>
                      <a:pt x="0" y="6858000"/>
                    </a:lnTo>
                    <a:close/>
                  </a:path>
                </a:pathLst>
              </a:custGeom>
              <a:solidFill>
                <a:schemeClr val="tx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9FFC7284-7A71-4F33-AB06-E0D1EB1CAFF5}"/>
                  </a:ext>
                  <a:ext uri="{C183D7F6-B498-43B3-948B-1728B52AA6E4}">
                    <adec:decorative xmlns:adec="http://schemas.microsoft.com/office/drawing/2017/decorative" xmlns="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:p16="http://schemas.microsoft.com/office/powerpoint/2015/main" val="1"/>
                  </p:ext>
                </p:extLst>
              </p:nvPr>
            </p:nvSpPr>
            <p:spPr>
              <a:xfrm>
                <a:off x="1" y="0"/>
                <a:ext cx="3986041" cy="6858000"/>
              </a:xfrm>
              <a:custGeom>
                <a:avLst/>
                <a:gdLst>
                  <a:gd name="connsiteX0" fmla="*/ 0 w 3986041"/>
                  <a:gd name="connsiteY0" fmla="*/ 0 h 6858000"/>
                  <a:gd name="connsiteX1" fmla="*/ 3066495 w 3986041"/>
                  <a:gd name="connsiteY1" fmla="*/ 0 h 6858000"/>
                  <a:gd name="connsiteX2" fmla="*/ 3427241 w 3986041"/>
                  <a:gd name="connsiteY2" fmla="*/ 1211943 h 6858000"/>
                  <a:gd name="connsiteX3" fmla="*/ 3986041 w 3986041"/>
                  <a:gd name="connsiteY3" fmla="*/ 4122057 h 6858000"/>
                  <a:gd name="connsiteX4" fmla="*/ 3751724 w 3986041"/>
                  <a:gd name="connsiteY4" fmla="*/ 6858000 h 6858000"/>
                  <a:gd name="connsiteX5" fmla="*/ 0 w 3986041"/>
                  <a:gd name="connsiteY5" fmla="*/ 6858000 h 685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86041" h="6858000">
                    <a:moveTo>
                      <a:pt x="0" y="0"/>
                    </a:moveTo>
                    <a:lnTo>
                      <a:pt x="3066495" y="0"/>
                    </a:lnTo>
                    <a:lnTo>
                      <a:pt x="3427241" y="1211943"/>
                    </a:lnTo>
                    <a:lnTo>
                      <a:pt x="3986041" y="4122057"/>
                    </a:lnTo>
                    <a:lnTo>
                      <a:pt x="3751724" y="6858000"/>
                    </a:lnTo>
                    <a:lnTo>
                      <a:pt x="0" y="6858000"/>
                    </a:lnTo>
                    <a:close/>
                  </a:path>
                </a:pathLst>
              </a:custGeom>
              <a:solidFill>
                <a:schemeClr val="bg1">
                  <a:alpha val="14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1" name="Group 15">
              <a:extLst>
                <a:ext uri="{FF2B5EF4-FFF2-40B4-BE49-F238E27FC236}">
                  <a16:creationId xmlns:a16="http://schemas.microsoft.com/office/drawing/2014/main" id="{C27F758D-B23C-459E-AD21-6621782C7268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Grp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GrpSpPr>
          <p:grpSpPr>
            <a:xfrm>
              <a:off x="2748588" y="0"/>
              <a:ext cx="1339053" cy="6858000"/>
              <a:chOff x="2748588" y="0"/>
              <a:chExt cx="1339053" cy="6858000"/>
            </a:xfrm>
          </p:grpSpPr>
          <p:sp>
            <p:nvSpPr>
              <p:cNvPr id="13" name="Freeform: Shape 16">
                <a:extLst>
                  <a:ext uri="{FF2B5EF4-FFF2-40B4-BE49-F238E27FC236}">
                    <a16:creationId xmlns:a16="http://schemas.microsoft.com/office/drawing/2014/main" id="{08DD5D69-A882-48D7-ACFB-68E2DC6B0456}"/>
                  </a:ext>
                  <a:ext uri="{C183D7F6-B498-43B3-948B-1728B52AA6E4}">
                    <adec:decorative xmlns:adec="http://schemas.microsoft.com/office/drawing/2017/decorative" xmlns="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:p16="http://schemas.microsoft.com/office/powerpoint/2015/main" val="1"/>
                  </p:ext>
                </p:extLst>
              </p:nvPr>
            </p:nvSpPr>
            <p:spPr>
              <a:xfrm>
                <a:off x="2748588" y="0"/>
                <a:ext cx="1339053" cy="6858000"/>
              </a:xfrm>
              <a:custGeom>
                <a:avLst/>
                <a:gdLst>
                  <a:gd name="connsiteX0" fmla="*/ 850532 w 1339053"/>
                  <a:gd name="connsiteY0" fmla="*/ 3481838 h 6858000"/>
                  <a:gd name="connsiteX1" fmla="*/ 877027 w 1339053"/>
                  <a:gd name="connsiteY1" fmla="*/ 3490955 h 6858000"/>
                  <a:gd name="connsiteX2" fmla="*/ 922718 w 1339053"/>
                  <a:gd name="connsiteY2" fmla="*/ 3516472 h 6858000"/>
                  <a:gd name="connsiteX3" fmla="*/ 1094179 w 1339053"/>
                  <a:gd name="connsiteY3" fmla="*/ 3567567 h 6858000"/>
                  <a:gd name="connsiteX4" fmla="*/ 1118891 w 1339053"/>
                  <a:gd name="connsiteY4" fmla="*/ 3568331 h 6858000"/>
                  <a:gd name="connsiteX5" fmla="*/ 1295961 w 1339053"/>
                  <a:gd name="connsiteY5" fmla="*/ 3584709 h 6858000"/>
                  <a:gd name="connsiteX6" fmla="*/ 1308070 w 1339053"/>
                  <a:gd name="connsiteY6" fmla="*/ 3585183 h 6858000"/>
                  <a:gd name="connsiteX7" fmla="*/ 1325263 w 1339053"/>
                  <a:gd name="connsiteY7" fmla="*/ 3705453 h 6858000"/>
                  <a:gd name="connsiteX8" fmla="*/ 1334107 w 1339053"/>
                  <a:gd name="connsiteY8" fmla="*/ 3772268 h 6858000"/>
                  <a:gd name="connsiteX9" fmla="*/ 1338203 w 1339053"/>
                  <a:gd name="connsiteY9" fmla="*/ 3831076 h 6858000"/>
                  <a:gd name="connsiteX10" fmla="*/ 1338805 w 1339053"/>
                  <a:gd name="connsiteY10" fmla="*/ 3839709 h 6858000"/>
                  <a:gd name="connsiteX11" fmla="*/ 1335635 w 1339053"/>
                  <a:gd name="connsiteY11" fmla="*/ 4118635 h 6858000"/>
                  <a:gd name="connsiteX12" fmla="*/ 1337171 w 1339053"/>
                  <a:gd name="connsiteY12" fmla="*/ 4209403 h 6858000"/>
                  <a:gd name="connsiteX13" fmla="*/ 1325840 w 1339053"/>
                  <a:gd name="connsiteY13" fmla="*/ 4309174 h 6858000"/>
                  <a:gd name="connsiteX14" fmla="*/ 1321122 w 1339053"/>
                  <a:gd name="connsiteY14" fmla="*/ 4473630 h 6858000"/>
                  <a:gd name="connsiteX15" fmla="*/ 1302196 w 1339053"/>
                  <a:gd name="connsiteY15" fmla="*/ 4791709 h 6858000"/>
                  <a:gd name="connsiteX16" fmla="*/ 1293239 w 1339053"/>
                  <a:gd name="connsiteY16" fmla="*/ 4860048 h 6858000"/>
                  <a:gd name="connsiteX17" fmla="*/ 1288829 w 1339053"/>
                  <a:gd name="connsiteY17" fmla="*/ 5039837 h 6858000"/>
                  <a:gd name="connsiteX18" fmla="*/ 1289584 w 1339053"/>
                  <a:gd name="connsiteY18" fmla="*/ 5148703 h 6858000"/>
                  <a:gd name="connsiteX19" fmla="*/ 1282205 w 1339053"/>
                  <a:gd name="connsiteY19" fmla="*/ 5236435 h 6858000"/>
                  <a:gd name="connsiteX20" fmla="*/ 1268145 w 1339053"/>
                  <a:gd name="connsiteY20" fmla="*/ 5311662 h 6858000"/>
                  <a:gd name="connsiteX21" fmla="*/ 1250547 w 1339053"/>
                  <a:gd name="connsiteY21" fmla="*/ 5515595 h 6858000"/>
                  <a:gd name="connsiteX22" fmla="*/ 1243323 w 1339053"/>
                  <a:gd name="connsiteY22" fmla="*/ 5596885 h 6858000"/>
                  <a:gd name="connsiteX23" fmla="*/ 1238303 w 1339053"/>
                  <a:gd name="connsiteY23" fmla="*/ 5812036 h 6858000"/>
                  <a:gd name="connsiteX24" fmla="*/ 1223551 w 1339053"/>
                  <a:gd name="connsiteY24" fmla="*/ 5991171 h 6858000"/>
                  <a:gd name="connsiteX25" fmla="*/ 1219699 w 1339053"/>
                  <a:gd name="connsiteY25" fmla="*/ 6066726 h 6858000"/>
                  <a:gd name="connsiteX26" fmla="*/ 1199935 w 1339053"/>
                  <a:gd name="connsiteY26" fmla="*/ 6236130 h 6858000"/>
                  <a:gd name="connsiteX27" fmla="*/ 1192857 w 1339053"/>
                  <a:gd name="connsiteY27" fmla="*/ 6333267 h 6858000"/>
                  <a:gd name="connsiteX28" fmla="*/ 1148174 w 1339053"/>
                  <a:gd name="connsiteY28" fmla="*/ 6561849 h 6858000"/>
                  <a:gd name="connsiteX29" fmla="*/ 1100424 w 1339053"/>
                  <a:gd name="connsiteY29" fmla="*/ 6797385 h 6858000"/>
                  <a:gd name="connsiteX30" fmla="*/ 1085621 w 1339053"/>
                  <a:gd name="connsiteY30" fmla="*/ 6858000 h 6858000"/>
                  <a:gd name="connsiteX31" fmla="*/ 932341 w 1339053"/>
                  <a:gd name="connsiteY31" fmla="*/ 6858000 h 6858000"/>
                  <a:gd name="connsiteX32" fmla="*/ 944496 w 1339053"/>
                  <a:gd name="connsiteY32" fmla="*/ 6829656 h 6858000"/>
                  <a:gd name="connsiteX33" fmla="*/ 913239 w 1339053"/>
                  <a:gd name="connsiteY33" fmla="*/ 6720119 h 6858000"/>
                  <a:gd name="connsiteX34" fmla="*/ 870682 w 1339053"/>
                  <a:gd name="connsiteY34" fmla="*/ 6655346 h 6858000"/>
                  <a:gd name="connsiteX35" fmla="*/ 846442 w 1339053"/>
                  <a:gd name="connsiteY35" fmla="*/ 6498594 h 6858000"/>
                  <a:gd name="connsiteX36" fmla="*/ 881150 w 1339053"/>
                  <a:gd name="connsiteY36" fmla="*/ 6473756 h 6858000"/>
                  <a:gd name="connsiteX37" fmla="*/ 922470 w 1339053"/>
                  <a:gd name="connsiteY37" fmla="*/ 6377035 h 6858000"/>
                  <a:gd name="connsiteX38" fmla="*/ 955039 w 1339053"/>
                  <a:gd name="connsiteY38" fmla="*/ 6268585 h 6858000"/>
                  <a:gd name="connsiteX39" fmla="*/ 1024350 w 1339053"/>
                  <a:gd name="connsiteY39" fmla="*/ 6083443 h 6858000"/>
                  <a:gd name="connsiteX40" fmla="*/ 999696 w 1339053"/>
                  <a:gd name="connsiteY40" fmla="*/ 5938416 h 6858000"/>
                  <a:gd name="connsiteX41" fmla="*/ 988342 w 1339053"/>
                  <a:gd name="connsiteY41" fmla="*/ 5882426 h 6858000"/>
                  <a:gd name="connsiteX42" fmla="*/ 985444 w 1339053"/>
                  <a:gd name="connsiteY42" fmla="*/ 5832438 h 6858000"/>
                  <a:gd name="connsiteX43" fmla="*/ 992016 w 1339053"/>
                  <a:gd name="connsiteY43" fmla="*/ 5777751 h 6858000"/>
                  <a:gd name="connsiteX44" fmla="*/ 995028 w 1339053"/>
                  <a:gd name="connsiteY44" fmla="*/ 5641832 h 6858000"/>
                  <a:gd name="connsiteX45" fmla="*/ 981247 w 1339053"/>
                  <a:gd name="connsiteY45" fmla="*/ 5562522 h 6858000"/>
                  <a:gd name="connsiteX46" fmla="*/ 995131 w 1339053"/>
                  <a:gd name="connsiteY46" fmla="*/ 5398075 h 6858000"/>
                  <a:gd name="connsiteX47" fmla="*/ 997379 w 1339053"/>
                  <a:gd name="connsiteY47" fmla="*/ 5283928 h 6858000"/>
                  <a:gd name="connsiteX48" fmla="*/ 979617 w 1339053"/>
                  <a:gd name="connsiteY48" fmla="*/ 5157396 h 6858000"/>
                  <a:gd name="connsiteX49" fmla="*/ 976441 w 1339053"/>
                  <a:gd name="connsiteY49" fmla="*/ 5139485 h 6858000"/>
                  <a:gd name="connsiteX50" fmla="*/ 953793 w 1339053"/>
                  <a:gd name="connsiteY50" fmla="*/ 5091862 h 6858000"/>
                  <a:gd name="connsiteX51" fmla="*/ 853056 w 1339053"/>
                  <a:gd name="connsiteY51" fmla="*/ 5001787 h 6858000"/>
                  <a:gd name="connsiteX52" fmla="*/ 833979 w 1339053"/>
                  <a:gd name="connsiteY52" fmla="*/ 4978966 h 6858000"/>
                  <a:gd name="connsiteX53" fmla="*/ 796995 w 1339053"/>
                  <a:gd name="connsiteY53" fmla="*/ 4813768 h 6858000"/>
                  <a:gd name="connsiteX54" fmla="*/ 820590 w 1339053"/>
                  <a:gd name="connsiteY54" fmla="*/ 4764057 h 6858000"/>
                  <a:gd name="connsiteX55" fmla="*/ 864688 w 1339053"/>
                  <a:gd name="connsiteY55" fmla="*/ 4714752 h 6858000"/>
                  <a:gd name="connsiteX56" fmla="*/ 910485 w 1339053"/>
                  <a:gd name="connsiteY56" fmla="*/ 4590911 h 6858000"/>
                  <a:gd name="connsiteX57" fmla="*/ 911445 w 1339053"/>
                  <a:gd name="connsiteY57" fmla="*/ 4539571 h 6858000"/>
                  <a:gd name="connsiteX58" fmla="*/ 900285 w 1339053"/>
                  <a:gd name="connsiteY58" fmla="*/ 4445837 h 6858000"/>
                  <a:gd name="connsiteX59" fmla="*/ 863237 w 1339053"/>
                  <a:gd name="connsiteY59" fmla="*/ 4364703 h 6858000"/>
                  <a:gd name="connsiteX60" fmla="*/ 798070 w 1339053"/>
                  <a:gd name="connsiteY60" fmla="*/ 4243284 h 6858000"/>
                  <a:gd name="connsiteX61" fmla="*/ 817097 w 1339053"/>
                  <a:gd name="connsiteY61" fmla="*/ 4054750 h 6858000"/>
                  <a:gd name="connsiteX62" fmla="*/ 826251 w 1339053"/>
                  <a:gd name="connsiteY62" fmla="*/ 3982801 h 6858000"/>
                  <a:gd name="connsiteX63" fmla="*/ 836848 w 1339053"/>
                  <a:gd name="connsiteY63" fmla="*/ 3784939 h 6858000"/>
                  <a:gd name="connsiteX64" fmla="*/ 841285 w 1339053"/>
                  <a:gd name="connsiteY64" fmla="*/ 3766755 h 6858000"/>
                  <a:gd name="connsiteX65" fmla="*/ 841284 w 1339053"/>
                  <a:gd name="connsiteY65" fmla="*/ 3766755 h 6858000"/>
                  <a:gd name="connsiteX66" fmla="*/ 852925 w 1339053"/>
                  <a:gd name="connsiteY66" fmla="*/ 3719034 h 6858000"/>
                  <a:gd name="connsiteX67" fmla="*/ 857932 w 1339053"/>
                  <a:gd name="connsiteY67" fmla="*/ 3696880 h 6858000"/>
                  <a:gd name="connsiteX68" fmla="*/ 853534 w 1339053"/>
                  <a:gd name="connsiteY68" fmla="*/ 3507036 h 6858000"/>
                  <a:gd name="connsiteX69" fmla="*/ 850226 w 1339053"/>
                  <a:gd name="connsiteY69" fmla="*/ 3485839 h 6858000"/>
                  <a:gd name="connsiteX70" fmla="*/ 0 w 1339053"/>
                  <a:gd name="connsiteY70" fmla="*/ 0 h 6858000"/>
                  <a:gd name="connsiteX71" fmla="*/ 455609 w 1339053"/>
                  <a:gd name="connsiteY71" fmla="*/ 0 h 6858000"/>
                  <a:gd name="connsiteX72" fmla="*/ 459171 w 1339053"/>
                  <a:gd name="connsiteY72" fmla="*/ 72395 h 6858000"/>
                  <a:gd name="connsiteX73" fmla="*/ 460041 w 1339053"/>
                  <a:gd name="connsiteY73" fmla="*/ 131917 h 6858000"/>
                  <a:gd name="connsiteX74" fmla="*/ 504421 w 1339053"/>
                  <a:gd name="connsiteY74" fmla="*/ 389691 h 6858000"/>
                  <a:gd name="connsiteX75" fmla="*/ 582097 w 1339053"/>
                  <a:gd name="connsiteY75" fmla="*/ 634609 h 6858000"/>
                  <a:gd name="connsiteX76" fmla="*/ 702468 w 1339053"/>
                  <a:gd name="connsiteY76" fmla="*/ 834019 h 6858000"/>
                  <a:gd name="connsiteX77" fmla="*/ 729203 w 1339053"/>
                  <a:gd name="connsiteY77" fmla="*/ 887701 h 6858000"/>
                  <a:gd name="connsiteX78" fmla="*/ 743787 w 1339053"/>
                  <a:gd name="connsiteY78" fmla="*/ 1016355 h 6858000"/>
                  <a:gd name="connsiteX79" fmla="*/ 750083 w 1339053"/>
                  <a:gd name="connsiteY79" fmla="*/ 1128060 h 6858000"/>
                  <a:gd name="connsiteX80" fmla="*/ 768866 w 1339053"/>
                  <a:gd name="connsiteY80" fmla="*/ 1213431 h 6858000"/>
                  <a:gd name="connsiteX81" fmla="*/ 787802 w 1339053"/>
                  <a:gd name="connsiteY81" fmla="*/ 1286432 h 6858000"/>
                  <a:gd name="connsiteX82" fmla="*/ 842837 w 1339053"/>
                  <a:gd name="connsiteY82" fmla="*/ 1455511 h 6858000"/>
                  <a:gd name="connsiteX83" fmla="*/ 877988 w 1339053"/>
                  <a:gd name="connsiteY83" fmla="*/ 1634814 h 6858000"/>
                  <a:gd name="connsiteX84" fmla="*/ 941063 w 1339053"/>
                  <a:gd name="connsiteY84" fmla="*/ 1789731 h 6858000"/>
                  <a:gd name="connsiteX85" fmla="*/ 980124 w 1339053"/>
                  <a:gd name="connsiteY85" fmla="*/ 1857657 h 6858000"/>
                  <a:gd name="connsiteX86" fmla="*/ 984484 w 1339053"/>
                  <a:gd name="connsiteY86" fmla="*/ 1976384 h 6858000"/>
                  <a:gd name="connsiteX87" fmla="*/ 1007189 w 1339053"/>
                  <a:gd name="connsiteY87" fmla="*/ 2110650 h 6858000"/>
                  <a:gd name="connsiteX88" fmla="*/ 1039893 w 1339053"/>
                  <a:gd name="connsiteY88" fmla="*/ 2211041 h 6858000"/>
                  <a:gd name="connsiteX89" fmla="*/ 1059162 w 1339053"/>
                  <a:gd name="connsiteY89" fmla="*/ 2286682 h 6858000"/>
                  <a:gd name="connsiteX90" fmla="*/ 1070522 w 1339053"/>
                  <a:gd name="connsiteY90" fmla="*/ 2388667 h 6858000"/>
                  <a:gd name="connsiteX91" fmla="*/ 1093939 w 1339053"/>
                  <a:gd name="connsiteY91" fmla="*/ 2494653 h 6858000"/>
                  <a:gd name="connsiteX92" fmla="*/ 1112007 w 1339053"/>
                  <a:gd name="connsiteY92" fmla="*/ 2548197 h 6858000"/>
                  <a:gd name="connsiteX93" fmla="*/ 1138346 w 1339053"/>
                  <a:gd name="connsiteY93" fmla="*/ 2649163 h 6858000"/>
                  <a:gd name="connsiteX94" fmla="*/ 1160337 w 1339053"/>
                  <a:gd name="connsiteY94" fmla="*/ 2751608 h 6858000"/>
                  <a:gd name="connsiteX95" fmla="*/ 1165737 w 1339053"/>
                  <a:gd name="connsiteY95" fmla="*/ 2933012 h 6858000"/>
                  <a:gd name="connsiteX96" fmla="*/ 1202029 w 1339053"/>
                  <a:gd name="connsiteY96" fmla="*/ 3107873 h 6858000"/>
                  <a:gd name="connsiteX97" fmla="*/ 1225692 w 1339053"/>
                  <a:gd name="connsiteY97" fmla="*/ 3244974 h 6858000"/>
                  <a:gd name="connsiteX98" fmla="*/ 1243916 w 1339053"/>
                  <a:gd name="connsiteY98" fmla="*/ 3326221 h 6858000"/>
                  <a:gd name="connsiteX99" fmla="*/ 1293067 w 1339053"/>
                  <a:gd name="connsiteY99" fmla="*/ 3480219 h 6858000"/>
                  <a:gd name="connsiteX100" fmla="*/ 1308071 w 1339053"/>
                  <a:gd name="connsiteY100" fmla="*/ 3585182 h 6858000"/>
                  <a:gd name="connsiteX101" fmla="*/ 1295962 w 1339053"/>
                  <a:gd name="connsiteY101" fmla="*/ 3584708 h 6858000"/>
                  <a:gd name="connsiteX102" fmla="*/ 1118893 w 1339053"/>
                  <a:gd name="connsiteY102" fmla="*/ 3568330 h 6858000"/>
                  <a:gd name="connsiteX103" fmla="*/ 1094179 w 1339053"/>
                  <a:gd name="connsiteY103" fmla="*/ 3567566 h 6858000"/>
                  <a:gd name="connsiteX104" fmla="*/ 922719 w 1339053"/>
                  <a:gd name="connsiteY104" fmla="*/ 3516472 h 6858000"/>
                  <a:gd name="connsiteX105" fmla="*/ 877028 w 1339053"/>
                  <a:gd name="connsiteY105" fmla="*/ 3490955 h 6858000"/>
                  <a:gd name="connsiteX106" fmla="*/ 850533 w 1339053"/>
                  <a:gd name="connsiteY106" fmla="*/ 3481837 h 6858000"/>
                  <a:gd name="connsiteX107" fmla="*/ 852113 w 1339053"/>
                  <a:gd name="connsiteY107" fmla="*/ 3461170 h 6858000"/>
                  <a:gd name="connsiteX108" fmla="*/ 831383 w 1339053"/>
                  <a:gd name="connsiteY108" fmla="*/ 3399179 h 6858000"/>
                  <a:gd name="connsiteX109" fmla="*/ 743141 w 1339053"/>
                  <a:gd name="connsiteY109" fmla="*/ 3320580 h 6858000"/>
                  <a:gd name="connsiteX110" fmla="*/ 713221 w 1339053"/>
                  <a:gd name="connsiteY110" fmla="*/ 3251241 h 6858000"/>
                  <a:gd name="connsiteX111" fmla="*/ 697098 w 1339053"/>
                  <a:gd name="connsiteY111" fmla="*/ 3202528 h 6858000"/>
                  <a:gd name="connsiteX112" fmla="*/ 664820 w 1339053"/>
                  <a:gd name="connsiteY112" fmla="*/ 3154190 h 6858000"/>
                  <a:gd name="connsiteX113" fmla="*/ 572501 w 1339053"/>
                  <a:gd name="connsiteY113" fmla="*/ 3087312 h 6858000"/>
                  <a:gd name="connsiteX114" fmla="*/ 497703 w 1339053"/>
                  <a:gd name="connsiteY114" fmla="*/ 3005243 h 6858000"/>
                  <a:gd name="connsiteX115" fmla="*/ 476984 w 1339053"/>
                  <a:gd name="connsiteY115" fmla="*/ 2892751 h 6858000"/>
                  <a:gd name="connsiteX116" fmla="*/ 468947 w 1339053"/>
                  <a:gd name="connsiteY116" fmla="*/ 2824527 h 6858000"/>
                  <a:gd name="connsiteX117" fmla="*/ 569138 w 1339053"/>
                  <a:gd name="connsiteY117" fmla="*/ 2595026 h 6858000"/>
                  <a:gd name="connsiteX118" fmla="*/ 645397 w 1339053"/>
                  <a:gd name="connsiteY118" fmla="*/ 2440808 h 6858000"/>
                  <a:gd name="connsiteX119" fmla="*/ 651820 w 1339053"/>
                  <a:gd name="connsiteY119" fmla="*/ 2384384 h 6858000"/>
                  <a:gd name="connsiteX120" fmla="*/ 612994 w 1339053"/>
                  <a:gd name="connsiteY120" fmla="*/ 2207332 h 6858000"/>
                  <a:gd name="connsiteX121" fmla="*/ 620894 w 1339053"/>
                  <a:gd name="connsiteY121" fmla="*/ 2046679 h 6858000"/>
                  <a:gd name="connsiteX122" fmla="*/ 644614 w 1339053"/>
                  <a:gd name="connsiteY122" fmla="*/ 1931265 h 6858000"/>
                  <a:gd name="connsiteX123" fmla="*/ 665994 w 1339053"/>
                  <a:gd name="connsiteY123" fmla="*/ 1832337 h 6858000"/>
                  <a:gd name="connsiteX124" fmla="*/ 678276 w 1339053"/>
                  <a:gd name="connsiteY124" fmla="*/ 1709437 h 6858000"/>
                  <a:gd name="connsiteX125" fmla="*/ 672955 w 1339053"/>
                  <a:gd name="connsiteY125" fmla="*/ 1636123 h 6858000"/>
                  <a:gd name="connsiteX126" fmla="*/ 668480 w 1339053"/>
                  <a:gd name="connsiteY126" fmla="*/ 1520749 h 6858000"/>
                  <a:gd name="connsiteX127" fmla="*/ 653920 w 1339053"/>
                  <a:gd name="connsiteY127" fmla="*/ 1399437 h 6858000"/>
                  <a:gd name="connsiteX128" fmla="*/ 612686 w 1339053"/>
                  <a:gd name="connsiteY128" fmla="*/ 1296979 h 6858000"/>
                  <a:gd name="connsiteX129" fmla="*/ 570220 w 1339053"/>
                  <a:gd name="connsiteY129" fmla="*/ 1235618 h 6858000"/>
                  <a:gd name="connsiteX130" fmla="*/ 529736 w 1339053"/>
                  <a:gd name="connsiteY130" fmla="*/ 1081752 h 6858000"/>
                  <a:gd name="connsiteX131" fmla="*/ 414305 w 1339053"/>
                  <a:gd name="connsiteY131" fmla="*/ 918292 h 6858000"/>
                  <a:gd name="connsiteX132" fmla="*/ 373924 w 1339053"/>
                  <a:gd name="connsiteY132" fmla="*/ 825689 h 6858000"/>
                  <a:gd name="connsiteX133" fmla="*/ 368949 w 1339053"/>
                  <a:gd name="connsiteY133" fmla="*/ 778726 h 6858000"/>
                  <a:gd name="connsiteX134" fmla="*/ 347020 w 1339053"/>
                  <a:gd name="connsiteY134" fmla="*/ 694643 h 6858000"/>
                  <a:gd name="connsiteX135" fmla="*/ 327478 w 1339053"/>
                  <a:gd name="connsiteY135" fmla="*/ 642898 h 6858000"/>
                  <a:gd name="connsiteX136" fmla="*/ 243468 w 1339053"/>
                  <a:gd name="connsiteY136" fmla="*/ 491960 h 6858000"/>
                  <a:gd name="connsiteX137" fmla="*/ 218930 w 1339053"/>
                  <a:gd name="connsiteY137" fmla="*/ 446010 h 6858000"/>
                  <a:gd name="connsiteX138" fmla="*/ 180614 w 1339053"/>
                  <a:gd name="connsiteY138" fmla="*/ 354892 h 6858000"/>
                  <a:gd name="connsiteX139" fmla="*/ 171988 w 1339053"/>
                  <a:gd name="connsiteY139" fmla="*/ 317521 h 6858000"/>
                  <a:gd name="connsiteX140" fmla="*/ 139875 w 1339053"/>
                  <a:gd name="connsiteY140" fmla="*/ 246378 h 6858000"/>
                  <a:gd name="connsiteX141" fmla="*/ 51499 w 1339053"/>
                  <a:gd name="connsiteY141" fmla="*/ 73211 h 6858000"/>
                  <a:gd name="connsiteX142" fmla="*/ 19690 w 1339053"/>
                  <a:gd name="connsiteY142" fmla="*/ 36621 h 685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</a:cxnLst>
                <a:rect l="l" t="t" r="r" b="b"/>
                <a:pathLst>
                  <a:path w="1339053" h="6858000">
                    <a:moveTo>
                      <a:pt x="850532" y="3481838"/>
                    </a:moveTo>
                    <a:lnTo>
                      <a:pt x="877027" y="3490955"/>
                    </a:lnTo>
                    <a:cubicBezTo>
                      <a:pt x="892941" y="3497986"/>
                      <a:pt x="908176" y="3506416"/>
                      <a:pt x="922718" y="3516472"/>
                    </a:cubicBezTo>
                    <a:cubicBezTo>
                      <a:pt x="967062" y="3547282"/>
                      <a:pt x="1027547" y="3564030"/>
                      <a:pt x="1094179" y="3567567"/>
                    </a:cubicBezTo>
                    <a:cubicBezTo>
                      <a:pt x="1102515" y="3567965"/>
                      <a:pt x="1113434" y="3565936"/>
                      <a:pt x="1118891" y="3568331"/>
                    </a:cubicBezTo>
                    <a:cubicBezTo>
                      <a:pt x="1180628" y="3594888"/>
                      <a:pt x="1237753" y="3586304"/>
                      <a:pt x="1295961" y="3584709"/>
                    </a:cubicBezTo>
                    <a:lnTo>
                      <a:pt x="1308070" y="3585183"/>
                    </a:lnTo>
                    <a:lnTo>
                      <a:pt x="1325263" y="3705453"/>
                    </a:lnTo>
                    <a:cubicBezTo>
                      <a:pt x="1328254" y="3727679"/>
                      <a:pt x="1331526" y="3749922"/>
                      <a:pt x="1334107" y="3772268"/>
                    </a:cubicBezTo>
                    <a:lnTo>
                      <a:pt x="1338203" y="3831076"/>
                    </a:lnTo>
                    <a:lnTo>
                      <a:pt x="1338805" y="3839709"/>
                    </a:lnTo>
                    <a:cubicBezTo>
                      <a:pt x="1339996" y="3932341"/>
                      <a:pt x="1336568" y="4025809"/>
                      <a:pt x="1335635" y="4118635"/>
                    </a:cubicBezTo>
                    <a:cubicBezTo>
                      <a:pt x="1335202" y="4148976"/>
                      <a:pt x="1338805" y="4178868"/>
                      <a:pt x="1337171" y="4209403"/>
                    </a:cubicBezTo>
                    <a:cubicBezTo>
                      <a:pt x="1335445" y="4242449"/>
                      <a:pt x="1327565" y="4276129"/>
                      <a:pt x="1325840" y="4309174"/>
                    </a:cubicBezTo>
                    <a:cubicBezTo>
                      <a:pt x="1322853" y="4364122"/>
                      <a:pt x="1323899" y="4418621"/>
                      <a:pt x="1321122" y="4473630"/>
                    </a:cubicBezTo>
                    <a:cubicBezTo>
                      <a:pt x="1315632" y="4579723"/>
                      <a:pt x="1309019" y="4685750"/>
                      <a:pt x="1302196" y="4791709"/>
                    </a:cubicBezTo>
                    <a:cubicBezTo>
                      <a:pt x="1300696" y="4814383"/>
                      <a:pt x="1294244" y="4837504"/>
                      <a:pt x="1293239" y="4860048"/>
                    </a:cubicBezTo>
                    <a:cubicBezTo>
                      <a:pt x="1290785" y="4919957"/>
                      <a:pt x="1289660" y="4979994"/>
                      <a:pt x="1288829" y="5039837"/>
                    </a:cubicBezTo>
                    <a:cubicBezTo>
                      <a:pt x="1288401" y="5076103"/>
                      <a:pt x="1290512" y="5112310"/>
                      <a:pt x="1289584" y="5148703"/>
                    </a:cubicBezTo>
                    <a:cubicBezTo>
                      <a:pt x="1288845" y="5177820"/>
                      <a:pt x="1286193" y="5207193"/>
                      <a:pt x="1282205" y="5236435"/>
                    </a:cubicBezTo>
                    <a:cubicBezTo>
                      <a:pt x="1278784" y="5261619"/>
                      <a:pt x="1270649" y="5286477"/>
                      <a:pt x="1268145" y="5311662"/>
                    </a:cubicBezTo>
                    <a:cubicBezTo>
                      <a:pt x="1261308" y="5379812"/>
                      <a:pt x="1256387" y="5447703"/>
                      <a:pt x="1250547" y="5515595"/>
                    </a:cubicBezTo>
                    <a:cubicBezTo>
                      <a:pt x="1248113" y="5542776"/>
                      <a:pt x="1244054" y="5570023"/>
                      <a:pt x="1243323" y="5596885"/>
                    </a:cubicBezTo>
                    <a:cubicBezTo>
                      <a:pt x="1241082" y="5668709"/>
                      <a:pt x="1241668" y="5740276"/>
                      <a:pt x="1238303" y="5812036"/>
                    </a:cubicBezTo>
                    <a:cubicBezTo>
                      <a:pt x="1235508" y="5871554"/>
                      <a:pt x="1228259" y="5931392"/>
                      <a:pt x="1223551" y="5991171"/>
                    </a:cubicBezTo>
                    <a:cubicBezTo>
                      <a:pt x="1221675" y="6016549"/>
                      <a:pt x="1222415" y="6041609"/>
                      <a:pt x="1219699" y="6066726"/>
                    </a:cubicBezTo>
                    <a:cubicBezTo>
                      <a:pt x="1213776" y="6123024"/>
                      <a:pt x="1205938" y="6179576"/>
                      <a:pt x="1199935" y="6236130"/>
                    </a:cubicBezTo>
                    <a:cubicBezTo>
                      <a:pt x="1196614" y="6268403"/>
                      <a:pt x="1198425" y="6301127"/>
                      <a:pt x="1192857" y="6333267"/>
                    </a:cubicBezTo>
                    <a:cubicBezTo>
                      <a:pt x="1179603" y="6409590"/>
                      <a:pt x="1163470" y="6485591"/>
                      <a:pt x="1148174" y="6561849"/>
                    </a:cubicBezTo>
                    <a:cubicBezTo>
                      <a:pt x="1132370" y="6640486"/>
                      <a:pt x="1117066" y="6719000"/>
                      <a:pt x="1100424" y="6797385"/>
                    </a:cubicBezTo>
                    <a:lnTo>
                      <a:pt x="1085621" y="6858000"/>
                    </a:lnTo>
                    <a:lnTo>
                      <a:pt x="932341" y="6858000"/>
                    </a:lnTo>
                    <a:lnTo>
                      <a:pt x="944496" y="6829656"/>
                    </a:lnTo>
                    <a:cubicBezTo>
                      <a:pt x="964836" y="6776399"/>
                      <a:pt x="953622" y="6744439"/>
                      <a:pt x="913239" y="6720119"/>
                    </a:cubicBezTo>
                    <a:cubicBezTo>
                      <a:pt x="890880" y="6706443"/>
                      <a:pt x="866986" y="6690318"/>
                      <a:pt x="870682" y="6655346"/>
                    </a:cubicBezTo>
                    <a:cubicBezTo>
                      <a:pt x="876846" y="6598274"/>
                      <a:pt x="889503" y="6540954"/>
                      <a:pt x="846442" y="6498594"/>
                    </a:cubicBezTo>
                    <a:cubicBezTo>
                      <a:pt x="862273" y="6487399"/>
                      <a:pt x="871751" y="6480449"/>
                      <a:pt x="881150" y="6473756"/>
                    </a:cubicBezTo>
                    <a:cubicBezTo>
                      <a:pt x="907245" y="6455292"/>
                      <a:pt x="930705" y="6407516"/>
                      <a:pt x="922470" y="6377035"/>
                    </a:cubicBezTo>
                    <a:cubicBezTo>
                      <a:pt x="910652" y="6332192"/>
                      <a:pt x="925705" y="6299028"/>
                      <a:pt x="955039" y="6268585"/>
                    </a:cubicBezTo>
                    <a:cubicBezTo>
                      <a:pt x="1003777" y="6217606"/>
                      <a:pt x="1017630" y="6148240"/>
                      <a:pt x="1024350" y="6083443"/>
                    </a:cubicBezTo>
                    <a:cubicBezTo>
                      <a:pt x="1029590" y="6034553"/>
                      <a:pt x="1028255" y="5980246"/>
                      <a:pt x="999696" y="5938416"/>
                    </a:cubicBezTo>
                    <a:cubicBezTo>
                      <a:pt x="990505" y="5925141"/>
                      <a:pt x="991039" y="5901884"/>
                      <a:pt x="988342" y="5882426"/>
                    </a:cubicBezTo>
                    <a:cubicBezTo>
                      <a:pt x="986229" y="5866254"/>
                      <a:pt x="984774" y="5849442"/>
                      <a:pt x="985444" y="5832438"/>
                    </a:cubicBezTo>
                    <a:cubicBezTo>
                      <a:pt x="986010" y="5814273"/>
                      <a:pt x="985042" y="5793656"/>
                      <a:pt x="992016" y="5777751"/>
                    </a:cubicBezTo>
                    <a:cubicBezTo>
                      <a:pt x="1012886" y="5729456"/>
                      <a:pt x="1014467" y="5686488"/>
                      <a:pt x="995028" y="5641832"/>
                    </a:cubicBezTo>
                    <a:cubicBezTo>
                      <a:pt x="984984" y="5618696"/>
                      <a:pt x="974301" y="5585771"/>
                      <a:pt x="981247" y="5562522"/>
                    </a:cubicBezTo>
                    <a:cubicBezTo>
                      <a:pt x="998041" y="5505913"/>
                      <a:pt x="997454" y="5454379"/>
                      <a:pt x="995131" y="5398075"/>
                    </a:cubicBezTo>
                    <a:cubicBezTo>
                      <a:pt x="993724" y="5361807"/>
                      <a:pt x="997229" y="5322258"/>
                      <a:pt x="997379" y="5283928"/>
                    </a:cubicBezTo>
                    <a:cubicBezTo>
                      <a:pt x="997473" y="5239095"/>
                      <a:pt x="1006631" y="5193105"/>
                      <a:pt x="979617" y="5157396"/>
                    </a:cubicBezTo>
                    <a:cubicBezTo>
                      <a:pt x="976728" y="5153402"/>
                      <a:pt x="978724" y="5144705"/>
                      <a:pt x="976441" y="5139485"/>
                    </a:cubicBezTo>
                    <a:cubicBezTo>
                      <a:pt x="969619" y="5122991"/>
                      <a:pt x="964828" y="5102888"/>
                      <a:pt x="953793" y="5091862"/>
                    </a:cubicBezTo>
                    <a:cubicBezTo>
                      <a:pt x="921506" y="5059884"/>
                      <a:pt x="886609" y="5031900"/>
                      <a:pt x="853056" y="5001787"/>
                    </a:cubicBezTo>
                    <a:cubicBezTo>
                      <a:pt x="845882" y="4995337"/>
                      <a:pt x="836325" y="4988437"/>
                      <a:pt x="833979" y="4978966"/>
                    </a:cubicBezTo>
                    <a:cubicBezTo>
                      <a:pt x="820602" y="4924328"/>
                      <a:pt x="808509" y="4869239"/>
                      <a:pt x="796995" y="4813768"/>
                    </a:cubicBezTo>
                    <a:cubicBezTo>
                      <a:pt x="792418" y="4791474"/>
                      <a:pt x="803209" y="4777314"/>
                      <a:pt x="820590" y="4764057"/>
                    </a:cubicBezTo>
                    <a:cubicBezTo>
                      <a:pt x="837188" y="4751123"/>
                      <a:pt x="855398" y="4734452"/>
                      <a:pt x="864688" y="4714752"/>
                    </a:cubicBezTo>
                    <a:cubicBezTo>
                      <a:pt x="883062" y="4675275"/>
                      <a:pt x="897521" y="4632902"/>
                      <a:pt x="910485" y="4590911"/>
                    </a:cubicBezTo>
                    <a:cubicBezTo>
                      <a:pt x="915338" y="4575199"/>
                      <a:pt x="912978" y="4556131"/>
                      <a:pt x="911445" y="4539571"/>
                    </a:cubicBezTo>
                    <a:cubicBezTo>
                      <a:pt x="908527" y="4508200"/>
                      <a:pt x="900999" y="4477659"/>
                      <a:pt x="900285" y="4445837"/>
                    </a:cubicBezTo>
                    <a:cubicBezTo>
                      <a:pt x="899539" y="4408923"/>
                      <a:pt x="887958" y="4383340"/>
                      <a:pt x="863237" y="4364703"/>
                    </a:cubicBezTo>
                    <a:cubicBezTo>
                      <a:pt x="826431" y="4336971"/>
                      <a:pt x="808536" y="4292507"/>
                      <a:pt x="798070" y="4243284"/>
                    </a:cubicBezTo>
                    <a:cubicBezTo>
                      <a:pt x="784617" y="4180721"/>
                      <a:pt x="805728" y="4117545"/>
                      <a:pt x="817097" y="4054750"/>
                    </a:cubicBezTo>
                    <a:cubicBezTo>
                      <a:pt x="821537" y="4030724"/>
                      <a:pt x="826632" y="4006057"/>
                      <a:pt x="826251" y="3982801"/>
                    </a:cubicBezTo>
                    <a:cubicBezTo>
                      <a:pt x="825347" y="3916709"/>
                      <a:pt x="825150" y="3850833"/>
                      <a:pt x="836848" y="3784939"/>
                    </a:cubicBezTo>
                    <a:lnTo>
                      <a:pt x="841285" y="3766755"/>
                    </a:lnTo>
                    <a:lnTo>
                      <a:pt x="841284" y="3766755"/>
                    </a:lnTo>
                    <a:lnTo>
                      <a:pt x="852925" y="3719034"/>
                    </a:lnTo>
                    <a:cubicBezTo>
                      <a:pt x="855152" y="3711822"/>
                      <a:pt x="856753" y="3704413"/>
                      <a:pt x="857932" y="3696880"/>
                    </a:cubicBezTo>
                    <a:cubicBezTo>
                      <a:pt x="868683" y="3631632"/>
                      <a:pt x="885300" y="3565939"/>
                      <a:pt x="853534" y="3507036"/>
                    </a:cubicBezTo>
                    <a:cubicBezTo>
                      <a:pt x="850623" y="3501622"/>
                      <a:pt x="849992" y="3494020"/>
                      <a:pt x="850226" y="3485839"/>
                    </a:cubicBezTo>
                    <a:close/>
                    <a:moveTo>
                      <a:pt x="0" y="0"/>
                    </a:moveTo>
                    <a:lnTo>
                      <a:pt x="455609" y="0"/>
                    </a:lnTo>
                    <a:lnTo>
                      <a:pt x="459171" y="72395"/>
                    </a:lnTo>
                    <a:cubicBezTo>
                      <a:pt x="459671" y="92301"/>
                      <a:pt x="456894" y="113171"/>
                      <a:pt x="460041" y="131917"/>
                    </a:cubicBezTo>
                    <a:cubicBezTo>
                      <a:pt x="474213" y="218122"/>
                      <a:pt x="492031" y="302910"/>
                      <a:pt x="504421" y="389691"/>
                    </a:cubicBezTo>
                    <a:cubicBezTo>
                      <a:pt x="517349" y="479177"/>
                      <a:pt x="539516" y="562489"/>
                      <a:pt x="582097" y="634609"/>
                    </a:cubicBezTo>
                    <a:cubicBezTo>
                      <a:pt x="621686" y="701573"/>
                      <a:pt x="662589" y="767248"/>
                      <a:pt x="702468" y="834019"/>
                    </a:cubicBezTo>
                    <a:cubicBezTo>
                      <a:pt x="712587" y="850968"/>
                      <a:pt x="725536" y="867665"/>
                      <a:pt x="729203" y="887701"/>
                    </a:cubicBezTo>
                    <a:cubicBezTo>
                      <a:pt x="736973" y="929321"/>
                      <a:pt x="740155" y="973193"/>
                      <a:pt x="743787" y="1016355"/>
                    </a:cubicBezTo>
                    <a:cubicBezTo>
                      <a:pt x="746786" y="1053398"/>
                      <a:pt x="745800" y="1091467"/>
                      <a:pt x="750083" y="1128060"/>
                    </a:cubicBezTo>
                    <a:cubicBezTo>
                      <a:pt x="753428" y="1157309"/>
                      <a:pt x="762038" y="1185083"/>
                      <a:pt x="768866" y="1213431"/>
                    </a:cubicBezTo>
                    <a:cubicBezTo>
                      <a:pt x="774767" y="1238107"/>
                      <a:pt x="778357" y="1264327"/>
                      <a:pt x="787802" y="1286432"/>
                    </a:cubicBezTo>
                    <a:cubicBezTo>
                      <a:pt x="810582" y="1340304"/>
                      <a:pt x="832653" y="1394242"/>
                      <a:pt x="842837" y="1455511"/>
                    </a:cubicBezTo>
                    <a:cubicBezTo>
                      <a:pt x="853049" y="1515944"/>
                      <a:pt x="867276" y="1574511"/>
                      <a:pt x="877988" y="1634814"/>
                    </a:cubicBezTo>
                    <a:cubicBezTo>
                      <a:pt x="888390" y="1693895"/>
                      <a:pt x="902813" y="1748857"/>
                      <a:pt x="941063" y="1789731"/>
                    </a:cubicBezTo>
                    <a:cubicBezTo>
                      <a:pt x="957906" y="1807908"/>
                      <a:pt x="975122" y="1831564"/>
                      <a:pt x="980124" y="1857657"/>
                    </a:cubicBezTo>
                    <a:cubicBezTo>
                      <a:pt x="987207" y="1894833"/>
                      <a:pt x="980788" y="1937150"/>
                      <a:pt x="984484" y="1976384"/>
                    </a:cubicBezTo>
                    <a:cubicBezTo>
                      <a:pt x="988781" y="2022576"/>
                      <a:pt x="988793" y="2074493"/>
                      <a:pt x="1007189" y="2110650"/>
                    </a:cubicBezTo>
                    <a:cubicBezTo>
                      <a:pt x="1023612" y="2142809"/>
                      <a:pt x="1034723" y="2173610"/>
                      <a:pt x="1039893" y="2211041"/>
                    </a:cubicBezTo>
                    <a:cubicBezTo>
                      <a:pt x="1043484" y="2237261"/>
                      <a:pt x="1057690" y="2260269"/>
                      <a:pt x="1059162" y="2286682"/>
                    </a:cubicBezTo>
                    <a:cubicBezTo>
                      <a:pt x="1061252" y="2321469"/>
                      <a:pt x="1060754" y="2355740"/>
                      <a:pt x="1070522" y="2388667"/>
                    </a:cubicBezTo>
                    <a:cubicBezTo>
                      <a:pt x="1080600" y="2422815"/>
                      <a:pt x="1085513" y="2459602"/>
                      <a:pt x="1093939" y="2494653"/>
                    </a:cubicBezTo>
                    <a:cubicBezTo>
                      <a:pt x="1098500" y="2513273"/>
                      <a:pt x="1106866" y="2529964"/>
                      <a:pt x="1112007" y="2548197"/>
                    </a:cubicBezTo>
                    <a:cubicBezTo>
                      <a:pt x="1121409" y="2581573"/>
                      <a:pt x="1130232" y="2615336"/>
                      <a:pt x="1138346" y="2649163"/>
                    </a:cubicBezTo>
                    <a:cubicBezTo>
                      <a:pt x="1146465" y="2682988"/>
                      <a:pt x="1157699" y="2716368"/>
                      <a:pt x="1160337" y="2751608"/>
                    </a:cubicBezTo>
                    <a:cubicBezTo>
                      <a:pt x="1164714" y="2811646"/>
                      <a:pt x="1159211" y="2873999"/>
                      <a:pt x="1165737" y="2933012"/>
                    </a:cubicBezTo>
                    <a:cubicBezTo>
                      <a:pt x="1172445" y="2992925"/>
                      <a:pt x="1185964" y="3051556"/>
                      <a:pt x="1202029" y="3107873"/>
                    </a:cubicBezTo>
                    <a:cubicBezTo>
                      <a:pt x="1214635" y="3152396"/>
                      <a:pt x="1227749" y="3194534"/>
                      <a:pt x="1225692" y="3244974"/>
                    </a:cubicBezTo>
                    <a:cubicBezTo>
                      <a:pt x="1224565" y="3273123"/>
                      <a:pt x="1231196" y="3305079"/>
                      <a:pt x="1243916" y="3326221"/>
                    </a:cubicBezTo>
                    <a:cubicBezTo>
                      <a:pt x="1271701" y="3372044"/>
                      <a:pt x="1285247" y="3423911"/>
                      <a:pt x="1293067" y="3480219"/>
                    </a:cubicBezTo>
                    <a:lnTo>
                      <a:pt x="1308071" y="3585182"/>
                    </a:lnTo>
                    <a:lnTo>
                      <a:pt x="1295962" y="3584708"/>
                    </a:lnTo>
                    <a:cubicBezTo>
                      <a:pt x="1237754" y="3586303"/>
                      <a:pt x="1180629" y="3594888"/>
                      <a:pt x="1118893" y="3568330"/>
                    </a:cubicBezTo>
                    <a:cubicBezTo>
                      <a:pt x="1113435" y="3565936"/>
                      <a:pt x="1102517" y="3567964"/>
                      <a:pt x="1094179" y="3567566"/>
                    </a:cubicBezTo>
                    <a:cubicBezTo>
                      <a:pt x="1027548" y="3564029"/>
                      <a:pt x="967064" y="3547281"/>
                      <a:pt x="922719" y="3516472"/>
                    </a:cubicBezTo>
                    <a:cubicBezTo>
                      <a:pt x="908178" y="3506414"/>
                      <a:pt x="892942" y="3497984"/>
                      <a:pt x="877028" y="3490955"/>
                    </a:cubicBezTo>
                    <a:lnTo>
                      <a:pt x="850533" y="3481837"/>
                    </a:lnTo>
                    <a:lnTo>
                      <a:pt x="852113" y="3461170"/>
                    </a:lnTo>
                    <a:cubicBezTo>
                      <a:pt x="854391" y="3434500"/>
                      <a:pt x="848474" y="3414331"/>
                      <a:pt x="831383" y="3399179"/>
                    </a:cubicBezTo>
                    <a:cubicBezTo>
                      <a:pt x="801767" y="3373388"/>
                      <a:pt x="773654" y="3344957"/>
                      <a:pt x="743141" y="3320580"/>
                    </a:cubicBezTo>
                    <a:cubicBezTo>
                      <a:pt x="722236" y="3303685"/>
                      <a:pt x="714543" y="3281842"/>
                      <a:pt x="713221" y="3251241"/>
                    </a:cubicBezTo>
                    <a:cubicBezTo>
                      <a:pt x="712555" y="3234106"/>
                      <a:pt x="704768" y="3217029"/>
                      <a:pt x="697098" y="3202528"/>
                    </a:cubicBezTo>
                    <a:cubicBezTo>
                      <a:pt x="687845" y="3184997"/>
                      <a:pt x="672212" y="3172554"/>
                      <a:pt x="664820" y="3154190"/>
                    </a:cubicBezTo>
                    <a:cubicBezTo>
                      <a:pt x="646169" y="3109209"/>
                      <a:pt x="616744" y="3087991"/>
                      <a:pt x="572501" y="3087312"/>
                    </a:cubicBezTo>
                    <a:cubicBezTo>
                      <a:pt x="533259" y="3086763"/>
                      <a:pt x="493731" y="3044085"/>
                      <a:pt x="497703" y="3005243"/>
                    </a:cubicBezTo>
                    <a:cubicBezTo>
                      <a:pt x="502030" y="2962279"/>
                      <a:pt x="490540" y="2928257"/>
                      <a:pt x="476984" y="2892751"/>
                    </a:cubicBezTo>
                    <a:cubicBezTo>
                      <a:pt x="469363" y="2872905"/>
                      <a:pt x="465404" y="2847135"/>
                      <a:pt x="468947" y="2824527"/>
                    </a:cubicBezTo>
                    <a:cubicBezTo>
                      <a:pt x="482188" y="2738605"/>
                      <a:pt x="520979" y="2665650"/>
                      <a:pt x="569138" y="2595026"/>
                    </a:cubicBezTo>
                    <a:cubicBezTo>
                      <a:pt x="600577" y="2548865"/>
                      <a:pt x="622260" y="2493483"/>
                      <a:pt x="645397" y="2440808"/>
                    </a:cubicBezTo>
                    <a:cubicBezTo>
                      <a:pt x="652529" y="2424387"/>
                      <a:pt x="655029" y="2401457"/>
                      <a:pt x="651820" y="2384384"/>
                    </a:cubicBezTo>
                    <a:cubicBezTo>
                      <a:pt x="640949" y="2324596"/>
                      <a:pt x="629163" y="2264805"/>
                      <a:pt x="612994" y="2207332"/>
                    </a:cubicBezTo>
                    <a:cubicBezTo>
                      <a:pt x="597678" y="2153787"/>
                      <a:pt x="601053" y="2099808"/>
                      <a:pt x="620894" y="2046679"/>
                    </a:cubicBezTo>
                    <a:cubicBezTo>
                      <a:pt x="635367" y="2007977"/>
                      <a:pt x="641110" y="1970814"/>
                      <a:pt x="644614" y="1931265"/>
                    </a:cubicBezTo>
                    <a:cubicBezTo>
                      <a:pt x="647465" y="1898285"/>
                      <a:pt x="653360" y="1862859"/>
                      <a:pt x="665994" y="1832337"/>
                    </a:cubicBezTo>
                    <a:cubicBezTo>
                      <a:pt x="683779" y="1789578"/>
                      <a:pt x="688928" y="1751381"/>
                      <a:pt x="678276" y="1709437"/>
                    </a:cubicBezTo>
                    <a:cubicBezTo>
                      <a:pt x="672576" y="1687079"/>
                      <a:pt x="673987" y="1660990"/>
                      <a:pt x="672955" y="1636123"/>
                    </a:cubicBezTo>
                    <a:cubicBezTo>
                      <a:pt x="671272" y="1597795"/>
                      <a:pt x="671867" y="1558758"/>
                      <a:pt x="668480" y="1520749"/>
                    </a:cubicBezTo>
                    <a:cubicBezTo>
                      <a:pt x="665050" y="1479903"/>
                      <a:pt x="655019" y="1440408"/>
                      <a:pt x="653920" y="1399437"/>
                    </a:cubicBezTo>
                    <a:cubicBezTo>
                      <a:pt x="652652" y="1355309"/>
                      <a:pt x="639893" y="1323154"/>
                      <a:pt x="612686" y="1296979"/>
                    </a:cubicBezTo>
                    <a:cubicBezTo>
                      <a:pt x="595576" y="1280408"/>
                      <a:pt x="578401" y="1259588"/>
                      <a:pt x="570220" y="1235618"/>
                    </a:cubicBezTo>
                    <a:cubicBezTo>
                      <a:pt x="553631" y="1186194"/>
                      <a:pt x="545669" y="1131821"/>
                      <a:pt x="529736" y="1081752"/>
                    </a:cubicBezTo>
                    <a:cubicBezTo>
                      <a:pt x="507466" y="1011390"/>
                      <a:pt x="481332" y="944631"/>
                      <a:pt x="414305" y="918292"/>
                    </a:cubicBezTo>
                    <a:cubicBezTo>
                      <a:pt x="377314" y="903769"/>
                      <a:pt x="368843" y="874065"/>
                      <a:pt x="373924" y="825689"/>
                    </a:cubicBezTo>
                    <a:cubicBezTo>
                      <a:pt x="375689" y="809590"/>
                      <a:pt x="376722" y="786203"/>
                      <a:pt x="368949" y="778726"/>
                    </a:cubicBezTo>
                    <a:cubicBezTo>
                      <a:pt x="345838" y="756354"/>
                      <a:pt x="349308" y="725824"/>
                      <a:pt x="347020" y="694643"/>
                    </a:cubicBezTo>
                    <a:cubicBezTo>
                      <a:pt x="345704" y="675894"/>
                      <a:pt x="339306" y="651346"/>
                      <a:pt x="327478" y="642898"/>
                    </a:cubicBezTo>
                    <a:cubicBezTo>
                      <a:pt x="279698" y="608395"/>
                      <a:pt x="263590" y="549247"/>
                      <a:pt x="243468" y="491960"/>
                    </a:cubicBezTo>
                    <a:cubicBezTo>
                      <a:pt x="237433" y="475142"/>
                      <a:pt x="230250" y="456843"/>
                      <a:pt x="218930" y="446010"/>
                    </a:cubicBezTo>
                    <a:cubicBezTo>
                      <a:pt x="194433" y="422927"/>
                      <a:pt x="180036" y="395344"/>
                      <a:pt x="180614" y="354892"/>
                    </a:cubicBezTo>
                    <a:cubicBezTo>
                      <a:pt x="180923" y="342010"/>
                      <a:pt x="176523" y="328798"/>
                      <a:pt x="171988" y="317521"/>
                    </a:cubicBezTo>
                    <a:cubicBezTo>
                      <a:pt x="162052" y="293291"/>
                      <a:pt x="148442" y="271315"/>
                      <a:pt x="139875" y="246378"/>
                    </a:cubicBezTo>
                    <a:cubicBezTo>
                      <a:pt x="117577" y="182780"/>
                      <a:pt x="95749" y="119890"/>
                      <a:pt x="51499" y="73211"/>
                    </a:cubicBezTo>
                    <a:cubicBezTo>
                      <a:pt x="40691" y="61834"/>
                      <a:pt x="29467" y="49763"/>
                      <a:pt x="19690" y="3662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1" name="Freeform: Shape 17">
                <a:extLst>
                  <a:ext uri="{FF2B5EF4-FFF2-40B4-BE49-F238E27FC236}">
                    <a16:creationId xmlns:a16="http://schemas.microsoft.com/office/drawing/2014/main" id="{A2432BD6-3DCC-4397-BD7F-3FE84F321009}"/>
                  </a:ext>
                  <a:ext uri="{C183D7F6-B498-43B3-948B-1728B52AA6E4}">
                    <adec:decorative xmlns:adec="http://schemas.microsoft.com/office/drawing/2017/decorative" xmlns="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:p16="http://schemas.microsoft.com/office/powerpoint/2015/main" val="1"/>
                  </p:ext>
                </p:extLst>
              </p:nvPr>
            </p:nvSpPr>
            <p:spPr>
              <a:xfrm>
                <a:off x="2748588" y="0"/>
                <a:ext cx="1339053" cy="6858000"/>
              </a:xfrm>
              <a:custGeom>
                <a:avLst/>
                <a:gdLst>
                  <a:gd name="connsiteX0" fmla="*/ 850532 w 1339053"/>
                  <a:gd name="connsiteY0" fmla="*/ 3481838 h 6858000"/>
                  <a:gd name="connsiteX1" fmla="*/ 877027 w 1339053"/>
                  <a:gd name="connsiteY1" fmla="*/ 3490955 h 6858000"/>
                  <a:gd name="connsiteX2" fmla="*/ 922718 w 1339053"/>
                  <a:gd name="connsiteY2" fmla="*/ 3516472 h 6858000"/>
                  <a:gd name="connsiteX3" fmla="*/ 1094179 w 1339053"/>
                  <a:gd name="connsiteY3" fmla="*/ 3567567 h 6858000"/>
                  <a:gd name="connsiteX4" fmla="*/ 1118891 w 1339053"/>
                  <a:gd name="connsiteY4" fmla="*/ 3568331 h 6858000"/>
                  <a:gd name="connsiteX5" fmla="*/ 1295961 w 1339053"/>
                  <a:gd name="connsiteY5" fmla="*/ 3584709 h 6858000"/>
                  <a:gd name="connsiteX6" fmla="*/ 1308070 w 1339053"/>
                  <a:gd name="connsiteY6" fmla="*/ 3585183 h 6858000"/>
                  <a:gd name="connsiteX7" fmla="*/ 1325263 w 1339053"/>
                  <a:gd name="connsiteY7" fmla="*/ 3705453 h 6858000"/>
                  <a:gd name="connsiteX8" fmla="*/ 1334107 w 1339053"/>
                  <a:gd name="connsiteY8" fmla="*/ 3772268 h 6858000"/>
                  <a:gd name="connsiteX9" fmla="*/ 1338203 w 1339053"/>
                  <a:gd name="connsiteY9" fmla="*/ 3831076 h 6858000"/>
                  <a:gd name="connsiteX10" fmla="*/ 1338805 w 1339053"/>
                  <a:gd name="connsiteY10" fmla="*/ 3839709 h 6858000"/>
                  <a:gd name="connsiteX11" fmla="*/ 1335635 w 1339053"/>
                  <a:gd name="connsiteY11" fmla="*/ 4118635 h 6858000"/>
                  <a:gd name="connsiteX12" fmla="*/ 1337171 w 1339053"/>
                  <a:gd name="connsiteY12" fmla="*/ 4209403 h 6858000"/>
                  <a:gd name="connsiteX13" fmla="*/ 1325840 w 1339053"/>
                  <a:gd name="connsiteY13" fmla="*/ 4309174 h 6858000"/>
                  <a:gd name="connsiteX14" fmla="*/ 1321122 w 1339053"/>
                  <a:gd name="connsiteY14" fmla="*/ 4473630 h 6858000"/>
                  <a:gd name="connsiteX15" fmla="*/ 1302196 w 1339053"/>
                  <a:gd name="connsiteY15" fmla="*/ 4791709 h 6858000"/>
                  <a:gd name="connsiteX16" fmla="*/ 1293239 w 1339053"/>
                  <a:gd name="connsiteY16" fmla="*/ 4860048 h 6858000"/>
                  <a:gd name="connsiteX17" fmla="*/ 1288829 w 1339053"/>
                  <a:gd name="connsiteY17" fmla="*/ 5039837 h 6858000"/>
                  <a:gd name="connsiteX18" fmla="*/ 1289584 w 1339053"/>
                  <a:gd name="connsiteY18" fmla="*/ 5148703 h 6858000"/>
                  <a:gd name="connsiteX19" fmla="*/ 1282205 w 1339053"/>
                  <a:gd name="connsiteY19" fmla="*/ 5236435 h 6858000"/>
                  <a:gd name="connsiteX20" fmla="*/ 1268145 w 1339053"/>
                  <a:gd name="connsiteY20" fmla="*/ 5311662 h 6858000"/>
                  <a:gd name="connsiteX21" fmla="*/ 1250547 w 1339053"/>
                  <a:gd name="connsiteY21" fmla="*/ 5515595 h 6858000"/>
                  <a:gd name="connsiteX22" fmla="*/ 1243323 w 1339053"/>
                  <a:gd name="connsiteY22" fmla="*/ 5596885 h 6858000"/>
                  <a:gd name="connsiteX23" fmla="*/ 1238303 w 1339053"/>
                  <a:gd name="connsiteY23" fmla="*/ 5812036 h 6858000"/>
                  <a:gd name="connsiteX24" fmla="*/ 1223551 w 1339053"/>
                  <a:gd name="connsiteY24" fmla="*/ 5991171 h 6858000"/>
                  <a:gd name="connsiteX25" fmla="*/ 1219699 w 1339053"/>
                  <a:gd name="connsiteY25" fmla="*/ 6066726 h 6858000"/>
                  <a:gd name="connsiteX26" fmla="*/ 1199935 w 1339053"/>
                  <a:gd name="connsiteY26" fmla="*/ 6236130 h 6858000"/>
                  <a:gd name="connsiteX27" fmla="*/ 1192857 w 1339053"/>
                  <a:gd name="connsiteY27" fmla="*/ 6333267 h 6858000"/>
                  <a:gd name="connsiteX28" fmla="*/ 1148174 w 1339053"/>
                  <a:gd name="connsiteY28" fmla="*/ 6561849 h 6858000"/>
                  <a:gd name="connsiteX29" fmla="*/ 1100424 w 1339053"/>
                  <a:gd name="connsiteY29" fmla="*/ 6797385 h 6858000"/>
                  <a:gd name="connsiteX30" fmla="*/ 1085621 w 1339053"/>
                  <a:gd name="connsiteY30" fmla="*/ 6858000 h 6858000"/>
                  <a:gd name="connsiteX31" fmla="*/ 932341 w 1339053"/>
                  <a:gd name="connsiteY31" fmla="*/ 6858000 h 6858000"/>
                  <a:gd name="connsiteX32" fmla="*/ 944496 w 1339053"/>
                  <a:gd name="connsiteY32" fmla="*/ 6829656 h 6858000"/>
                  <a:gd name="connsiteX33" fmla="*/ 913239 w 1339053"/>
                  <a:gd name="connsiteY33" fmla="*/ 6720119 h 6858000"/>
                  <a:gd name="connsiteX34" fmla="*/ 870682 w 1339053"/>
                  <a:gd name="connsiteY34" fmla="*/ 6655346 h 6858000"/>
                  <a:gd name="connsiteX35" fmla="*/ 846442 w 1339053"/>
                  <a:gd name="connsiteY35" fmla="*/ 6498594 h 6858000"/>
                  <a:gd name="connsiteX36" fmla="*/ 881150 w 1339053"/>
                  <a:gd name="connsiteY36" fmla="*/ 6473756 h 6858000"/>
                  <a:gd name="connsiteX37" fmla="*/ 922470 w 1339053"/>
                  <a:gd name="connsiteY37" fmla="*/ 6377035 h 6858000"/>
                  <a:gd name="connsiteX38" fmla="*/ 955039 w 1339053"/>
                  <a:gd name="connsiteY38" fmla="*/ 6268585 h 6858000"/>
                  <a:gd name="connsiteX39" fmla="*/ 1024350 w 1339053"/>
                  <a:gd name="connsiteY39" fmla="*/ 6083443 h 6858000"/>
                  <a:gd name="connsiteX40" fmla="*/ 999696 w 1339053"/>
                  <a:gd name="connsiteY40" fmla="*/ 5938416 h 6858000"/>
                  <a:gd name="connsiteX41" fmla="*/ 988342 w 1339053"/>
                  <a:gd name="connsiteY41" fmla="*/ 5882426 h 6858000"/>
                  <a:gd name="connsiteX42" fmla="*/ 985444 w 1339053"/>
                  <a:gd name="connsiteY42" fmla="*/ 5832438 h 6858000"/>
                  <a:gd name="connsiteX43" fmla="*/ 992016 w 1339053"/>
                  <a:gd name="connsiteY43" fmla="*/ 5777751 h 6858000"/>
                  <a:gd name="connsiteX44" fmla="*/ 995028 w 1339053"/>
                  <a:gd name="connsiteY44" fmla="*/ 5641832 h 6858000"/>
                  <a:gd name="connsiteX45" fmla="*/ 981247 w 1339053"/>
                  <a:gd name="connsiteY45" fmla="*/ 5562522 h 6858000"/>
                  <a:gd name="connsiteX46" fmla="*/ 995131 w 1339053"/>
                  <a:gd name="connsiteY46" fmla="*/ 5398075 h 6858000"/>
                  <a:gd name="connsiteX47" fmla="*/ 997379 w 1339053"/>
                  <a:gd name="connsiteY47" fmla="*/ 5283928 h 6858000"/>
                  <a:gd name="connsiteX48" fmla="*/ 979617 w 1339053"/>
                  <a:gd name="connsiteY48" fmla="*/ 5157396 h 6858000"/>
                  <a:gd name="connsiteX49" fmla="*/ 976441 w 1339053"/>
                  <a:gd name="connsiteY49" fmla="*/ 5139485 h 6858000"/>
                  <a:gd name="connsiteX50" fmla="*/ 953793 w 1339053"/>
                  <a:gd name="connsiteY50" fmla="*/ 5091862 h 6858000"/>
                  <a:gd name="connsiteX51" fmla="*/ 853056 w 1339053"/>
                  <a:gd name="connsiteY51" fmla="*/ 5001787 h 6858000"/>
                  <a:gd name="connsiteX52" fmla="*/ 833979 w 1339053"/>
                  <a:gd name="connsiteY52" fmla="*/ 4978966 h 6858000"/>
                  <a:gd name="connsiteX53" fmla="*/ 796995 w 1339053"/>
                  <a:gd name="connsiteY53" fmla="*/ 4813768 h 6858000"/>
                  <a:gd name="connsiteX54" fmla="*/ 820590 w 1339053"/>
                  <a:gd name="connsiteY54" fmla="*/ 4764057 h 6858000"/>
                  <a:gd name="connsiteX55" fmla="*/ 864688 w 1339053"/>
                  <a:gd name="connsiteY55" fmla="*/ 4714752 h 6858000"/>
                  <a:gd name="connsiteX56" fmla="*/ 910485 w 1339053"/>
                  <a:gd name="connsiteY56" fmla="*/ 4590911 h 6858000"/>
                  <a:gd name="connsiteX57" fmla="*/ 911445 w 1339053"/>
                  <a:gd name="connsiteY57" fmla="*/ 4539571 h 6858000"/>
                  <a:gd name="connsiteX58" fmla="*/ 900285 w 1339053"/>
                  <a:gd name="connsiteY58" fmla="*/ 4445837 h 6858000"/>
                  <a:gd name="connsiteX59" fmla="*/ 863237 w 1339053"/>
                  <a:gd name="connsiteY59" fmla="*/ 4364703 h 6858000"/>
                  <a:gd name="connsiteX60" fmla="*/ 798070 w 1339053"/>
                  <a:gd name="connsiteY60" fmla="*/ 4243284 h 6858000"/>
                  <a:gd name="connsiteX61" fmla="*/ 817097 w 1339053"/>
                  <a:gd name="connsiteY61" fmla="*/ 4054750 h 6858000"/>
                  <a:gd name="connsiteX62" fmla="*/ 826251 w 1339053"/>
                  <a:gd name="connsiteY62" fmla="*/ 3982801 h 6858000"/>
                  <a:gd name="connsiteX63" fmla="*/ 836848 w 1339053"/>
                  <a:gd name="connsiteY63" fmla="*/ 3784939 h 6858000"/>
                  <a:gd name="connsiteX64" fmla="*/ 841285 w 1339053"/>
                  <a:gd name="connsiteY64" fmla="*/ 3766755 h 6858000"/>
                  <a:gd name="connsiteX65" fmla="*/ 841284 w 1339053"/>
                  <a:gd name="connsiteY65" fmla="*/ 3766755 h 6858000"/>
                  <a:gd name="connsiteX66" fmla="*/ 852925 w 1339053"/>
                  <a:gd name="connsiteY66" fmla="*/ 3719034 h 6858000"/>
                  <a:gd name="connsiteX67" fmla="*/ 857932 w 1339053"/>
                  <a:gd name="connsiteY67" fmla="*/ 3696880 h 6858000"/>
                  <a:gd name="connsiteX68" fmla="*/ 853534 w 1339053"/>
                  <a:gd name="connsiteY68" fmla="*/ 3507036 h 6858000"/>
                  <a:gd name="connsiteX69" fmla="*/ 850226 w 1339053"/>
                  <a:gd name="connsiteY69" fmla="*/ 3485839 h 6858000"/>
                  <a:gd name="connsiteX70" fmla="*/ 0 w 1339053"/>
                  <a:gd name="connsiteY70" fmla="*/ 0 h 6858000"/>
                  <a:gd name="connsiteX71" fmla="*/ 455609 w 1339053"/>
                  <a:gd name="connsiteY71" fmla="*/ 0 h 6858000"/>
                  <a:gd name="connsiteX72" fmla="*/ 459171 w 1339053"/>
                  <a:gd name="connsiteY72" fmla="*/ 72395 h 6858000"/>
                  <a:gd name="connsiteX73" fmla="*/ 460041 w 1339053"/>
                  <a:gd name="connsiteY73" fmla="*/ 131917 h 6858000"/>
                  <a:gd name="connsiteX74" fmla="*/ 504421 w 1339053"/>
                  <a:gd name="connsiteY74" fmla="*/ 389691 h 6858000"/>
                  <a:gd name="connsiteX75" fmla="*/ 582097 w 1339053"/>
                  <a:gd name="connsiteY75" fmla="*/ 634609 h 6858000"/>
                  <a:gd name="connsiteX76" fmla="*/ 702468 w 1339053"/>
                  <a:gd name="connsiteY76" fmla="*/ 834019 h 6858000"/>
                  <a:gd name="connsiteX77" fmla="*/ 729203 w 1339053"/>
                  <a:gd name="connsiteY77" fmla="*/ 887701 h 6858000"/>
                  <a:gd name="connsiteX78" fmla="*/ 743787 w 1339053"/>
                  <a:gd name="connsiteY78" fmla="*/ 1016355 h 6858000"/>
                  <a:gd name="connsiteX79" fmla="*/ 750083 w 1339053"/>
                  <a:gd name="connsiteY79" fmla="*/ 1128060 h 6858000"/>
                  <a:gd name="connsiteX80" fmla="*/ 768866 w 1339053"/>
                  <a:gd name="connsiteY80" fmla="*/ 1213431 h 6858000"/>
                  <a:gd name="connsiteX81" fmla="*/ 787802 w 1339053"/>
                  <a:gd name="connsiteY81" fmla="*/ 1286432 h 6858000"/>
                  <a:gd name="connsiteX82" fmla="*/ 842837 w 1339053"/>
                  <a:gd name="connsiteY82" fmla="*/ 1455511 h 6858000"/>
                  <a:gd name="connsiteX83" fmla="*/ 877988 w 1339053"/>
                  <a:gd name="connsiteY83" fmla="*/ 1634814 h 6858000"/>
                  <a:gd name="connsiteX84" fmla="*/ 941063 w 1339053"/>
                  <a:gd name="connsiteY84" fmla="*/ 1789731 h 6858000"/>
                  <a:gd name="connsiteX85" fmla="*/ 980124 w 1339053"/>
                  <a:gd name="connsiteY85" fmla="*/ 1857657 h 6858000"/>
                  <a:gd name="connsiteX86" fmla="*/ 984484 w 1339053"/>
                  <a:gd name="connsiteY86" fmla="*/ 1976384 h 6858000"/>
                  <a:gd name="connsiteX87" fmla="*/ 1007189 w 1339053"/>
                  <a:gd name="connsiteY87" fmla="*/ 2110650 h 6858000"/>
                  <a:gd name="connsiteX88" fmla="*/ 1039893 w 1339053"/>
                  <a:gd name="connsiteY88" fmla="*/ 2211041 h 6858000"/>
                  <a:gd name="connsiteX89" fmla="*/ 1059162 w 1339053"/>
                  <a:gd name="connsiteY89" fmla="*/ 2286682 h 6858000"/>
                  <a:gd name="connsiteX90" fmla="*/ 1070522 w 1339053"/>
                  <a:gd name="connsiteY90" fmla="*/ 2388667 h 6858000"/>
                  <a:gd name="connsiteX91" fmla="*/ 1093939 w 1339053"/>
                  <a:gd name="connsiteY91" fmla="*/ 2494653 h 6858000"/>
                  <a:gd name="connsiteX92" fmla="*/ 1112007 w 1339053"/>
                  <a:gd name="connsiteY92" fmla="*/ 2548197 h 6858000"/>
                  <a:gd name="connsiteX93" fmla="*/ 1138346 w 1339053"/>
                  <a:gd name="connsiteY93" fmla="*/ 2649163 h 6858000"/>
                  <a:gd name="connsiteX94" fmla="*/ 1160337 w 1339053"/>
                  <a:gd name="connsiteY94" fmla="*/ 2751608 h 6858000"/>
                  <a:gd name="connsiteX95" fmla="*/ 1165737 w 1339053"/>
                  <a:gd name="connsiteY95" fmla="*/ 2933012 h 6858000"/>
                  <a:gd name="connsiteX96" fmla="*/ 1202029 w 1339053"/>
                  <a:gd name="connsiteY96" fmla="*/ 3107873 h 6858000"/>
                  <a:gd name="connsiteX97" fmla="*/ 1225692 w 1339053"/>
                  <a:gd name="connsiteY97" fmla="*/ 3244974 h 6858000"/>
                  <a:gd name="connsiteX98" fmla="*/ 1243916 w 1339053"/>
                  <a:gd name="connsiteY98" fmla="*/ 3326221 h 6858000"/>
                  <a:gd name="connsiteX99" fmla="*/ 1293067 w 1339053"/>
                  <a:gd name="connsiteY99" fmla="*/ 3480219 h 6858000"/>
                  <a:gd name="connsiteX100" fmla="*/ 1308071 w 1339053"/>
                  <a:gd name="connsiteY100" fmla="*/ 3585182 h 6858000"/>
                  <a:gd name="connsiteX101" fmla="*/ 1295962 w 1339053"/>
                  <a:gd name="connsiteY101" fmla="*/ 3584708 h 6858000"/>
                  <a:gd name="connsiteX102" fmla="*/ 1118893 w 1339053"/>
                  <a:gd name="connsiteY102" fmla="*/ 3568330 h 6858000"/>
                  <a:gd name="connsiteX103" fmla="*/ 1094179 w 1339053"/>
                  <a:gd name="connsiteY103" fmla="*/ 3567566 h 6858000"/>
                  <a:gd name="connsiteX104" fmla="*/ 922719 w 1339053"/>
                  <a:gd name="connsiteY104" fmla="*/ 3516472 h 6858000"/>
                  <a:gd name="connsiteX105" fmla="*/ 877028 w 1339053"/>
                  <a:gd name="connsiteY105" fmla="*/ 3490955 h 6858000"/>
                  <a:gd name="connsiteX106" fmla="*/ 850533 w 1339053"/>
                  <a:gd name="connsiteY106" fmla="*/ 3481837 h 6858000"/>
                  <a:gd name="connsiteX107" fmla="*/ 852113 w 1339053"/>
                  <a:gd name="connsiteY107" fmla="*/ 3461170 h 6858000"/>
                  <a:gd name="connsiteX108" fmla="*/ 831383 w 1339053"/>
                  <a:gd name="connsiteY108" fmla="*/ 3399179 h 6858000"/>
                  <a:gd name="connsiteX109" fmla="*/ 743141 w 1339053"/>
                  <a:gd name="connsiteY109" fmla="*/ 3320580 h 6858000"/>
                  <a:gd name="connsiteX110" fmla="*/ 713221 w 1339053"/>
                  <a:gd name="connsiteY110" fmla="*/ 3251241 h 6858000"/>
                  <a:gd name="connsiteX111" fmla="*/ 697098 w 1339053"/>
                  <a:gd name="connsiteY111" fmla="*/ 3202528 h 6858000"/>
                  <a:gd name="connsiteX112" fmla="*/ 664820 w 1339053"/>
                  <a:gd name="connsiteY112" fmla="*/ 3154190 h 6858000"/>
                  <a:gd name="connsiteX113" fmla="*/ 572501 w 1339053"/>
                  <a:gd name="connsiteY113" fmla="*/ 3087312 h 6858000"/>
                  <a:gd name="connsiteX114" fmla="*/ 497703 w 1339053"/>
                  <a:gd name="connsiteY114" fmla="*/ 3005243 h 6858000"/>
                  <a:gd name="connsiteX115" fmla="*/ 476984 w 1339053"/>
                  <a:gd name="connsiteY115" fmla="*/ 2892751 h 6858000"/>
                  <a:gd name="connsiteX116" fmla="*/ 468947 w 1339053"/>
                  <a:gd name="connsiteY116" fmla="*/ 2824527 h 6858000"/>
                  <a:gd name="connsiteX117" fmla="*/ 569138 w 1339053"/>
                  <a:gd name="connsiteY117" fmla="*/ 2595026 h 6858000"/>
                  <a:gd name="connsiteX118" fmla="*/ 645397 w 1339053"/>
                  <a:gd name="connsiteY118" fmla="*/ 2440808 h 6858000"/>
                  <a:gd name="connsiteX119" fmla="*/ 651820 w 1339053"/>
                  <a:gd name="connsiteY119" fmla="*/ 2384384 h 6858000"/>
                  <a:gd name="connsiteX120" fmla="*/ 612994 w 1339053"/>
                  <a:gd name="connsiteY120" fmla="*/ 2207332 h 6858000"/>
                  <a:gd name="connsiteX121" fmla="*/ 620894 w 1339053"/>
                  <a:gd name="connsiteY121" fmla="*/ 2046679 h 6858000"/>
                  <a:gd name="connsiteX122" fmla="*/ 644614 w 1339053"/>
                  <a:gd name="connsiteY122" fmla="*/ 1931265 h 6858000"/>
                  <a:gd name="connsiteX123" fmla="*/ 665994 w 1339053"/>
                  <a:gd name="connsiteY123" fmla="*/ 1832337 h 6858000"/>
                  <a:gd name="connsiteX124" fmla="*/ 678276 w 1339053"/>
                  <a:gd name="connsiteY124" fmla="*/ 1709437 h 6858000"/>
                  <a:gd name="connsiteX125" fmla="*/ 672955 w 1339053"/>
                  <a:gd name="connsiteY125" fmla="*/ 1636123 h 6858000"/>
                  <a:gd name="connsiteX126" fmla="*/ 668480 w 1339053"/>
                  <a:gd name="connsiteY126" fmla="*/ 1520749 h 6858000"/>
                  <a:gd name="connsiteX127" fmla="*/ 653920 w 1339053"/>
                  <a:gd name="connsiteY127" fmla="*/ 1399437 h 6858000"/>
                  <a:gd name="connsiteX128" fmla="*/ 612686 w 1339053"/>
                  <a:gd name="connsiteY128" fmla="*/ 1296979 h 6858000"/>
                  <a:gd name="connsiteX129" fmla="*/ 570220 w 1339053"/>
                  <a:gd name="connsiteY129" fmla="*/ 1235618 h 6858000"/>
                  <a:gd name="connsiteX130" fmla="*/ 529736 w 1339053"/>
                  <a:gd name="connsiteY130" fmla="*/ 1081752 h 6858000"/>
                  <a:gd name="connsiteX131" fmla="*/ 414305 w 1339053"/>
                  <a:gd name="connsiteY131" fmla="*/ 918292 h 6858000"/>
                  <a:gd name="connsiteX132" fmla="*/ 373924 w 1339053"/>
                  <a:gd name="connsiteY132" fmla="*/ 825689 h 6858000"/>
                  <a:gd name="connsiteX133" fmla="*/ 368949 w 1339053"/>
                  <a:gd name="connsiteY133" fmla="*/ 778726 h 6858000"/>
                  <a:gd name="connsiteX134" fmla="*/ 347020 w 1339053"/>
                  <a:gd name="connsiteY134" fmla="*/ 694643 h 6858000"/>
                  <a:gd name="connsiteX135" fmla="*/ 327478 w 1339053"/>
                  <a:gd name="connsiteY135" fmla="*/ 642898 h 6858000"/>
                  <a:gd name="connsiteX136" fmla="*/ 243468 w 1339053"/>
                  <a:gd name="connsiteY136" fmla="*/ 491960 h 6858000"/>
                  <a:gd name="connsiteX137" fmla="*/ 218930 w 1339053"/>
                  <a:gd name="connsiteY137" fmla="*/ 446010 h 6858000"/>
                  <a:gd name="connsiteX138" fmla="*/ 180614 w 1339053"/>
                  <a:gd name="connsiteY138" fmla="*/ 354892 h 6858000"/>
                  <a:gd name="connsiteX139" fmla="*/ 171988 w 1339053"/>
                  <a:gd name="connsiteY139" fmla="*/ 317521 h 6858000"/>
                  <a:gd name="connsiteX140" fmla="*/ 139875 w 1339053"/>
                  <a:gd name="connsiteY140" fmla="*/ 246378 h 6858000"/>
                  <a:gd name="connsiteX141" fmla="*/ 51499 w 1339053"/>
                  <a:gd name="connsiteY141" fmla="*/ 73211 h 6858000"/>
                  <a:gd name="connsiteX142" fmla="*/ 19690 w 1339053"/>
                  <a:gd name="connsiteY142" fmla="*/ 36621 h 685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</a:cxnLst>
                <a:rect l="l" t="t" r="r" b="b"/>
                <a:pathLst>
                  <a:path w="1339053" h="6858000">
                    <a:moveTo>
                      <a:pt x="850532" y="3481838"/>
                    </a:moveTo>
                    <a:lnTo>
                      <a:pt x="877027" y="3490955"/>
                    </a:lnTo>
                    <a:cubicBezTo>
                      <a:pt x="892941" y="3497986"/>
                      <a:pt x="908176" y="3506416"/>
                      <a:pt x="922718" y="3516472"/>
                    </a:cubicBezTo>
                    <a:cubicBezTo>
                      <a:pt x="967062" y="3547282"/>
                      <a:pt x="1027547" y="3564030"/>
                      <a:pt x="1094179" y="3567567"/>
                    </a:cubicBezTo>
                    <a:cubicBezTo>
                      <a:pt x="1102515" y="3567965"/>
                      <a:pt x="1113434" y="3565936"/>
                      <a:pt x="1118891" y="3568331"/>
                    </a:cubicBezTo>
                    <a:cubicBezTo>
                      <a:pt x="1180628" y="3594888"/>
                      <a:pt x="1237753" y="3586304"/>
                      <a:pt x="1295961" y="3584709"/>
                    </a:cubicBezTo>
                    <a:lnTo>
                      <a:pt x="1308070" y="3585183"/>
                    </a:lnTo>
                    <a:lnTo>
                      <a:pt x="1325263" y="3705453"/>
                    </a:lnTo>
                    <a:cubicBezTo>
                      <a:pt x="1328254" y="3727679"/>
                      <a:pt x="1331526" y="3749922"/>
                      <a:pt x="1334107" y="3772268"/>
                    </a:cubicBezTo>
                    <a:lnTo>
                      <a:pt x="1338203" y="3831076"/>
                    </a:lnTo>
                    <a:lnTo>
                      <a:pt x="1338805" y="3839709"/>
                    </a:lnTo>
                    <a:cubicBezTo>
                      <a:pt x="1339996" y="3932341"/>
                      <a:pt x="1336568" y="4025809"/>
                      <a:pt x="1335635" y="4118635"/>
                    </a:cubicBezTo>
                    <a:cubicBezTo>
                      <a:pt x="1335202" y="4148976"/>
                      <a:pt x="1338805" y="4178868"/>
                      <a:pt x="1337171" y="4209403"/>
                    </a:cubicBezTo>
                    <a:cubicBezTo>
                      <a:pt x="1335445" y="4242449"/>
                      <a:pt x="1327565" y="4276129"/>
                      <a:pt x="1325840" y="4309174"/>
                    </a:cubicBezTo>
                    <a:cubicBezTo>
                      <a:pt x="1322853" y="4364122"/>
                      <a:pt x="1323899" y="4418621"/>
                      <a:pt x="1321122" y="4473630"/>
                    </a:cubicBezTo>
                    <a:cubicBezTo>
                      <a:pt x="1315632" y="4579723"/>
                      <a:pt x="1309019" y="4685750"/>
                      <a:pt x="1302196" y="4791709"/>
                    </a:cubicBezTo>
                    <a:cubicBezTo>
                      <a:pt x="1300696" y="4814383"/>
                      <a:pt x="1294244" y="4837504"/>
                      <a:pt x="1293239" y="4860048"/>
                    </a:cubicBezTo>
                    <a:cubicBezTo>
                      <a:pt x="1290785" y="4919957"/>
                      <a:pt x="1289660" y="4979994"/>
                      <a:pt x="1288829" y="5039837"/>
                    </a:cubicBezTo>
                    <a:cubicBezTo>
                      <a:pt x="1288401" y="5076103"/>
                      <a:pt x="1290512" y="5112310"/>
                      <a:pt x="1289584" y="5148703"/>
                    </a:cubicBezTo>
                    <a:cubicBezTo>
                      <a:pt x="1288845" y="5177820"/>
                      <a:pt x="1286193" y="5207193"/>
                      <a:pt x="1282205" y="5236435"/>
                    </a:cubicBezTo>
                    <a:cubicBezTo>
                      <a:pt x="1278784" y="5261619"/>
                      <a:pt x="1270649" y="5286477"/>
                      <a:pt x="1268145" y="5311662"/>
                    </a:cubicBezTo>
                    <a:cubicBezTo>
                      <a:pt x="1261308" y="5379812"/>
                      <a:pt x="1256387" y="5447703"/>
                      <a:pt x="1250547" y="5515595"/>
                    </a:cubicBezTo>
                    <a:cubicBezTo>
                      <a:pt x="1248113" y="5542776"/>
                      <a:pt x="1244054" y="5570023"/>
                      <a:pt x="1243323" y="5596885"/>
                    </a:cubicBezTo>
                    <a:cubicBezTo>
                      <a:pt x="1241082" y="5668709"/>
                      <a:pt x="1241668" y="5740276"/>
                      <a:pt x="1238303" y="5812036"/>
                    </a:cubicBezTo>
                    <a:cubicBezTo>
                      <a:pt x="1235508" y="5871554"/>
                      <a:pt x="1228259" y="5931392"/>
                      <a:pt x="1223551" y="5991171"/>
                    </a:cubicBezTo>
                    <a:cubicBezTo>
                      <a:pt x="1221675" y="6016549"/>
                      <a:pt x="1222415" y="6041609"/>
                      <a:pt x="1219699" y="6066726"/>
                    </a:cubicBezTo>
                    <a:cubicBezTo>
                      <a:pt x="1213776" y="6123024"/>
                      <a:pt x="1205938" y="6179576"/>
                      <a:pt x="1199935" y="6236130"/>
                    </a:cubicBezTo>
                    <a:cubicBezTo>
                      <a:pt x="1196614" y="6268403"/>
                      <a:pt x="1198425" y="6301127"/>
                      <a:pt x="1192857" y="6333267"/>
                    </a:cubicBezTo>
                    <a:cubicBezTo>
                      <a:pt x="1179603" y="6409590"/>
                      <a:pt x="1163470" y="6485591"/>
                      <a:pt x="1148174" y="6561849"/>
                    </a:cubicBezTo>
                    <a:cubicBezTo>
                      <a:pt x="1132370" y="6640486"/>
                      <a:pt x="1117066" y="6719000"/>
                      <a:pt x="1100424" y="6797385"/>
                    </a:cubicBezTo>
                    <a:lnTo>
                      <a:pt x="1085621" y="6858000"/>
                    </a:lnTo>
                    <a:lnTo>
                      <a:pt x="932341" y="6858000"/>
                    </a:lnTo>
                    <a:lnTo>
                      <a:pt x="944496" y="6829656"/>
                    </a:lnTo>
                    <a:cubicBezTo>
                      <a:pt x="964836" y="6776399"/>
                      <a:pt x="953622" y="6744439"/>
                      <a:pt x="913239" y="6720119"/>
                    </a:cubicBezTo>
                    <a:cubicBezTo>
                      <a:pt x="890880" y="6706443"/>
                      <a:pt x="866986" y="6690318"/>
                      <a:pt x="870682" y="6655346"/>
                    </a:cubicBezTo>
                    <a:cubicBezTo>
                      <a:pt x="876846" y="6598274"/>
                      <a:pt x="889503" y="6540954"/>
                      <a:pt x="846442" y="6498594"/>
                    </a:cubicBezTo>
                    <a:cubicBezTo>
                      <a:pt x="862273" y="6487399"/>
                      <a:pt x="871751" y="6480449"/>
                      <a:pt x="881150" y="6473756"/>
                    </a:cubicBezTo>
                    <a:cubicBezTo>
                      <a:pt x="907245" y="6455292"/>
                      <a:pt x="930705" y="6407516"/>
                      <a:pt x="922470" y="6377035"/>
                    </a:cubicBezTo>
                    <a:cubicBezTo>
                      <a:pt x="910652" y="6332192"/>
                      <a:pt x="925705" y="6299028"/>
                      <a:pt x="955039" y="6268585"/>
                    </a:cubicBezTo>
                    <a:cubicBezTo>
                      <a:pt x="1003777" y="6217606"/>
                      <a:pt x="1017630" y="6148240"/>
                      <a:pt x="1024350" y="6083443"/>
                    </a:cubicBezTo>
                    <a:cubicBezTo>
                      <a:pt x="1029590" y="6034553"/>
                      <a:pt x="1028255" y="5980246"/>
                      <a:pt x="999696" y="5938416"/>
                    </a:cubicBezTo>
                    <a:cubicBezTo>
                      <a:pt x="990505" y="5925141"/>
                      <a:pt x="991039" y="5901884"/>
                      <a:pt x="988342" y="5882426"/>
                    </a:cubicBezTo>
                    <a:cubicBezTo>
                      <a:pt x="986229" y="5866254"/>
                      <a:pt x="984774" y="5849442"/>
                      <a:pt x="985444" y="5832438"/>
                    </a:cubicBezTo>
                    <a:cubicBezTo>
                      <a:pt x="986010" y="5814273"/>
                      <a:pt x="985042" y="5793656"/>
                      <a:pt x="992016" y="5777751"/>
                    </a:cubicBezTo>
                    <a:cubicBezTo>
                      <a:pt x="1012886" y="5729456"/>
                      <a:pt x="1014467" y="5686488"/>
                      <a:pt x="995028" y="5641832"/>
                    </a:cubicBezTo>
                    <a:cubicBezTo>
                      <a:pt x="984984" y="5618696"/>
                      <a:pt x="974301" y="5585771"/>
                      <a:pt x="981247" y="5562522"/>
                    </a:cubicBezTo>
                    <a:cubicBezTo>
                      <a:pt x="998041" y="5505913"/>
                      <a:pt x="997454" y="5454379"/>
                      <a:pt x="995131" y="5398075"/>
                    </a:cubicBezTo>
                    <a:cubicBezTo>
                      <a:pt x="993724" y="5361807"/>
                      <a:pt x="997229" y="5322258"/>
                      <a:pt x="997379" y="5283928"/>
                    </a:cubicBezTo>
                    <a:cubicBezTo>
                      <a:pt x="997473" y="5239095"/>
                      <a:pt x="1006631" y="5193105"/>
                      <a:pt x="979617" y="5157396"/>
                    </a:cubicBezTo>
                    <a:cubicBezTo>
                      <a:pt x="976728" y="5153402"/>
                      <a:pt x="978724" y="5144705"/>
                      <a:pt x="976441" y="5139485"/>
                    </a:cubicBezTo>
                    <a:cubicBezTo>
                      <a:pt x="969619" y="5122991"/>
                      <a:pt x="964828" y="5102888"/>
                      <a:pt x="953793" y="5091862"/>
                    </a:cubicBezTo>
                    <a:cubicBezTo>
                      <a:pt x="921506" y="5059884"/>
                      <a:pt x="886609" y="5031900"/>
                      <a:pt x="853056" y="5001787"/>
                    </a:cubicBezTo>
                    <a:cubicBezTo>
                      <a:pt x="845882" y="4995337"/>
                      <a:pt x="836325" y="4988437"/>
                      <a:pt x="833979" y="4978966"/>
                    </a:cubicBezTo>
                    <a:cubicBezTo>
                      <a:pt x="820602" y="4924328"/>
                      <a:pt x="808509" y="4869239"/>
                      <a:pt x="796995" y="4813768"/>
                    </a:cubicBezTo>
                    <a:cubicBezTo>
                      <a:pt x="792418" y="4791474"/>
                      <a:pt x="803209" y="4777314"/>
                      <a:pt x="820590" y="4764057"/>
                    </a:cubicBezTo>
                    <a:cubicBezTo>
                      <a:pt x="837188" y="4751123"/>
                      <a:pt x="855398" y="4734452"/>
                      <a:pt x="864688" y="4714752"/>
                    </a:cubicBezTo>
                    <a:cubicBezTo>
                      <a:pt x="883062" y="4675275"/>
                      <a:pt x="897521" y="4632902"/>
                      <a:pt x="910485" y="4590911"/>
                    </a:cubicBezTo>
                    <a:cubicBezTo>
                      <a:pt x="915338" y="4575199"/>
                      <a:pt x="912978" y="4556131"/>
                      <a:pt x="911445" y="4539571"/>
                    </a:cubicBezTo>
                    <a:cubicBezTo>
                      <a:pt x="908527" y="4508200"/>
                      <a:pt x="900999" y="4477659"/>
                      <a:pt x="900285" y="4445837"/>
                    </a:cubicBezTo>
                    <a:cubicBezTo>
                      <a:pt x="899539" y="4408923"/>
                      <a:pt x="887958" y="4383340"/>
                      <a:pt x="863237" y="4364703"/>
                    </a:cubicBezTo>
                    <a:cubicBezTo>
                      <a:pt x="826431" y="4336971"/>
                      <a:pt x="808536" y="4292507"/>
                      <a:pt x="798070" y="4243284"/>
                    </a:cubicBezTo>
                    <a:cubicBezTo>
                      <a:pt x="784617" y="4180721"/>
                      <a:pt x="805728" y="4117545"/>
                      <a:pt x="817097" y="4054750"/>
                    </a:cubicBezTo>
                    <a:cubicBezTo>
                      <a:pt x="821537" y="4030724"/>
                      <a:pt x="826632" y="4006057"/>
                      <a:pt x="826251" y="3982801"/>
                    </a:cubicBezTo>
                    <a:cubicBezTo>
                      <a:pt x="825347" y="3916709"/>
                      <a:pt x="825150" y="3850833"/>
                      <a:pt x="836848" y="3784939"/>
                    </a:cubicBezTo>
                    <a:lnTo>
                      <a:pt x="841285" y="3766755"/>
                    </a:lnTo>
                    <a:lnTo>
                      <a:pt x="841284" y="3766755"/>
                    </a:lnTo>
                    <a:lnTo>
                      <a:pt x="852925" y="3719034"/>
                    </a:lnTo>
                    <a:cubicBezTo>
                      <a:pt x="855152" y="3711822"/>
                      <a:pt x="856753" y="3704413"/>
                      <a:pt x="857932" y="3696880"/>
                    </a:cubicBezTo>
                    <a:cubicBezTo>
                      <a:pt x="868683" y="3631632"/>
                      <a:pt x="885300" y="3565939"/>
                      <a:pt x="853534" y="3507036"/>
                    </a:cubicBezTo>
                    <a:cubicBezTo>
                      <a:pt x="850623" y="3501622"/>
                      <a:pt x="849992" y="3494020"/>
                      <a:pt x="850226" y="3485839"/>
                    </a:cubicBezTo>
                    <a:close/>
                    <a:moveTo>
                      <a:pt x="0" y="0"/>
                    </a:moveTo>
                    <a:lnTo>
                      <a:pt x="455609" y="0"/>
                    </a:lnTo>
                    <a:lnTo>
                      <a:pt x="459171" y="72395"/>
                    </a:lnTo>
                    <a:cubicBezTo>
                      <a:pt x="459671" y="92301"/>
                      <a:pt x="456894" y="113171"/>
                      <a:pt x="460041" y="131917"/>
                    </a:cubicBezTo>
                    <a:cubicBezTo>
                      <a:pt x="474213" y="218122"/>
                      <a:pt x="492031" y="302910"/>
                      <a:pt x="504421" y="389691"/>
                    </a:cubicBezTo>
                    <a:cubicBezTo>
                      <a:pt x="517349" y="479177"/>
                      <a:pt x="539516" y="562489"/>
                      <a:pt x="582097" y="634609"/>
                    </a:cubicBezTo>
                    <a:cubicBezTo>
                      <a:pt x="621686" y="701573"/>
                      <a:pt x="662589" y="767248"/>
                      <a:pt x="702468" y="834019"/>
                    </a:cubicBezTo>
                    <a:cubicBezTo>
                      <a:pt x="712587" y="850968"/>
                      <a:pt x="725536" y="867665"/>
                      <a:pt x="729203" y="887701"/>
                    </a:cubicBezTo>
                    <a:cubicBezTo>
                      <a:pt x="736973" y="929321"/>
                      <a:pt x="740155" y="973193"/>
                      <a:pt x="743787" y="1016355"/>
                    </a:cubicBezTo>
                    <a:cubicBezTo>
                      <a:pt x="746786" y="1053398"/>
                      <a:pt x="745800" y="1091467"/>
                      <a:pt x="750083" y="1128060"/>
                    </a:cubicBezTo>
                    <a:cubicBezTo>
                      <a:pt x="753428" y="1157309"/>
                      <a:pt x="762038" y="1185083"/>
                      <a:pt x="768866" y="1213431"/>
                    </a:cubicBezTo>
                    <a:cubicBezTo>
                      <a:pt x="774767" y="1238107"/>
                      <a:pt x="778357" y="1264327"/>
                      <a:pt x="787802" y="1286432"/>
                    </a:cubicBezTo>
                    <a:cubicBezTo>
                      <a:pt x="810582" y="1340304"/>
                      <a:pt x="832653" y="1394242"/>
                      <a:pt x="842837" y="1455511"/>
                    </a:cubicBezTo>
                    <a:cubicBezTo>
                      <a:pt x="853049" y="1515944"/>
                      <a:pt x="867276" y="1574511"/>
                      <a:pt x="877988" y="1634814"/>
                    </a:cubicBezTo>
                    <a:cubicBezTo>
                      <a:pt x="888390" y="1693895"/>
                      <a:pt x="902813" y="1748857"/>
                      <a:pt x="941063" y="1789731"/>
                    </a:cubicBezTo>
                    <a:cubicBezTo>
                      <a:pt x="957906" y="1807908"/>
                      <a:pt x="975122" y="1831564"/>
                      <a:pt x="980124" y="1857657"/>
                    </a:cubicBezTo>
                    <a:cubicBezTo>
                      <a:pt x="987207" y="1894833"/>
                      <a:pt x="980788" y="1937150"/>
                      <a:pt x="984484" y="1976384"/>
                    </a:cubicBezTo>
                    <a:cubicBezTo>
                      <a:pt x="988781" y="2022576"/>
                      <a:pt x="988793" y="2074493"/>
                      <a:pt x="1007189" y="2110650"/>
                    </a:cubicBezTo>
                    <a:cubicBezTo>
                      <a:pt x="1023612" y="2142809"/>
                      <a:pt x="1034723" y="2173610"/>
                      <a:pt x="1039893" y="2211041"/>
                    </a:cubicBezTo>
                    <a:cubicBezTo>
                      <a:pt x="1043484" y="2237261"/>
                      <a:pt x="1057690" y="2260269"/>
                      <a:pt x="1059162" y="2286682"/>
                    </a:cubicBezTo>
                    <a:cubicBezTo>
                      <a:pt x="1061252" y="2321469"/>
                      <a:pt x="1060754" y="2355740"/>
                      <a:pt x="1070522" y="2388667"/>
                    </a:cubicBezTo>
                    <a:cubicBezTo>
                      <a:pt x="1080600" y="2422815"/>
                      <a:pt x="1085513" y="2459602"/>
                      <a:pt x="1093939" y="2494653"/>
                    </a:cubicBezTo>
                    <a:cubicBezTo>
                      <a:pt x="1098500" y="2513273"/>
                      <a:pt x="1106866" y="2529964"/>
                      <a:pt x="1112007" y="2548197"/>
                    </a:cubicBezTo>
                    <a:cubicBezTo>
                      <a:pt x="1121409" y="2581573"/>
                      <a:pt x="1130232" y="2615336"/>
                      <a:pt x="1138346" y="2649163"/>
                    </a:cubicBezTo>
                    <a:cubicBezTo>
                      <a:pt x="1146465" y="2682988"/>
                      <a:pt x="1157699" y="2716368"/>
                      <a:pt x="1160337" y="2751608"/>
                    </a:cubicBezTo>
                    <a:cubicBezTo>
                      <a:pt x="1164714" y="2811646"/>
                      <a:pt x="1159211" y="2873999"/>
                      <a:pt x="1165737" y="2933012"/>
                    </a:cubicBezTo>
                    <a:cubicBezTo>
                      <a:pt x="1172445" y="2992925"/>
                      <a:pt x="1185964" y="3051556"/>
                      <a:pt x="1202029" y="3107873"/>
                    </a:cubicBezTo>
                    <a:cubicBezTo>
                      <a:pt x="1214635" y="3152396"/>
                      <a:pt x="1227749" y="3194534"/>
                      <a:pt x="1225692" y="3244974"/>
                    </a:cubicBezTo>
                    <a:cubicBezTo>
                      <a:pt x="1224565" y="3273123"/>
                      <a:pt x="1231196" y="3305079"/>
                      <a:pt x="1243916" y="3326221"/>
                    </a:cubicBezTo>
                    <a:cubicBezTo>
                      <a:pt x="1271701" y="3372044"/>
                      <a:pt x="1285247" y="3423911"/>
                      <a:pt x="1293067" y="3480219"/>
                    </a:cubicBezTo>
                    <a:lnTo>
                      <a:pt x="1308071" y="3585182"/>
                    </a:lnTo>
                    <a:lnTo>
                      <a:pt x="1295962" y="3584708"/>
                    </a:lnTo>
                    <a:cubicBezTo>
                      <a:pt x="1237754" y="3586303"/>
                      <a:pt x="1180629" y="3594888"/>
                      <a:pt x="1118893" y="3568330"/>
                    </a:cubicBezTo>
                    <a:cubicBezTo>
                      <a:pt x="1113435" y="3565936"/>
                      <a:pt x="1102517" y="3567964"/>
                      <a:pt x="1094179" y="3567566"/>
                    </a:cubicBezTo>
                    <a:cubicBezTo>
                      <a:pt x="1027548" y="3564029"/>
                      <a:pt x="967064" y="3547281"/>
                      <a:pt x="922719" y="3516472"/>
                    </a:cubicBezTo>
                    <a:cubicBezTo>
                      <a:pt x="908178" y="3506414"/>
                      <a:pt x="892942" y="3497984"/>
                      <a:pt x="877028" y="3490955"/>
                    </a:cubicBezTo>
                    <a:lnTo>
                      <a:pt x="850533" y="3481837"/>
                    </a:lnTo>
                    <a:lnTo>
                      <a:pt x="852113" y="3461170"/>
                    </a:lnTo>
                    <a:cubicBezTo>
                      <a:pt x="854391" y="3434500"/>
                      <a:pt x="848474" y="3414331"/>
                      <a:pt x="831383" y="3399179"/>
                    </a:cubicBezTo>
                    <a:cubicBezTo>
                      <a:pt x="801767" y="3373388"/>
                      <a:pt x="773654" y="3344957"/>
                      <a:pt x="743141" y="3320580"/>
                    </a:cubicBezTo>
                    <a:cubicBezTo>
                      <a:pt x="722236" y="3303685"/>
                      <a:pt x="714543" y="3281842"/>
                      <a:pt x="713221" y="3251241"/>
                    </a:cubicBezTo>
                    <a:cubicBezTo>
                      <a:pt x="712555" y="3234106"/>
                      <a:pt x="704768" y="3217029"/>
                      <a:pt x="697098" y="3202528"/>
                    </a:cubicBezTo>
                    <a:cubicBezTo>
                      <a:pt x="687845" y="3184997"/>
                      <a:pt x="672212" y="3172554"/>
                      <a:pt x="664820" y="3154190"/>
                    </a:cubicBezTo>
                    <a:cubicBezTo>
                      <a:pt x="646169" y="3109209"/>
                      <a:pt x="616744" y="3087991"/>
                      <a:pt x="572501" y="3087312"/>
                    </a:cubicBezTo>
                    <a:cubicBezTo>
                      <a:pt x="533259" y="3086763"/>
                      <a:pt x="493731" y="3044085"/>
                      <a:pt x="497703" y="3005243"/>
                    </a:cubicBezTo>
                    <a:cubicBezTo>
                      <a:pt x="502030" y="2962279"/>
                      <a:pt x="490540" y="2928257"/>
                      <a:pt x="476984" y="2892751"/>
                    </a:cubicBezTo>
                    <a:cubicBezTo>
                      <a:pt x="469363" y="2872905"/>
                      <a:pt x="465404" y="2847135"/>
                      <a:pt x="468947" y="2824527"/>
                    </a:cubicBezTo>
                    <a:cubicBezTo>
                      <a:pt x="482188" y="2738605"/>
                      <a:pt x="520979" y="2665650"/>
                      <a:pt x="569138" y="2595026"/>
                    </a:cubicBezTo>
                    <a:cubicBezTo>
                      <a:pt x="600577" y="2548865"/>
                      <a:pt x="622260" y="2493483"/>
                      <a:pt x="645397" y="2440808"/>
                    </a:cubicBezTo>
                    <a:cubicBezTo>
                      <a:pt x="652529" y="2424387"/>
                      <a:pt x="655029" y="2401457"/>
                      <a:pt x="651820" y="2384384"/>
                    </a:cubicBezTo>
                    <a:cubicBezTo>
                      <a:pt x="640949" y="2324596"/>
                      <a:pt x="629163" y="2264805"/>
                      <a:pt x="612994" y="2207332"/>
                    </a:cubicBezTo>
                    <a:cubicBezTo>
                      <a:pt x="597678" y="2153787"/>
                      <a:pt x="601053" y="2099808"/>
                      <a:pt x="620894" y="2046679"/>
                    </a:cubicBezTo>
                    <a:cubicBezTo>
                      <a:pt x="635367" y="2007977"/>
                      <a:pt x="641110" y="1970814"/>
                      <a:pt x="644614" y="1931265"/>
                    </a:cubicBezTo>
                    <a:cubicBezTo>
                      <a:pt x="647465" y="1898285"/>
                      <a:pt x="653360" y="1862859"/>
                      <a:pt x="665994" y="1832337"/>
                    </a:cubicBezTo>
                    <a:cubicBezTo>
                      <a:pt x="683779" y="1789578"/>
                      <a:pt x="688928" y="1751381"/>
                      <a:pt x="678276" y="1709437"/>
                    </a:cubicBezTo>
                    <a:cubicBezTo>
                      <a:pt x="672576" y="1687079"/>
                      <a:pt x="673987" y="1660990"/>
                      <a:pt x="672955" y="1636123"/>
                    </a:cubicBezTo>
                    <a:cubicBezTo>
                      <a:pt x="671272" y="1597795"/>
                      <a:pt x="671867" y="1558758"/>
                      <a:pt x="668480" y="1520749"/>
                    </a:cubicBezTo>
                    <a:cubicBezTo>
                      <a:pt x="665050" y="1479903"/>
                      <a:pt x="655019" y="1440408"/>
                      <a:pt x="653920" y="1399437"/>
                    </a:cubicBezTo>
                    <a:cubicBezTo>
                      <a:pt x="652652" y="1355309"/>
                      <a:pt x="639893" y="1323154"/>
                      <a:pt x="612686" y="1296979"/>
                    </a:cubicBezTo>
                    <a:cubicBezTo>
                      <a:pt x="595576" y="1280408"/>
                      <a:pt x="578401" y="1259588"/>
                      <a:pt x="570220" y="1235618"/>
                    </a:cubicBezTo>
                    <a:cubicBezTo>
                      <a:pt x="553631" y="1186194"/>
                      <a:pt x="545669" y="1131821"/>
                      <a:pt x="529736" y="1081752"/>
                    </a:cubicBezTo>
                    <a:cubicBezTo>
                      <a:pt x="507466" y="1011390"/>
                      <a:pt x="481332" y="944631"/>
                      <a:pt x="414305" y="918292"/>
                    </a:cubicBezTo>
                    <a:cubicBezTo>
                      <a:pt x="377314" y="903769"/>
                      <a:pt x="368843" y="874065"/>
                      <a:pt x="373924" y="825689"/>
                    </a:cubicBezTo>
                    <a:cubicBezTo>
                      <a:pt x="375689" y="809590"/>
                      <a:pt x="376722" y="786203"/>
                      <a:pt x="368949" y="778726"/>
                    </a:cubicBezTo>
                    <a:cubicBezTo>
                      <a:pt x="345838" y="756354"/>
                      <a:pt x="349308" y="725824"/>
                      <a:pt x="347020" y="694643"/>
                    </a:cubicBezTo>
                    <a:cubicBezTo>
                      <a:pt x="345704" y="675894"/>
                      <a:pt x="339306" y="651346"/>
                      <a:pt x="327478" y="642898"/>
                    </a:cubicBezTo>
                    <a:cubicBezTo>
                      <a:pt x="279698" y="608395"/>
                      <a:pt x="263590" y="549247"/>
                      <a:pt x="243468" y="491960"/>
                    </a:cubicBezTo>
                    <a:cubicBezTo>
                      <a:pt x="237433" y="475142"/>
                      <a:pt x="230250" y="456843"/>
                      <a:pt x="218930" y="446010"/>
                    </a:cubicBezTo>
                    <a:cubicBezTo>
                      <a:pt x="194433" y="422927"/>
                      <a:pt x="180036" y="395344"/>
                      <a:pt x="180614" y="354892"/>
                    </a:cubicBezTo>
                    <a:cubicBezTo>
                      <a:pt x="180923" y="342010"/>
                      <a:pt x="176523" y="328798"/>
                      <a:pt x="171988" y="317521"/>
                    </a:cubicBezTo>
                    <a:cubicBezTo>
                      <a:pt x="162052" y="293291"/>
                      <a:pt x="148442" y="271315"/>
                      <a:pt x="139875" y="246378"/>
                    </a:cubicBezTo>
                    <a:cubicBezTo>
                      <a:pt x="117577" y="182780"/>
                      <a:pt x="95749" y="119890"/>
                      <a:pt x="51499" y="73211"/>
                    </a:cubicBezTo>
                    <a:cubicBezTo>
                      <a:pt x="40691" y="61834"/>
                      <a:pt x="29467" y="49763"/>
                      <a:pt x="19690" y="36621"/>
                    </a:cubicBezTo>
                    <a:close/>
                  </a:path>
                </a:pathLst>
              </a:custGeom>
              <a:blipFill dpi="0" rotWithShape="1">
                <a:blip r:embed="rId4">
                  <a:alphaModFix amt="57000"/>
                </a:blip>
                <a:srcRect/>
                <a:tile tx="0" ty="0" sx="100000" sy="100000" flip="none" algn="tl"/>
              </a:blip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</p:grpSp>
      </p:grpSp>
      <p:pic>
        <p:nvPicPr>
          <p:cNvPr id="2" name="Picture 1" descr="A close up of the Made by Dyslexia  logo&#10;&#10;Description automatically generated">
            <a:extLst>
              <a:ext uri="{FF2B5EF4-FFF2-40B4-BE49-F238E27FC236}">
                <a16:creationId xmlns:a16="http://schemas.microsoft.com/office/drawing/2014/main" id="{7566D45C-8258-4C7C-948C-86450BBD678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1836" y="2171839"/>
            <a:ext cx="2650848" cy="2650848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C9829185-6353-4E3C-B082-AA7F5193916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 rot="10800000">
            <a:off x="8266869" y="0"/>
            <a:ext cx="4169606" cy="6994525"/>
            <a:chOff x="1" y="0"/>
            <a:chExt cx="4087640" cy="6858000"/>
          </a:xfrm>
          <a:effectLst>
            <a:outerShdw blurRad="381000" dist="152400" algn="ctr" rotWithShape="0">
              <a:srgbClr val="000000">
                <a:alpha val="10000"/>
              </a:srgbClr>
            </a:outerShdw>
          </a:effectLst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BB7BB359-8B77-484C-B9CD-6376139A3ABD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Grp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GrpSpPr>
          <p:grpSpPr>
            <a:xfrm>
              <a:off x="1" y="0"/>
              <a:ext cx="3986041" cy="6858000"/>
              <a:chOff x="1" y="0"/>
              <a:chExt cx="3986041" cy="6858000"/>
            </a:xfrm>
          </p:grpSpPr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AA96BE9D-5B3B-4CA9-8895-33FAA3804689}"/>
                  </a:ext>
                  <a:ext uri="{C183D7F6-B498-43B3-948B-1728B52AA6E4}">
                    <adec:decorative xmlns:adec="http://schemas.microsoft.com/office/drawing/2017/decorative" xmlns="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:p16="http://schemas.microsoft.com/office/powerpoint/2015/main" val="1"/>
                  </p:ext>
                </p:extLst>
              </p:nvPr>
            </p:nvSpPr>
            <p:spPr>
              <a:xfrm>
                <a:off x="1" y="0"/>
                <a:ext cx="3986041" cy="6858000"/>
              </a:xfrm>
              <a:custGeom>
                <a:avLst/>
                <a:gdLst>
                  <a:gd name="connsiteX0" fmla="*/ 0 w 3986041"/>
                  <a:gd name="connsiteY0" fmla="*/ 0 h 6858000"/>
                  <a:gd name="connsiteX1" fmla="*/ 3066495 w 3986041"/>
                  <a:gd name="connsiteY1" fmla="*/ 0 h 6858000"/>
                  <a:gd name="connsiteX2" fmla="*/ 3427241 w 3986041"/>
                  <a:gd name="connsiteY2" fmla="*/ 1211943 h 6858000"/>
                  <a:gd name="connsiteX3" fmla="*/ 3986041 w 3986041"/>
                  <a:gd name="connsiteY3" fmla="*/ 4122057 h 6858000"/>
                  <a:gd name="connsiteX4" fmla="*/ 3751724 w 3986041"/>
                  <a:gd name="connsiteY4" fmla="*/ 6858000 h 6858000"/>
                  <a:gd name="connsiteX5" fmla="*/ 0 w 3986041"/>
                  <a:gd name="connsiteY5" fmla="*/ 6858000 h 685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86041" h="6858000">
                    <a:moveTo>
                      <a:pt x="0" y="0"/>
                    </a:moveTo>
                    <a:lnTo>
                      <a:pt x="3066495" y="0"/>
                    </a:lnTo>
                    <a:lnTo>
                      <a:pt x="3427241" y="1211943"/>
                    </a:lnTo>
                    <a:lnTo>
                      <a:pt x="3986041" y="4122057"/>
                    </a:lnTo>
                    <a:lnTo>
                      <a:pt x="3751724" y="6858000"/>
                    </a:lnTo>
                    <a:lnTo>
                      <a:pt x="0" y="6858000"/>
                    </a:lnTo>
                    <a:close/>
                  </a:path>
                </a:pathLst>
              </a:custGeom>
              <a:solidFill>
                <a:schemeClr val="tx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7840E2BF-E954-4173-BF70-2DAE9E19A09F}"/>
                  </a:ext>
                  <a:ext uri="{C183D7F6-B498-43B3-948B-1728B52AA6E4}">
                    <adec:decorative xmlns:adec="http://schemas.microsoft.com/office/drawing/2017/decorative" xmlns="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:p16="http://schemas.microsoft.com/office/powerpoint/2015/main" val="1"/>
                  </p:ext>
                </p:extLst>
              </p:nvPr>
            </p:nvSpPr>
            <p:spPr>
              <a:xfrm>
                <a:off x="1" y="0"/>
                <a:ext cx="3986041" cy="6858000"/>
              </a:xfrm>
              <a:custGeom>
                <a:avLst/>
                <a:gdLst>
                  <a:gd name="connsiteX0" fmla="*/ 0 w 3986041"/>
                  <a:gd name="connsiteY0" fmla="*/ 0 h 6858000"/>
                  <a:gd name="connsiteX1" fmla="*/ 3066495 w 3986041"/>
                  <a:gd name="connsiteY1" fmla="*/ 0 h 6858000"/>
                  <a:gd name="connsiteX2" fmla="*/ 3427241 w 3986041"/>
                  <a:gd name="connsiteY2" fmla="*/ 1211943 h 6858000"/>
                  <a:gd name="connsiteX3" fmla="*/ 3986041 w 3986041"/>
                  <a:gd name="connsiteY3" fmla="*/ 4122057 h 6858000"/>
                  <a:gd name="connsiteX4" fmla="*/ 3751724 w 3986041"/>
                  <a:gd name="connsiteY4" fmla="*/ 6858000 h 6858000"/>
                  <a:gd name="connsiteX5" fmla="*/ 0 w 3986041"/>
                  <a:gd name="connsiteY5" fmla="*/ 6858000 h 685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86041" h="6858000">
                    <a:moveTo>
                      <a:pt x="0" y="0"/>
                    </a:moveTo>
                    <a:lnTo>
                      <a:pt x="3066495" y="0"/>
                    </a:lnTo>
                    <a:lnTo>
                      <a:pt x="3427241" y="1211943"/>
                    </a:lnTo>
                    <a:lnTo>
                      <a:pt x="3986041" y="4122057"/>
                    </a:lnTo>
                    <a:lnTo>
                      <a:pt x="3751724" y="6858000"/>
                    </a:lnTo>
                    <a:lnTo>
                      <a:pt x="0" y="6858000"/>
                    </a:lnTo>
                    <a:close/>
                  </a:path>
                </a:pathLst>
              </a:custGeom>
              <a:solidFill>
                <a:schemeClr val="bg1">
                  <a:alpha val="14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F125B5A-DFAC-4B6D-B14F-287F8C436AAB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Grp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GrpSpPr>
          <p:grpSpPr>
            <a:xfrm>
              <a:off x="2748588" y="0"/>
              <a:ext cx="1339053" cy="6858000"/>
              <a:chOff x="2748588" y="0"/>
              <a:chExt cx="1339053" cy="6858000"/>
            </a:xfrm>
          </p:grpSpPr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6AF4804F-69E5-479A-9F45-C0E46317159C}"/>
                  </a:ext>
                  <a:ext uri="{C183D7F6-B498-43B3-948B-1728B52AA6E4}">
                    <adec:decorative xmlns:adec="http://schemas.microsoft.com/office/drawing/2017/decorative" xmlns="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:p16="http://schemas.microsoft.com/office/powerpoint/2015/main" val="1"/>
                  </p:ext>
                </p:extLst>
              </p:nvPr>
            </p:nvSpPr>
            <p:spPr>
              <a:xfrm>
                <a:off x="2748588" y="0"/>
                <a:ext cx="1339053" cy="6858000"/>
              </a:xfrm>
              <a:custGeom>
                <a:avLst/>
                <a:gdLst>
                  <a:gd name="connsiteX0" fmla="*/ 850532 w 1339053"/>
                  <a:gd name="connsiteY0" fmla="*/ 3481838 h 6858000"/>
                  <a:gd name="connsiteX1" fmla="*/ 877027 w 1339053"/>
                  <a:gd name="connsiteY1" fmla="*/ 3490955 h 6858000"/>
                  <a:gd name="connsiteX2" fmla="*/ 922718 w 1339053"/>
                  <a:gd name="connsiteY2" fmla="*/ 3516472 h 6858000"/>
                  <a:gd name="connsiteX3" fmla="*/ 1094179 w 1339053"/>
                  <a:gd name="connsiteY3" fmla="*/ 3567567 h 6858000"/>
                  <a:gd name="connsiteX4" fmla="*/ 1118891 w 1339053"/>
                  <a:gd name="connsiteY4" fmla="*/ 3568331 h 6858000"/>
                  <a:gd name="connsiteX5" fmla="*/ 1295961 w 1339053"/>
                  <a:gd name="connsiteY5" fmla="*/ 3584709 h 6858000"/>
                  <a:gd name="connsiteX6" fmla="*/ 1308070 w 1339053"/>
                  <a:gd name="connsiteY6" fmla="*/ 3585183 h 6858000"/>
                  <a:gd name="connsiteX7" fmla="*/ 1325263 w 1339053"/>
                  <a:gd name="connsiteY7" fmla="*/ 3705453 h 6858000"/>
                  <a:gd name="connsiteX8" fmla="*/ 1334107 w 1339053"/>
                  <a:gd name="connsiteY8" fmla="*/ 3772268 h 6858000"/>
                  <a:gd name="connsiteX9" fmla="*/ 1338203 w 1339053"/>
                  <a:gd name="connsiteY9" fmla="*/ 3831076 h 6858000"/>
                  <a:gd name="connsiteX10" fmla="*/ 1338805 w 1339053"/>
                  <a:gd name="connsiteY10" fmla="*/ 3839709 h 6858000"/>
                  <a:gd name="connsiteX11" fmla="*/ 1335635 w 1339053"/>
                  <a:gd name="connsiteY11" fmla="*/ 4118635 h 6858000"/>
                  <a:gd name="connsiteX12" fmla="*/ 1337171 w 1339053"/>
                  <a:gd name="connsiteY12" fmla="*/ 4209403 h 6858000"/>
                  <a:gd name="connsiteX13" fmla="*/ 1325840 w 1339053"/>
                  <a:gd name="connsiteY13" fmla="*/ 4309174 h 6858000"/>
                  <a:gd name="connsiteX14" fmla="*/ 1321122 w 1339053"/>
                  <a:gd name="connsiteY14" fmla="*/ 4473630 h 6858000"/>
                  <a:gd name="connsiteX15" fmla="*/ 1302196 w 1339053"/>
                  <a:gd name="connsiteY15" fmla="*/ 4791709 h 6858000"/>
                  <a:gd name="connsiteX16" fmla="*/ 1293239 w 1339053"/>
                  <a:gd name="connsiteY16" fmla="*/ 4860048 h 6858000"/>
                  <a:gd name="connsiteX17" fmla="*/ 1288829 w 1339053"/>
                  <a:gd name="connsiteY17" fmla="*/ 5039837 h 6858000"/>
                  <a:gd name="connsiteX18" fmla="*/ 1289584 w 1339053"/>
                  <a:gd name="connsiteY18" fmla="*/ 5148703 h 6858000"/>
                  <a:gd name="connsiteX19" fmla="*/ 1282205 w 1339053"/>
                  <a:gd name="connsiteY19" fmla="*/ 5236435 h 6858000"/>
                  <a:gd name="connsiteX20" fmla="*/ 1268145 w 1339053"/>
                  <a:gd name="connsiteY20" fmla="*/ 5311662 h 6858000"/>
                  <a:gd name="connsiteX21" fmla="*/ 1250547 w 1339053"/>
                  <a:gd name="connsiteY21" fmla="*/ 5515595 h 6858000"/>
                  <a:gd name="connsiteX22" fmla="*/ 1243323 w 1339053"/>
                  <a:gd name="connsiteY22" fmla="*/ 5596885 h 6858000"/>
                  <a:gd name="connsiteX23" fmla="*/ 1238303 w 1339053"/>
                  <a:gd name="connsiteY23" fmla="*/ 5812036 h 6858000"/>
                  <a:gd name="connsiteX24" fmla="*/ 1223551 w 1339053"/>
                  <a:gd name="connsiteY24" fmla="*/ 5991171 h 6858000"/>
                  <a:gd name="connsiteX25" fmla="*/ 1219699 w 1339053"/>
                  <a:gd name="connsiteY25" fmla="*/ 6066726 h 6858000"/>
                  <a:gd name="connsiteX26" fmla="*/ 1199935 w 1339053"/>
                  <a:gd name="connsiteY26" fmla="*/ 6236130 h 6858000"/>
                  <a:gd name="connsiteX27" fmla="*/ 1192857 w 1339053"/>
                  <a:gd name="connsiteY27" fmla="*/ 6333267 h 6858000"/>
                  <a:gd name="connsiteX28" fmla="*/ 1148174 w 1339053"/>
                  <a:gd name="connsiteY28" fmla="*/ 6561849 h 6858000"/>
                  <a:gd name="connsiteX29" fmla="*/ 1100424 w 1339053"/>
                  <a:gd name="connsiteY29" fmla="*/ 6797385 h 6858000"/>
                  <a:gd name="connsiteX30" fmla="*/ 1085621 w 1339053"/>
                  <a:gd name="connsiteY30" fmla="*/ 6858000 h 6858000"/>
                  <a:gd name="connsiteX31" fmla="*/ 932341 w 1339053"/>
                  <a:gd name="connsiteY31" fmla="*/ 6858000 h 6858000"/>
                  <a:gd name="connsiteX32" fmla="*/ 944496 w 1339053"/>
                  <a:gd name="connsiteY32" fmla="*/ 6829656 h 6858000"/>
                  <a:gd name="connsiteX33" fmla="*/ 913239 w 1339053"/>
                  <a:gd name="connsiteY33" fmla="*/ 6720119 h 6858000"/>
                  <a:gd name="connsiteX34" fmla="*/ 870682 w 1339053"/>
                  <a:gd name="connsiteY34" fmla="*/ 6655346 h 6858000"/>
                  <a:gd name="connsiteX35" fmla="*/ 846442 w 1339053"/>
                  <a:gd name="connsiteY35" fmla="*/ 6498594 h 6858000"/>
                  <a:gd name="connsiteX36" fmla="*/ 881150 w 1339053"/>
                  <a:gd name="connsiteY36" fmla="*/ 6473756 h 6858000"/>
                  <a:gd name="connsiteX37" fmla="*/ 922470 w 1339053"/>
                  <a:gd name="connsiteY37" fmla="*/ 6377035 h 6858000"/>
                  <a:gd name="connsiteX38" fmla="*/ 955039 w 1339053"/>
                  <a:gd name="connsiteY38" fmla="*/ 6268585 h 6858000"/>
                  <a:gd name="connsiteX39" fmla="*/ 1024350 w 1339053"/>
                  <a:gd name="connsiteY39" fmla="*/ 6083443 h 6858000"/>
                  <a:gd name="connsiteX40" fmla="*/ 999696 w 1339053"/>
                  <a:gd name="connsiteY40" fmla="*/ 5938416 h 6858000"/>
                  <a:gd name="connsiteX41" fmla="*/ 988342 w 1339053"/>
                  <a:gd name="connsiteY41" fmla="*/ 5882426 h 6858000"/>
                  <a:gd name="connsiteX42" fmla="*/ 985444 w 1339053"/>
                  <a:gd name="connsiteY42" fmla="*/ 5832438 h 6858000"/>
                  <a:gd name="connsiteX43" fmla="*/ 992016 w 1339053"/>
                  <a:gd name="connsiteY43" fmla="*/ 5777751 h 6858000"/>
                  <a:gd name="connsiteX44" fmla="*/ 995028 w 1339053"/>
                  <a:gd name="connsiteY44" fmla="*/ 5641832 h 6858000"/>
                  <a:gd name="connsiteX45" fmla="*/ 981247 w 1339053"/>
                  <a:gd name="connsiteY45" fmla="*/ 5562522 h 6858000"/>
                  <a:gd name="connsiteX46" fmla="*/ 995131 w 1339053"/>
                  <a:gd name="connsiteY46" fmla="*/ 5398075 h 6858000"/>
                  <a:gd name="connsiteX47" fmla="*/ 997379 w 1339053"/>
                  <a:gd name="connsiteY47" fmla="*/ 5283928 h 6858000"/>
                  <a:gd name="connsiteX48" fmla="*/ 979617 w 1339053"/>
                  <a:gd name="connsiteY48" fmla="*/ 5157396 h 6858000"/>
                  <a:gd name="connsiteX49" fmla="*/ 976441 w 1339053"/>
                  <a:gd name="connsiteY49" fmla="*/ 5139485 h 6858000"/>
                  <a:gd name="connsiteX50" fmla="*/ 953793 w 1339053"/>
                  <a:gd name="connsiteY50" fmla="*/ 5091862 h 6858000"/>
                  <a:gd name="connsiteX51" fmla="*/ 853056 w 1339053"/>
                  <a:gd name="connsiteY51" fmla="*/ 5001787 h 6858000"/>
                  <a:gd name="connsiteX52" fmla="*/ 833979 w 1339053"/>
                  <a:gd name="connsiteY52" fmla="*/ 4978966 h 6858000"/>
                  <a:gd name="connsiteX53" fmla="*/ 796995 w 1339053"/>
                  <a:gd name="connsiteY53" fmla="*/ 4813768 h 6858000"/>
                  <a:gd name="connsiteX54" fmla="*/ 820590 w 1339053"/>
                  <a:gd name="connsiteY54" fmla="*/ 4764057 h 6858000"/>
                  <a:gd name="connsiteX55" fmla="*/ 864688 w 1339053"/>
                  <a:gd name="connsiteY55" fmla="*/ 4714752 h 6858000"/>
                  <a:gd name="connsiteX56" fmla="*/ 910485 w 1339053"/>
                  <a:gd name="connsiteY56" fmla="*/ 4590911 h 6858000"/>
                  <a:gd name="connsiteX57" fmla="*/ 911445 w 1339053"/>
                  <a:gd name="connsiteY57" fmla="*/ 4539571 h 6858000"/>
                  <a:gd name="connsiteX58" fmla="*/ 900285 w 1339053"/>
                  <a:gd name="connsiteY58" fmla="*/ 4445837 h 6858000"/>
                  <a:gd name="connsiteX59" fmla="*/ 863237 w 1339053"/>
                  <a:gd name="connsiteY59" fmla="*/ 4364703 h 6858000"/>
                  <a:gd name="connsiteX60" fmla="*/ 798070 w 1339053"/>
                  <a:gd name="connsiteY60" fmla="*/ 4243284 h 6858000"/>
                  <a:gd name="connsiteX61" fmla="*/ 817097 w 1339053"/>
                  <a:gd name="connsiteY61" fmla="*/ 4054750 h 6858000"/>
                  <a:gd name="connsiteX62" fmla="*/ 826251 w 1339053"/>
                  <a:gd name="connsiteY62" fmla="*/ 3982801 h 6858000"/>
                  <a:gd name="connsiteX63" fmla="*/ 836848 w 1339053"/>
                  <a:gd name="connsiteY63" fmla="*/ 3784939 h 6858000"/>
                  <a:gd name="connsiteX64" fmla="*/ 841285 w 1339053"/>
                  <a:gd name="connsiteY64" fmla="*/ 3766755 h 6858000"/>
                  <a:gd name="connsiteX65" fmla="*/ 841284 w 1339053"/>
                  <a:gd name="connsiteY65" fmla="*/ 3766755 h 6858000"/>
                  <a:gd name="connsiteX66" fmla="*/ 852925 w 1339053"/>
                  <a:gd name="connsiteY66" fmla="*/ 3719034 h 6858000"/>
                  <a:gd name="connsiteX67" fmla="*/ 857932 w 1339053"/>
                  <a:gd name="connsiteY67" fmla="*/ 3696880 h 6858000"/>
                  <a:gd name="connsiteX68" fmla="*/ 853534 w 1339053"/>
                  <a:gd name="connsiteY68" fmla="*/ 3507036 h 6858000"/>
                  <a:gd name="connsiteX69" fmla="*/ 850226 w 1339053"/>
                  <a:gd name="connsiteY69" fmla="*/ 3485839 h 6858000"/>
                  <a:gd name="connsiteX70" fmla="*/ 0 w 1339053"/>
                  <a:gd name="connsiteY70" fmla="*/ 0 h 6858000"/>
                  <a:gd name="connsiteX71" fmla="*/ 455609 w 1339053"/>
                  <a:gd name="connsiteY71" fmla="*/ 0 h 6858000"/>
                  <a:gd name="connsiteX72" fmla="*/ 459171 w 1339053"/>
                  <a:gd name="connsiteY72" fmla="*/ 72395 h 6858000"/>
                  <a:gd name="connsiteX73" fmla="*/ 460041 w 1339053"/>
                  <a:gd name="connsiteY73" fmla="*/ 131917 h 6858000"/>
                  <a:gd name="connsiteX74" fmla="*/ 504421 w 1339053"/>
                  <a:gd name="connsiteY74" fmla="*/ 389691 h 6858000"/>
                  <a:gd name="connsiteX75" fmla="*/ 582097 w 1339053"/>
                  <a:gd name="connsiteY75" fmla="*/ 634609 h 6858000"/>
                  <a:gd name="connsiteX76" fmla="*/ 702468 w 1339053"/>
                  <a:gd name="connsiteY76" fmla="*/ 834019 h 6858000"/>
                  <a:gd name="connsiteX77" fmla="*/ 729203 w 1339053"/>
                  <a:gd name="connsiteY77" fmla="*/ 887701 h 6858000"/>
                  <a:gd name="connsiteX78" fmla="*/ 743787 w 1339053"/>
                  <a:gd name="connsiteY78" fmla="*/ 1016355 h 6858000"/>
                  <a:gd name="connsiteX79" fmla="*/ 750083 w 1339053"/>
                  <a:gd name="connsiteY79" fmla="*/ 1128060 h 6858000"/>
                  <a:gd name="connsiteX80" fmla="*/ 768866 w 1339053"/>
                  <a:gd name="connsiteY80" fmla="*/ 1213431 h 6858000"/>
                  <a:gd name="connsiteX81" fmla="*/ 787802 w 1339053"/>
                  <a:gd name="connsiteY81" fmla="*/ 1286432 h 6858000"/>
                  <a:gd name="connsiteX82" fmla="*/ 842837 w 1339053"/>
                  <a:gd name="connsiteY82" fmla="*/ 1455511 h 6858000"/>
                  <a:gd name="connsiteX83" fmla="*/ 877988 w 1339053"/>
                  <a:gd name="connsiteY83" fmla="*/ 1634814 h 6858000"/>
                  <a:gd name="connsiteX84" fmla="*/ 941063 w 1339053"/>
                  <a:gd name="connsiteY84" fmla="*/ 1789731 h 6858000"/>
                  <a:gd name="connsiteX85" fmla="*/ 980124 w 1339053"/>
                  <a:gd name="connsiteY85" fmla="*/ 1857657 h 6858000"/>
                  <a:gd name="connsiteX86" fmla="*/ 984484 w 1339053"/>
                  <a:gd name="connsiteY86" fmla="*/ 1976384 h 6858000"/>
                  <a:gd name="connsiteX87" fmla="*/ 1007189 w 1339053"/>
                  <a:gd name="connsiteY87" fmla="*/ 2110650 h 6858000"/>
                  <a:gd name="connsiteX88" fmla="*/ 1039893 w 1339053"/>
                  <a:gd name="connsiteY88" fmla="*/ 2211041 h 6858000"/>
                  <a:gd name="connsiteX89" fmla="*/ 1059162 w 1339053"/>
                  <a:gd name="connsiteY89" fmla="*/ 2286682 h 6858000"/>
                  <a:gd name="connsiteX90" fmla="*/ 1070522 w 1339053"/>
                  <a:gd name="connsiteY90" fmla="*/ 2388667 h 6858000"/>
                  <a:gd name="connsiteX91" fmla="*/ 1093939 w 1339053"/>
                  <a:gd name="connsiteY91" fmla="*/ 2494653 h 6858000"/>
                  <a:gd name="connsiteX92" fmla="*/ 1112007 w 1339053"/>
                  <a:gd name="connsiteY92" fmla="*/ 2548197 h 6858000"/>
                  <a:gd name="connsiteX93" fmla="*/ 1138346 w 1339053"/>
                  <a:gd name="connsiteY93" fmla="*/ 2649163 h 6858000"/>
                  <a:gd name="connsiteX94" fmla="*/ 1160337 w 1339053"/>
                  <a:gd name="connsiteY94" fmla="*/ 2751608 h 6858000"/>
                  <a:gd name="connsiteX95" fmla="*/ 1165737 w 1339053"/>
                  <a:gd name="connsiteY95" fmla="*/ 2933012 h 6858000"/>
                  <a:gd name="connsiteX96" fmla="*/ 1202029 w 1339053"/>
                  <a:gd name="connsiteY96" fmla="*/ 3107873 h 6858000"/>
                  <a:gd name="connsiteX97" fmla="*/ 1225692 w 1339053"/>
                  <a:gd name="connsiteY97" fmla="*/ 3244974 h 6858000"/>
                  <a:gd name="connsiteX98" fmla="*/ 1243916 w 1339053"/>
                  <a:gd name="connsiteY98" fmla="*/ 3326221 h 6858000"/>
                  <a:gd name="connsiteX99" fmla="*/ 1293067 w 1339053"/>
                  <a:gd name="connsiteY99" fmla="*/ 3480219 h 6858000"/>
                  <a:gd name="connsiteX100" fmla="*/ 1308071 w 1339053"/>
                  <a:gd name="connsiteY100" fmla="*/ 3585182 h 6858000"/>
                  <a:gd name="connsiteX101" fmla="*/ 1295962 w 1339053"/>
                  <a:gd name="connsiteY101" fmla="*/ 3584708 h 6858000"/>
                  <a:gd name="connsiteX102" fmla="*/ 1118893 w 1339053"/>
                  <a:gd name="connsiteY102" fmla="*/ 3568330 h 6858000"/>
                  <a:gd name="connsiteX103" fmla="*/ 1094179 w 1339053"/>
                  <a:gd name="connsiteY103" fmla="*/ 3567566 h 6858000"/>
                  <a:gd name="connsiteX104" fmla="*/ 922719 w 1339053"/>
                  <a:gd name="connsiteY104" fmla="*/ 3516472 h 6858000"/>
                  <a:gd name="connsiteX105" fmla="*/ 877028 w 1339053"/>
                  <a:gd name="connsiteY105" fmla="*/ 3490955 h 6858000"/>
                  <a:gd name="connsiteX106" fmla="*/ 850533 w 1339053"/>
                  <a:gd name="connsiteY106" fmla="*/ 3481837 h 6858000"/>
                  <a:gd name="connsiteX107" fmla="*/ 852113 w 1339053"/>
                  <a:gd name="connsiteY107" fmla="*/ 3461170 h 6858000"/>
                  <a:gd name="connsiteX108" fmla="*/ 831383 w 1339053"/>
                  <a:gd name="connsiteY108" fmla="*/ 3399179 h 6858000"/>
                  <a:gd name="connsiteX109" fmla="*/ 743141 w 1339053"/>
                  <a:gd name="connsiteY109" fmla="*/ 3320580 h 6858000"/>
                  <a:gd name="connsiteX110" fmla="*/ 713221 w 1339053"/>
                  <a:gd name="connsiteY110" fmla="*/ 3251241 h 6858000"/>
                  <a:gd name="connsiteX111" fmla="*/ 697098 w 1339053"/>
                  <a:gd name="connsiteY111" fmla="*/ 3202528 h 6858000"/>
                  <a:gd name="connsiteX112" fmla="*/ 664820 w 1339053"/>
                  <a:gd name="connsiteY112" fmla="*/ 3154190 h 6858000"/>
                  <a:gd name="connsiteX113" fmla="*/ 572501 w 1339053"/>
                  <a:gd name="connsiteY113" fmla="*/ 3087312 h 6858000"/>
                  <a:gd name="connsiteX114" fmla="*/ 497703 w 1339053"/>
                  <a:gd name="connsiteY114" fmla="*/ 3005243 h 6858000"/>
                  <a:gd name="connsiteX115" fmla="*/ 476984 w 1339053"/>
                  <a:gd name="connsiteY115" fmla="*/ 2892751 h 6858000"/>
                  <a:gd name="connsiteX116" fmla="*/ 468947 w 1339053"/>
                  <a:gd name="connsiteY116" fmla="*/ 2824527 h 6858000"/>
                  <a:gd name="connsiteX117" fmla="*/ 569138 w 1339053"/>
                  <a:gd name="connsiteY117" fmla="*/ 2595026 h 6858000"/>
                  <a:gd name="connsiteX118" fmla="*/ 645397 w 1339053"/>
                  <a:gd name="connsiteY118" fmla="*/ 2440808 h 6858000"/>
                  <a:gd name="connsiteX119" fmla="*/ 651820 w 1339053"/>
                  <a:gd name="connsiteY119" fmla="*/ 2384384 h 6858000"/>
                  <a:gd name="connsiteX120" fmla="*/ 612994 w 1339053"/>
                  <a:gd name="connsiteY120" fmla="*/ 2207332 h 6858000"/>
                  <a:gd name="connsiteX121" fmla="*/ 620894 w 1339053"/>
                  <a:gd name="connsiteY121" fmla="*/ 2046679 h 6858000"/>
                  <a:gd name="connsiteX122" fmla="*/ 644614 w 1339053"/>
                  <a:gd name="connsiteY122" fmla="*/ 1931265 h 6858000"/>
                  <a:gd name="connsiteX123" fmla="*/ 665994 w 1339053"/>
                  <a:gd name="connsiteY123" fmla="*/ 1832337 h 6858000"/>
                  <a:gd name="connsiteX124" fmla="*/ 678276 w 1339053"/>
                  <a:gd name="connsiteY124" fmla="*/ 1709437 h 6858000"/>
                  <a:gd name="connsiteX125" fmla="*/ 672955 w 1339053"/>
                  <a:gd name="connsiteY125" fmla="*/ 1636123 h 6858000"/>
                  <a:gd name="connsiteX126" fmla="*/ 668480 w 1339053"/>
                  <a:gd name="connsiteY126" fmla="*/ 1520749 h 6858000"/>
                  <a:gd name="connsiteX127" fmla="*/ 653920 w 1339053"/>
                  <a:gd name="connsiteY127" fmla="*/ 1399437 h 6858000"/>
                  <a:gd name="connsiteX128" fmla="*/ 612686 w 1339053"/>
                  <a:gd name="connsiteY128" fmla="*/ 1296979 h 6858000"/>
                  <a:gd name="connsiteX129" fmla="*/ 570220 w 1339053"/>
                  <a:gd name="connsiteY129" fmla="*/ 1235618 h 6858000"/>
                  <a:gd name="connsiteX130" fmla="*/ 529736 w 1339053"/>
                  <a:gd name="connsiteY130" fmla="*/ 1081752 h 6858000"/>
                  <a:gd name="connsiteX131" fmla="*/ 414305 w 1339053"/>
                  <a:gd name="connsiteY131" fmla="*/ 918292 h 6858000"/>
                  <a:gd name="connsiteX132" fmla="*/ 373924 w 1339053"/>
                  <a:gd name="connsiteY132" fmla="*/ 825689 h 6858000"/>
                  <a:gd name="connsiteX133" fmla="*/ 368949 w 1339053"/>
                  <a:gd name="connsiteY133" fmla="*/ 778726 h 6858000"/>
                  <a:gd name="connsiteX134" fmla="*/ 347020 w 1339053"/>
                  <a:gd name="connsiteY134" fmla="*/ 694643 h 6858000"/>
                  <a:gd name="connsiteX135" fmla="*/ 327478 w 1339053"/>
                  <a:gd name="connsiteY135" fmla="*/ 642898 h 6858000"/>
                  <a:gd name="connsiteX136" fmla="*/ 243468 w 1339053"/>
                  <a:gd name="connsiteY136" fmla="*/ 491960 h 6858000"/>
                  <a:gd name="connsiteX137" fmla="*/ 218930 w 1339053"/>
                  <a:gd name="connsiteY137" fmla="*/ 446010 h 6858000"/>
                  <a:gd name="connsiteX138" fmla="*/ 180614 w 1339053"/>
                  <a:gd name="connsiteY138" fmla="*/ 354892 h 6858000"/>
                  <a:gd name="connsiteX139" fmla="*/ 171988 w 1339053"/>
                  <a:gd name="connsiteY139" fmla="*/ 317521 h 6858000"/>
                  <a:gd name="connsiteX140" fmla="*/ 139875 w 1339053"/>
                  <a:gd name="connsiteY140" fmla="*/ 246378 h 6858000"/>
                  <a:gd name="connsiteX141" fmla="*/ 51499 w 1339053"/>
                  <a:gd name="connsiteY141" fmla="*/ 73211 h 6858000"/>
                  <a:gd name="connsiteX142" fmla="*/ 19690 w 1339053"/>
                  <a:gd name="connsiteY142" fmla="*/ 36621 h 685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</a:cxnLst>
                <a:rect l="l" t="t" r="r" b="b"/>
                <a:pathLst>
                  <a:path w="1339053" h="6858000">
                    <a:moveTo>
                      <a:pt x="850532" y="3481838"/>
                    </a:moveTo>
                    <a:lnTo>
                      <a:pt x="877027" y="3490955"/>
                    </a:lnTo>
                    <a:cubicBezTo>
                      <a:pt x="892941" y="3497986"/>
                      <a:pt x="908176" y="3506416"/>
                      <a:pt x="922718" y="3516472"/>
                    </a:cubicBezTo>
                    <a:cubicBezTo>
                      <a:pt x="967062" y="3547282"/>
                      <a:pt x="1027547" y="3564030"/>
                      <a:pt x="1094179" y="3567567"/>
                    </a:cubicBezTo>
                    <a:cubicBezTo>
                      <a:pt x="1102515" y="3567965"/>
                      <a:pt x="1113434" y="3565936"/>
                      <a:pt x="1118891" y="3568331"/>
                    </a:cubicBezTo>
                    <a:cubicBezTo>
                      <a:pt x="1180628" y="3594888"/>
                      <a:pt x="1237753" y="3586304"/>
                      <a:pt x="1295961" y="3584709"/>
                    </a:cubicBezTo>
                    <a:lnTo>
                      <a:pt x="1308070" y="3585183"/>
                    </a:lnTo>
                    <a:lnTo>
                      <a:pt x="1325263" y="3705453"/>
                    </a:lnTo>
                    <a:cubicBezTo>
                      <a:pt x="1328254" y="3727679"/>
                      <a:pt x="1331526" y="3749922"/>
                      <a:pt x="1334107" y="3772268"/>
                    </a:cubicBezTo>
                    <a:lnTo>
                      <a:pt x="1338203" y="3831076"/>
                    </a:lnTo>
                    <a:lnTo>
                      <a:pt x="1338805" y="3839709"/>
                    </a:lnTo>
                    <a:cubicBezTo>
                      <a:pt x="1339996" y="3932341"/>
                      <a:pt x="1336568" y="4025809"/>
                      <a:pt x="1335635" y="4118635"/>
                    </a:cubicBezTo>
                    <a:cubicBezTo>
                      <a:pt x="1335202" y="4148976"/>
                      <a:pt x="1338805" y="4178868"/>
                      <a:pt x="1337171" y="4209403"/>
                    </a:cubicBezTo>
                    <a:cubicBezTo>
                      <a:pt x="1335445" y="4242449"/>
                      <a:pt x="1327565" y="4276129"/>
                      <a:pt x="1325840" y="4309174"/>
                    </a:cubicBezTo>
                    <a:cubicBezTo>
                      <a:pt x="1322853" y="4364122"/>
                      <a:pt x="1323899" y="4418621"/>
                      <a:pt x="1321122" y="4473630"/>
                    </a:cubicBezTo>
                    <a:cubicBezTo>
                      <a:pt x="1315632" y="4579723"/>
                      <a:pt x="1309019" y="4685750"/>
                      <a:pt x="1302196" y="4791709"/>
                    </a:cubicBezTo>
                    <a:cubicBezTo>
                      <a:pt x="1300696" y="4814383"/>
                      <a:pt x="1294244" y="4837504"/>
                      <a:pt x="1293239" y="4860048"/>
                    </a:cubicBezTo>
                    <a:cubicBezTo>
                      <a:pt x="1290785" y="4919957"/>
                      <a:pt x="1289660" y="4979994"/>
                      <a:pt x="1288829" y="5039837"/>
                    </a:cubicBezTo>
                    <a:cubicBezTo>
                      <a:pt x="1288401" y="5076103"/>
                      <a:pt x="1290512" y="5112310"/>
                      <a:pt x="1289584" y="5148703"/>
                    </a:cubicBezTo>
                    <a:cubicBezTo>
                      <a:pt x="1288845" y="5177820"/>
                      <a:pt x="1286193" y="5207193"/>
                      <a:pt x="1282205" y="5236435"/>
                    </a:cubicBezTo>
                    <a:cubicBezTo>
                      <a:pt x="1278784" y="5261619"/>
                      <a:pt x="1270649" y="5286477"/>
                      <a:pt x="1268145" y="5311662"/>
                    </a:cubicBezTo>
                    <a:cubicBezTo>
                      <a:pt x="1261308" y="5379812"/>
                      <a:pt x="1256387" y="5447703"/>
                      <a:pt x="1250547" y="5515595"/>
                    </a:cubicBezTo>
                    <a:cubicBezTo>
                      <a:pt x="1248113" y="5542776"/>
                      <a:pt x="1244054" y="5570023"/>
                      <a:pt x="1243323" y="5596885"/>
                    </a:cubicBezTo>
                    <a:cubicBezTo>
                      <a:pt x="1241082" y="5668709"/>
                      <a:pt x="1241668" y="5740276"/>
                      <a:pt x="1238303" y="5812036"/>
                    </a:cubicBezTo>
                    <a:cubicBezTo>
                      <a:pt x="1235508" y="5871554"/>
                      <a:pt x="1228259" y="5931392"/>
                      <a:pt x="1223551" y="5991171"/>
                    </a:cubicBezTo>
                    <a:cubicBezTo>
                      <a:pt x="1221675" y="6016549"/>
                      <a:pt x="1222415" y="6041609"/>
                      <a:pt x="1219699" y="6066726"/>
                    </a:cubicBezTo>
                    <a:cubicBezTo>
                      <a:pt x="1213776" y="6123024"/>
                      <a:pt x="1205938" y="6179576"/>
                      <a:pt x="1199935" y="6236130"/>
                    </a:cubicBezTo>
                    <a:cubicBezTo>
                      <a:pt x="1196614" y="6268403"/>
                      <a:pt x="1198425" y="6301127"/>
                      <a:pt x="1192857" y="6333267"/>
                    </a:cubicBezTo>
                    <a:cubicBezTo>
                      <a:pt x="1179603" y="6409590"/>
                      <a:pt x="1163470" y="6485591"/>
                      <a:pt x="1148174" y="6561849"/>
                    </a:cubicBezTo>
                    <a:cubicBezTo>
                      <a:pt x="1132370" y="6640486"/>
                      <a:pt x="1117066" y="6719000"/>
                      <a:pt x="1100424" y="6797385"/>
                    </a:cubicBezTo>
                    <a:lnTo>
                      <a:pt x="1085621" y="6858000"/>
                    </a:lnTo>
                    <a:lnTo>
                      <a:pt x="932341" y="6858000"/>
                    </a:lnTo>
                    <a:lnTo>
                      <a:pt x="944496" y="6829656"/>
                    </a:lnTo>
                    <a:cubicBezTo>
                      <a:pt x="964836" y="6776399"/>
                      <a:pt x="953622" y="6744439"/>
                      <a:pt x="913239" y="6720119"/>
                    </a:cubicBezTo>
                    <a:cubicBezTo>
                      <a:pt x="890880" y="6706443"/>
                      <a:pt x="866986" y="6690318"/>
                      <a:pt x="870682" y="6655346"/>
                    </a:cubicBezTo>
                    <a:cubicBezTo>
                      <a:pt x="876846" y="6598274"/>
                      <a:pt x="889503" y="6540954"/>
                      <a:pt x="846442" y="6498594"/>
                    </a:cubicBezTo>
                    <a:cubicBezTo>
                      <a:pt x="862273" y="6487399"/>
                      <a:pt x="871751" y="6480449"/>
                      <a:pt x="881150" y="6473756"/>
                    </a:cubicBezTo>
                    <a:cubicBezTo>
                      <a:pt x="907245" y="6455292"/>
                      <a:pt x="930705" y="6407516"/>
                      <a:pt x="922470" y="6377035"/>
                    </a:cubicBezTo>
                    <a:cubicBezTo>
                      <a:pt x="910652" y="6332192"/>
                      <a:pt x="925705" y="6299028"/>
                      <a:pt x="955039" y="6268585"/>
                    </a:cubicBezTo>
                    <a:cubicBezTo>
                      <a:pt x="1003777" y="6217606"/>
                      <a:pt x="1017630" y="6148240"/>
                      <a:pt x="1024350" y="6083443"/>
                    </a:cubicBezTo>
                    <a:cubicBezTo>
                      <a:pt x="1029590" y="6034553"/>
                      <a:pt x="1028255" y="5980246"/>
                      <a:pt x="999696" y="5938416"/>
                    </a:cubicBezTo>
                    <a:cubicBezTo>
                      <a:pt x="990505" y="5925141"/>
                      <a:pt x="991039" y="5901884"/>
                      <a:pt x="988342" y="5882426"/>
                    </a:cubicBezTo>
                    <a:cubicBezTo>
                      <a:pt x="986229" y="5866254"/>
                      <a:pt x="984774" y="5849442"/>
                      <a:pt x="985444" y="5832438"/>
                    </a:cubicBezTo>
                    <a:cubicBezTo>
                      <a:pt x="986010" y="5814273"/>
                      <a:pt x="985042" y="5793656"/>
                      <a:pt x="992016" y="5777751"/>
                    </a:cubicBezTo>
                    <a:cubicBezTo>
                      <a:pt x="1012886" y="5729456"/>
                      <a:pt x="1014467" y="5686488"/>
                      <a:pt x="995028" y="5641832"/>
                    </a:cubicBezTo>
                    <a:cubicBezTo>
                      <a:pt x="984984" y="5618696"/>
                      <a:pt x="974301" y="5585771"/>
                      <a:pt x="981247" y="5562522"/>
                    </a:cubicBezTo>
                    <a:cubicBezTo>
                      <a:pt x="998041" y="5505913"/>
                      <a:pt x="997454" y="5454379"/>
                      <a:pt x="995131" y="5398075"/>
                    </a:cubicBezTo>
                    <a:cubicBezTo>
                      <a:pt x="993724" y="5361807"/>
                      <a:pt x="997229" y="5322258"/>
                      <a:pt x="997379" y="5283928"/>
                    </a:cubicBezTo>
                    <a:cubicBezTo>
                      <a:pt x="997473" y="5239095"/>
                      <a:pt x="1006631" y="5193105"/>
                      <a:pt x="979617" y="5157396"/>
                    </a:cubicBezTo>
                    <a:cubicBezTo>
                      <a:pt x="976728" y="5153402"/>
                      <a:pt x="978724" y="5144705"/>
                      <a:pt x="976441" y="5139485"/>
                    </a:cubicBezTo>
                    <a:cubicBezTo>
                      <a:pt x="969619" y="5122991"/>
                      <a:pt x="964828" y="5102888"/>
                      <a:pt x="953793" y="5091862"/>
                    </a:cubicBezTo>
                    <a:cubicBezTo>
                      <a:pt x="921506" y="5059884"/>
                      <a:pt x="886609" y="5031900"/>
                      <a:pt x="853056" y="5001787"/>
                    </a:cubicBezTo>
                    <a:cubicBezTo>
                      <a:pt x="845882" y="4995337"/>
                      <a:pt x="836325" y="4988437"/>
                      <a:pt x="833979" y="4978966"/>
                    </a:cubicBezTo>
                    <a:cubicBezTo>
                      <a:pt x="820602" y="4924328"/>
                      <a:pt x="808509" y="4869239"/>
                      <a:pt x="796995" y="4813768"/>
                    </a:cubicBezTo>
                    <a:cubicBezTo>
                      <a:pt x="792418" y="4791474"/>
                      <a:pt x="803209" y="4777314"/>
                      <a:pt x="820590" y="4764057"/>
                    </a:cubicBezTo>
                    <a:cubicBezTo>
                      <a:pt x="837188" y="4751123"/>
                      <a:pt x="855398" y="4734452"/>
                      <a:pt x="864688" y="4714752"/>
                    </a:cubicBezTo>
                    <a:cubicBezTo>
                      <a:pt x="883062" y="4675275"/>
                      <a:pt x="897521" y="4632902"/>
                      <a:pt x="910485" y="4590911"/>
                    </a:cubicBezTo>
                    <a:cubicBezTo>
                      <a:pt x="915338" y="4575199"/>
                      <a:pt x="912978" y="4556131"/>
                      <a:pt x="911445" y="4539571"/>
                    </a:cubicBezTo>
                    <a:cubicBezTo>
                      <a:pt x="908527" y="4508200"/>
                      <a:pt x="900999" y="4477659"/>
                      <a:pt x="900285" y="4445837"/>
                    </a:cubicBezTo>
                    <a:cubicBezTo>
                      <a:pt x="899539" y="4408923"/>
                      <a:pt x="887958" y="4383340"/>
                      <a:pt x="863237" y="4364703"/>
                    </a:cubicBezTo>
                    <a:cubicBezTo>
                      <a:pt x="826431" y="4336971"/>
                      <a:pt x="808536" y="4292507"/>
                      <a:pt x="798070" y="4243284"/>
                    </a:cubicBezTo>
                    <a:cubicBezTo>
                      <a:pt x="784617" y="4180721"/>
                      <a:pt x="805728" y="4117545"/>
                      <a:pt x="817097" y="4054750"/>
                    </a:cubicBezTo>
                    <a:cubicBezTo>
                      <a:pt x="821537" y="4030724"/>
                      <a:pt x="826632" y="4006057"/>
                      <a:pt x="826251" y="3982801"/>
                    </a:cubicBezTo>
                    <a:cubicBezTo>
                      <a:pt x="825347" y="3916709"/>
                      <a:pt x="825150" y="3850833"/>
                      <a:pt x="836848" y="3784939"/>
                    </a:cubicBezTo>
                    <a:lnTo>
                      <a:pt x="841285" y="3766755"/>
                    </a:lnTo>
                    <a:lnTo>
                      <a:pt x="841284" y="3766755"/>
                    </a:lnTo>
                    <a:lnTo>
                      <a:pt x="852925" y="3719034"/>
                    </a:lnTo>
                    <a:cubicBezTo>
                      <a:pt x="855152" y="3711822"/>
                      <a:pt x="856753" y="3704413"/>
                      <a:pt x="857932" y="3696880"/>
                    </a:cubicBezTo>
                    <a:cubicBezTo>
                      <a:pt x="868683" y="3631632"/>
                      <a:pt x="885300" y="3565939"/>
                      <a:pt x="853534" y="3507036"/>
                    </a:cubicBezTo>
                    <a:cubicBezTo>
                      <a:pt x="850623" y="3501622"/>
                      <a:pt x="849992" y="3494020"/>
                      <a:pt x="850226" y="3485839"/>
                    </a:cubicBezTo>
                    <a:close/>
                    <a:moveTo>
                      <a:pt x="0" y="0"/>
                    </a:moveTo>
                    <a:lnTo>
                      <a:pt x="455609" y="0"/>
                    </a:lnTo>
                    <a:lnTo>
                      <a:pt x="459171" y="72395"/>
                    </a:lnTo>
                    <a:cubicBezTo>
                      <a:pt x="459671" y="92301"/>
                      <a:pt x="456894" y="113171"/>
                      <a:pt x="460041" y="131917"/>
                    </a:cubicBezTo>
                    <a:cubicBezTo>
                      <a:pt x="474213" y="218122"/>
                      <a:pt x="492031" y="302910"/>
                      <a:pt x="504421" y="389691"/>
                    </a:cubicBezTo>
                    <a:cubicBezTo>
                      <a:pt x="517349" y="479177"/>
                      <a:pt x="539516" y="562489"/>
                      <a:pt x="582097" y="634609"/>
                    </a:cubicBezTo>
                    <a:cubicBezTo>
                      <a:pt x="621686" y="701573"/>
                      <a:pt x="662589" y="767248"/>
                      <a:pt x="702468" y="834019"/>
                    </a:cubicBezTo>
                    <a:cubicBezTo>
                      <a:pt x="712587" y="850968"/>
                      <a:pt x="725536" y="867665"/>
                      <a:pt x="729203" y="887701"/>
                    </a:cubicBezTo>
                    <a:cubicBezTo>
                      <a:pt x="736973" y="929321"/>
                      <a:pt x="740155" y="973193"/>
                      <a:pt x="743787" y="1016355"/>
                    </a:cubicBezTo>
                    <a:cubicBezTo>
                      <a:pt x="746786" y="1053398"/>
                      <a:pt x="745800" y="1091467"/>
                      <a:pt x="750083" y="1128060"/>
                    </a:cubicBezTo>
                    <a:cubicBezTo>
                      <a:pt x="753428" y="1157309"/>
                      <a:pt x="762038" y="1185083"/>
                      <a:pt x="768866" y="1213431"/>
                    </a:cubicBezTo>
                    <a:cubicBezTo>
                      <a:pt x="774767" y="1238107"/>
                      <a:pt x="778357" y="1264327"/>
                      <a:pt x="787802" y="1286432"/>
                    </a:cubicBezTo>
                    <a:cubicBezTo>
                      <a:pt x="810582" y="1340304"/>
                      <a:pt x="832653" y="1394242"/>
                      <a:pt x="842837" y="1455511"/>
                    </a:cubicBezTo>
                    <a:cubicBezTo>
                      <a:pt x="853049" y="1515944"/>
                      <a:pt x="867276" y="1574511"/>
                      <a:pt x="877988" y="1634814"/>
                    </a:cubicBezTo>
                    <a:cubicBezTo>
                      <a:pt x="888390" y="1693895"/>
                      <a:pt x="902813" y="1748857"/>
                      <a:pt x="941063" y="1789731"/>
                    </a:cubicBezTo>
                    <a:cubicBezTo>
                      <a:pt x="957906" y="1807908"/>
                      <a:pt x="975122" y="1831564"/>
                      <a:pt x="980124" y="1857657"/>
                    </a:cubicBezTo>
                    <a:cubicBezTo>
                      <a:pt x="987207" y="1894833"/>
                      <a:pt x="980788" y="1937150"/>
                      <a:pt x="984484" y="1976384"/>
                    </a:cubicBezTo>
                    <a:cubicBezTo>
                      <a:pt x="988781" y="2022576"/>
                      <a:pt x="988793" y="2074493"/>
                      <a:pt x="1007189" y="2110650"/>
                    </a:cubicBezTo>
                    <a:cubicBezTo>
                      <a:pt x="1023612" y="2142809"/>
                      <a:pt x="1034723" y="2173610"/>
                      <a:pt x="1039893" y="2211041"/>
                    </a:cubicBezTo>
                    <a:cubicBezTo>
                      <a:pt x="1043484" y="2237261"/>
                      <a:pt x="1057690" y="2260269"/>
                      <a:pt x="1059162" y="2286682"/>
                    </a:cubicBezTo>
                    <a:cubicBezTo>
                      <a:pt x="1061252" y="2321469"/>
                      <a:pt x="1060754" y="2355740"/>
                      <a:pt x="1070522" y="2388667"/>
                    </a:cubicBezTo>
                    <a:cubicBezTo>
                      <a:pt x="1080600" y="2422815"/>
                      <a:pt x="1085513" y="2459602"/>
                      <a:pt x="1093939" y="2494653"/>
                    </a:cubicBezTo>
                    <a:cubicBezTo>
                      <a:pt x="1098500" y="2513273"/>
                      <a:pt x="1106866" y="2529964"/>
                      <a:pt x="1112007" y="2548197"/>
                    </a:cubicBezTo>
                    <a:cubicBezTo>
                      <a:pt x="1121409" y="2581573"/>
                      <a:pt x="1130232" y="2615336"/>
                      <a:pt x="1138346" y="2649163"/>
                    </a:cubicBezTo>
                    <a:cubicBezTo>
                      <a:pt x="1146465" y="2682988"/>
                      <a:pt x="1157699" y="2716368"/>
                      <a:pt x="1160337" y="2751608"/>
                    </a:cubicBezTo>
                    <a:cubicBezTo>
                      <a:pt x="1164714" y="2811646"/>
                      <a:pt x="1159211" y="2873999"/>
                      <a:pt x="1165737" y="2933012"/>
                    </a:cubicBezTo>
                    <a:cubicBezTo>
                      <a:pt x="1172445" y="2992925"/>
                      <a:pt x="1185964" y="3051556"/>
                      <a:pt x="1202029" y="3107873"/>
                    </a:cubicBezTo>
                    <a:cubicBezTo>
                      <a:pt x="1214635" y="3152396"/>
                      <a:pt x="1227749" y="3194534"/>
                      <a:pt x="1225692" y="3244974"/>
                    </a:cubicBezTo>
                    <a:cubicBezTo>
                      <a:pt x="1224565" y="3273123"/>
                      <a:pt x="1231196" y="3305079"/>
                      <a:pt x="1243916" y="3326221"/>
                    </a:cubicBezTo>
                    <a:cubicBezTo>
                      <a:pt x="1271701" y="3372044"/>
                      <a:pt x="1285247" y="3423911"/>
                      <a:pt x="1293067" y="3480219"/>
                    </a:cubicBezTo>
                    <a:lnTo>
                      <a:pt x="1308071" y="3585182"/>
                    </a:lnTo>
                    <a:lnTo>
                      <a:pt x="1295962" y="3584708"/>
                    </a:lnTo>
                    <a:cubicBezTo>
                      <a:pt x="1237754" y="3586303"/>
                      <a:pt x="1180629" y="3594888"/>
                      <a:pt x="1118893" y="3568330"/>
                    </a:cubicBezTo>
                    <a:cubicBezTo>
                      <a:pt x="1113435" y="3565936"/>
                      <a:pt x="1102517" y="3567964"/>
                      <a:pt x="1094179" y="3567566"/>
                    </a:cubicBezTo>
                    <a:cubicBezTo>
                      <a:pt x="1027548" y="3564029"/>
                      <a:pt x="967064" y="3547281"/>
                      <a:pt x="922719" y="3516472"/>
                    </a:cubicBezTo>
                    <a:cubicBezTo>
                      <a:pt x="908178" y="3506414"/>
                      <a:pt x="892942" y="3497984"/>
                      <a:pt x="877028" y="3490955"/>
                    </a:cubicBezTo>
                    <a:lnTo>
                      <a:pt x="850533" y="3481837"/>
                    </a:lnTo>
                    <a:lnTo>
                      <a:pt x="852113" y="3461170"/>
                    </a:lnTo>
                    <a:cubicBezTo>
                      <a:pt x="854391" y="3434500"/>
                      <a:pt x="848474" y="3414331"/>
                      <a:pt x="831383" y="3399179"/>
                    </a:cubicBezTo>
                    <a:cubicBezTo>
                      <a:pt x="801767" y="3373388"/>
                      <a:pt x="773654" y="3344957"/>
                      <a:pt x="743141" y="3320580"/>
                    </a:cubicBezTo>
                    <a:cubicBezTo>
                      <a:pt x="722236" y="3303685"/>
                      <a:pt x="714543" y="3281842"/>
                      <a:pt x="713221" y="3251241"/>
                    </a:cubicBezTo>
                    <a:cubicBezTo>
                      <a:pt x="712555" y="3234106"/>
                      <a:pt x="704768" y="3217029"/>
                      <a:pt x="697098" y="3202528"/>
                    </a:cubicBezTo>
                    <a:cubicBezTo>
                      <a:pt x="687845" y="3184997"/>
                      <a:pt x="672212" y="3172554"/>
                      <a:pt x="664820" y="3154190"/>
                    </a:cubicBezTo>
                    <a:cubicBezTo>
                      <a:pt x="646169" y="3109209"/>
                      <a:pt x="616744" y="3087991"/>
                      <a:pt x="572501" y="3087312"/>
                    </a:cubicBezTo>
                    <a:cubicBezTo>
                      <a:pt x="533259" y="3086763"/>
                      <a:pt x="493731" y="3044085"/>
                      <a:pt x="497703" y="3005243"/>
                    </a:cubicBezTo>
                    <a:cubicBezTo>
                      <a:pt x="502030" y="2962279"/>
                      <a:pt x="490540" y="2928257"/>
                      <a:pt x="476984" y="2892751"/>
                    </a:cubicBezTo>
                    <a:cubicBezTo>
                      <a:pt x="469363" y="2872905"/>
                      <a:pt x="465404" y="2847135"/>
                      <a:pt x="468947" y="2824527"/>
                    </a:cubicBezTo>
                    <a:cubicBezTo>
                      <a:pt x="482188" y="2738605"/>
                      <a:pt x="520979" y="2665650"/>
                      <a:pt x="569138" y="2595026"/>
                    </a:cubicBezTo>
                    <a:cubicBezTo>
                      <a:pt x="600577" y="2548865"/>
                      <a:pt x="622260" y="2493483"/>
                      <a:pt x="645397" y="2440808"/>
                    </a:cubicBezTo>
                    <a:cubicBezTo>
                      <a:pt x="652529" y="2424387"/>
                      <a:pt x="655029" y="2401457"/>
                      <a:pt x="651820" y="2384384"/>
                    </a:cubicBezTo>
                    <a:cubicBezTo>
                      <a:pt x="640949" y="2324596"/>
                      <a:pt x="629163" y="2264805"/>
                      <a:pt x="612994" y="2207332"/>
                    </a:cubicBezTo>
                    <a:cubicBezTo>
                      <a:pt x="597678" y="2153787"/>
                      <a:pt x="601053" y="2099808"/>
                      <a:pt x="620894" y="2046679"/>
                    </a:cubicBezTo>
                    <a:cubicBezTo>
                      <a:pt x="635367" y="2007977"/>
                      <a:pt x="641110" y="1970814"/>
                      <a:pt x="644614" y="1931265"/>
                    </a:cubicBezTo>
                    <a:cubicBezTo>
                      <a:pt x="647465" y="1898285"/>
                      <a:pt x="653360" y="1862859"/>
                      <a:pt x="665994" y="1832337"/>
                    </a:cubicBezTo>
                    <a:cubicBezTo>
                      <a:pt x="683779" y="1789578"/>
                      <a:pt x="688928" y="1751381"/>
                      <a:pt x="678276" y="1709437"/>
                    </a:cubicBezTo>
                    <a:cubicBezTo>
                      <a:pt x="672576" y="1687079"/>
                      <a:pt x="673987" y="1660990"/>
                      <a:pt x="672955" y="1636123"/>
                    </a:cubicBezTo>
                    <a:cubicBezTo>
                      <a:pt x="671272" y="1597795"/>
                      <a:pt x="671867" y="1558758"/>
                      <a:pt x="668480" y="1520749"/>
                    </a:cubicBezTo>
                    <a:cubicBezTo>
                      <a:pt x="665050" y="1479903"/>
                      <a:pt x="655019" y="1440408"/>
                      <a:pt x="653920" y="1399437"/>
                    </a:cubicBezTo>
                    <a:cubicBezTo>
                      <a:pt x="652652" y="1355309"/>
                      <a:pt x="639893" y="1323154"/>
                      <a:pt x="612686" y="1296979"/>
                    </a:cubicBezTo>
                    <a:cubicBezTo>
                      <a:pt x="595576" y="1280408"/>
                      <a:pt x="578401" y="1259588"/>
                      <a:pt x="570220" y="1235618"/>
                    </a:cubicBezTo>
                    <a:cubicBezTo>
                      <a:pt x="553631" y="1186194"/>
                      <a:pt x="545669" y="1131821"/>
                      <a:pt x="529736" y="1081752"/>
                    </a:cubicBezTo>
                    <a:cubicBezTo>
                      <a:pt x="507466" y="1011390"/>
                      <a:pt x="481332" y="944631"/>
                      <a:pt x="414305" y="918292"/>
                    </a:cubicBezTo>
                    <a:cubicBezTo>
                      <a:pt x="377314" y="903769"/>
                      <a:pt x="368843" y="874065"/>
                      <a:pt x="373924" y="825689"/>
                    </a:cubicBezTo>
                    <a:cubicBezTo>
                      <a:pt x="375689" y="809590"/>
                      <a:pt x="376722" y="786203"/>
                      <a:pt x="368949" y="778726"/>
                    </a:cubicBezTo>
                    <a:cubicBezTo>
                      <a:pt x="345838" y="756354"/>
                      <a:pt x="349308" y="725824"/>
                      <a:pt x="347020" y="694643"/>
                    </a:cubicBezTo>
                    <a:cubicBezTo>
                      <a:pt x="345704" y="675894"/>
                      <a:pt x="339306" y="651346"/>
                      <a:pt x="327478" y="642898"/>
                    </a:cubicBezTo>
                    <a:cubicBezTo>
                      <a:pt x="279698" y="608395"/>
                      <a:pt x="263590" y="549247"/>
                      <a:pt x="243468" y="491960"/>
                    </a:cubicBezTo>
                    <a:cubicBezTo>
                      <a:pt x="237433" y="475142"/>
                      <a:pt x="230250" y="456843"/>
                      <a:pt x="218930" y="446010"/>
                    </a:cubicBezTo>
                    <a:cubicBezTo>
                      <a:pt x="194433" y="422927"/>
                      <a:pt x="180036" y="395344"/>
                      <a:pt x="180614" y="354892"/>
                    </a:cubicBezTo>
                    <a:cubicBezTo>
                      <a:pt x="180923" y="342010"/>
                      <a:pt x="176523" y="328798"/>
                      <a:pt x="171988" y="317521"/>
                    </a:cubicBezTo>
                    <a:cubicBezTo>
                      <a:pt x="162052" y="293291"/>
                      <a:pt x="148442" y="271315"/>
                      <a:pt x="139875" y="246378"/>
                    </a:cubicBezTo>
                    <a:cubicBezTo>
                      <a:pt x="117577" y="182780"/>
                      <a:pt x="95749" y="119890"/>
                      <a:pt x="51499" y="73211"/>
                    </a:cubicBezTo>
                    <a:cubicBezTo>
                      <a:pt x="40691" y="61834"/>
                      <a:pt x="29467" y="49763"/>
                      <a:pt x="19690" y="3662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3CA5C733-38F9-4D36-A78D-0AB08CCBB5A5}"/>
                  </a:ext>
                  <a:ext uri="{C183D7F6-B498-43B3-948B-1728B52AA6E4}">
                    <adec:decorative xmlns:adec="http://schemas.microsoft.com/office/drawing/2017/decorative" xmlns="" val="1"/>
                  </a:ext>
                </a:extLst>
              </p:cNvPr>
              <p:cNvSpPr/>
              <p:nvPr>
                <p:extLst>
                  <p:ext uri="{386F3935-93C4-4BCD-93E2-E3B085C9AB24}">
                    <p16:designElem xmlns:p16="http://schemas.microsoft.com/office/powerpoint/2015/main" val="1"/>
                  </p:ext>
                </p:extLst>
              </p:nvPr>
            </p:nvSpPr>
            <p:spPr>
              <a:xfrm>
                <a:off x="2748588" y="0"/>
                <a:ext cx="1339053" cy="6858000"/>
              </a:xfrm>
              <a:custGeom>
                <a:avLst/>
                <a:gdLst>
                  <a:gd name="connsiteX0" fmla="*/ 850532 w 1339053"/>
                  <a:gd name="connsiteY0" fmla="*/ 3481838 h 6858000"/>
                  <a:gd name="connsiteX1" fmla="*/ 877027 w 1339053"/>
                  <a:gd name="connsiteY1" fmla="*/ 3490955 h 6858000"/>
                  <a:gd name="connsiteX2" fmla="*/ 922718 w 1339053"/>
                  <a:gd name="connsiteY2" fmla="*/ 3516472 h 6858000"/>
                  <a:gd name="connsiteX3" fmla="*/ 1094179 w 1339053"/>
                  <a:gd name="connsiteY3" fmla="*/ 3567567 h 6858000"/>
                  <a:gd name="connsiteX4" fmla="*/ 1118891 w 1339053"/>
                  <a:gd name="connsiteY4" fmla="*/ 3568331 h 6858000"/>
                  <a:gd name="connsiteX5" fmla="*/ 1295961 w 1339053"/>
                  <a:gd name="connsiteY5" fmla="*/ 3584709 h 6858000"/>
                  <a:gd name="connsiteX6" fmla="*/ 1308070 w 1339053"/>
                  <a:gd name="connsiteY6" fmla="*/ 3585183 h 6858000"/>
                  <a:gd name="connsiteX7" fmla="*/ 1325263 w 1339053"/>
                  <a:gd name="connsiteY7" fmla="*/ 3705453 h 6858000"/>
                  <a:gd name="connsiteX8" fmla="*/ 1334107 w 1339053"/>
                  <a:gd name="connsiteY8" fmla="*/ 3772268 h 6858000"/>
                  <a:gd name="connsiteX9" fmla="*/ 1338203 w 1339053"/>
                  <a:gd name="connsiteY9" fmla="*/ 3831076 h 6858000"/>
                  <a:gd name="connsiteX10" fmla="*/ 1338805 w 1339053"/>
                  <a:gd name="connsiteY10" fmla="*/ 3839709 h 6858000"/>
                  <a:gd name="connsiteX11" fmla="*/ 1335635 w 1339053"/>
                  <a:gd name="connsiteY11" fmla="*/ 4118635 h 6858000"/>
                  <a:gd name="connsiteX12" fmla="*/ 1337171 w 1339053"/>
                  <a:gd name="connsiteY12" fmla="*/ 4209403 h 6858000"/>
                  <a:gd name="connsiteX13" fmla="*/ 1325840 w 1339053"/>
                  <a:gd name="connsiteY13" fmla="*/ 4309174 h 6858000"/>
                  <a:gd name="connsiteX14" fmla="*/ 1321122 w 1339053"/>
                  <a:gd name="connsiteY14" fmla="*/ 4473630 h 6858000"/>
                  <a:gd name="connsiteX15" fmla="*/ 1302196 w 1339053"/>
                  <a:gd name="connsiteY15" fmla="*/ 4791709 h 6858000"/>
                  <a:gd name="connsiteX16" fmla="*/ 1293239 w 1339053"/>
                  <a:gd name="connsiteY16" fmla="*/ 4860048 h 6858000"/>
                  <a:gd name="connsiteX17" fmla="*/ 1288829 w 1339053"/>
                  <a:gd name="connsiteY17" fmla="*/ 5039837 h 6858000"/>
                  <a:gd name="connsiteX18" fmla="*/ 1289584 w 1339053"/>
                  <a:gd name="connsiteY18" fmla="*/ 5148703 h 6858000"/>
                  <a:gd name="connsiteX19" fmla="*/ 1282205 w 1339053"/>
                  <a:gd name="connsiteY19" fmla="*/ 5236435 h 6858000"/>
                  <a:gd name="connsiteX20" fmla="*/ 1268145 w 1339053"/>
                  <a:gd name="connsiteY20" fmla="*/ 5311662 h 6858000"/>
                  <a:gd name="connsiteX21" fmla="*/ 1250547 w 1339053"/>
                  <a:gd name="connsiteY21" fmla="*/ 5515595 h 6858000"/>
                  <a:gd name="connsiteX22" fmla="*/ 1243323 w 1339053"/>
                  <a:gd name="connsiteY22" fmla="*/ 5596885 h 6858000"/>
                  <a:gd name="connsiteX23" fmla="*/ 1238303 w 1339053"/>
                  <a:gd name="connsiteY23" fmla="*/ 5812036 h 6858000"/>
                  <a:gd name="connsiteX24" fmla="*/ 1223551 w 1339053"/>
                  <a:gd name="connsiteY24" fmla="*/ 5991171 h 6858000"/>
                  <a:gd name="connsiteX25" fmla="*/ 1219699 w 1339053"/>
                  <a:gd name="connsiteY25" fmla="*/ 6066726 h 6858000"/>
                  <a:gd name="connsiteX26" fmla="*/ 1199935 w 1339053"/>
                  <a:gd name="connsiteY26" fmla="*/ 6236130 h 6858000"/>
                  <a:gd name="connsiteX27" fmla="*/ 1192857 w 1339053"/>
                  <a:gd name="connsiteY27" fmla="*/ 6333267 h 6858000"/>
                  <a:gd name="connsiteX28" fmla="*/ 1148174 w 1339053"/>
                  <a:gd name="connsiteY28" fmla="*/ 6561849 h 6858000"/>
                  <a:gd name="connsiteX29" fmla="*/ 1100424 w 1339053"/>
                  <a:gd name="connsiteY29" fmla="*/ 6797385 h 6858000"/>
                  <a:gd name="connsiteX30" fmla="*/ 1085621 w 1339053"/>
                  <a:gd name="connsiteY30" fmla="*/ 6858000 h 6858000"/>
                  <a:gd name="connsiteX31" fmla="*/ 932341 w 1339053"/>
                  <a:gd name="connsiteY31" fmla="*/ 6858000 h 6858000"/>
                  <a:gd name="connsiteX32" fmla="*/ 944496 w 1339053"/>
                  <a:gd name="connsiteY32" fmla="*/ 6829656 h 6858000"/>
                  <a:gd name="connsiteX33" fmla="*/ 913239 w 1339053"/>
                  <a:gd name="connsiteY33" fmla="*/ 6720119 h 6858000"/>
                  <a:gd name="connsiteX34" fmla="*/ 870682 w 1339053"/>
                  <a:gd name="connsiteY34" fmla="*/ 6655346 h 6858000"/>
                  <a:gd name="connsiteX35" fmla="*/ 846442 w 1339053"/>
                  <a:gd name="connsiteY35" fmla="*/ 6498594 h 6858000"/>
                  <a:gd name="connsiteX36" fmla="*/ 881150 w 1339053"/>
                  <a:gd name="connsiteY36" fmla="*/ 6473756 h 6858000"/>
                  <a:gd name="connsiteX37" fmla="*/ 922470 w 1339053"/>
                  <a:gd name="connsiteY37" fmla="*/ 6377035 h 6858000"/>
                  <a:gd name="connsiteX38" fmla="*/ 955039 w 1339053"/>
                  <a:gd name="connsiteY38" fmla="*/ 6268585 h 6858000"/>
                  <a:gd name="connsiteX39" fmla="*/ 1024350 w 1339053"/>
                  <a:gd name="connsiteY39" fmla="*/ 6083443 h 6858000"/>
                  <a:gd name="connsiteX40" fmla="*/ 999696 w 1339053"/>
                  <a:gd name="connsiteY40" fmla="*/ 5938416 h 6858000"/>
                  <a:gd name="connsiteX41" fmla="*/ 988342 w 1339053"/>
                  <a:gd name="connsiteY41" fmla="*/ 5882426 h 6858000"/>
                  <a:gd name="connsiteX42" fmla="*/ 985444 w 1339053"/>
                  <a:gd name="connsiteY42" fmla="*/ 5832438 h 6858000"/>
                  <a:gd name="connsiteX43" fmla="*/ 992016 w 1339053"/>
                  <a:gd name="connsiteY43" fmla="*/ 5777751 h 6858000"/>
                  <a:gd name="connsiteX44" fmla="*/ 995028 w 1339053"/>
                  <a:gd name="connsiteY44" fmla="*/ 5641832 h 6858000"/>
                  <a:gd name="connsiteX45" fmla="*/ 981247 w 1339053"/>
                  <a:gd name="connsiteY45" fmla="*/ 5562522 h 6858000"/>
                  <a:gd name="connsiteX46" fmla="*/ 995131 w 1339053"/>
                  <a:gd name="connsiteY46" fmla="*/ 5398075 h 6858000"/>
                  <a:gd name="connsiteX47" fmla="*/ 997379 w 1339053"/>
                  <a:gd name="connsiteY47" fmla="*/ 5283928 h 6858000"/>
                  <a:gd name="connsiteX48" fmla="*/ 979617 w 1339053"/>
                  <a:gd name="connsiteY48" fmla="*/ 5157396 h 6858000"/>
                  <a:gd name="connsiteX49" fmla="*/ 976441 w 1339053"/>
                  <a:gd name="connsiteY49" fmla="*/ 5139485 h 6858000"/>
                  <a:gd name="connsiteX50" fmla="*/ 953793 w 1339053"/>
                  <a:gd name="connsiteY50" fmla="*/ 5091862 h 6858000"/>
                  <a:gd name="connsiteX51" fmla="*/ 853056 w 1339053"/>
                  <a:gd name="connsiteY51" fmla="*/ 5001787 h 6858000"/>
                  <a:gd name="connsiteX52" fmla="*/ 833979 w 1339053"/>
                  <a:gd name="connsiteY52" fmla="*/ 4978966 h 6858000"/>
                  <a:gd name="connsiteX53" fmla="*/ 796995 w 1339053"/>
                  <a:gd name="connsiteY53" fmla="*/ 4813768 h 6858000"/>
                  <a:gd name="connsiteX54" fmla="*/ 820590 w 1339053"/>
                  <a:gd name="connsiteY54" fmla="*/ 4764057 h 6858000"/>
                  <a:gd name="connsiteX55" fmla="*/ 864688 w 1339053"/>
                  <a:gd name="connsiteY55" fmla="*/ 4714752 h 6858000"/>
                  <a:gd name="connsiteX56" fmla="*/ 910485 w 1339053"/>
                  <a:gd name="connsiteY56" fmla="*/ 4590911 h 6858000"/>
                  <a:gd name="connsiteX57" fmla="*/ 911445 w 1339053"/>
                  <a:gd name="connsiteY57" fmla="*/ 4539571 h 6858000"/>
                  <a:gd name="connsiteX58" fmla="*/ 900285 w 1339053"/>
                  <a:gd name="connsiteY58" fmla="*/ 4445837 h 6858000"/>
                  <a:gd name="connsiteX59" fmla="*/ 863237 w 1339053"/>
                  <a:gd name="connsiteY59" fmla="*/ 4364703 h 6858000"/>
                  <a:gd name="connsiteX60" fmla="*/ 798070 w 1339053"/>
                  <a:gd name="connsiteY60" fmla="*/ 4243284 h 6858000"/>
                  <a:gd name="connsiteX61" fmla="*/ 817097 w 1339053"/>
                  <a:gd name="connsiteY61" fmla="*/ 4054750 h 6858000"/>
                  <a:gd name="connsiteX62" fmla="*/ 826251 w 1339053"/>
                  <a:gd name="connsiteY62" fmla="*/ 3982801 h 6858000"/>
                  <a:gd name="connsiteX63" fmla="*/ 836848 w 1339053"/>
                  <a:gd name="connsiteY63" fmla="*/ 3784939 h 6858000"/>
                  <a:gd name="connsiteX64" fmla="*/ 841285 w 1339053"/>
                  <a:gd name="connsiteY64" fmla="*/ 3766755 h 6858000"/>
                  <a:gd name="connsiteX65" fmla="*/ 841284 w 1339053"/>
                  <a:gd name="connsiteY65" fmla="*/ 3766755 h 6858000"/>
                  <a:gd name="connsiteX66" fmla="*/ 852925 w 1339053"/>
                  <a:gd name="connsiteY66" fmla="*/ 3719034 h 6858000"/>
                  <a:gd name="connsiteX67" fmla="*/ 857932 w 1339053"/>
                  <a:gd name="connsiteY67" fmla="*/ 3696880 h 6858000"/>
                  <a:gd name="connsiteX68" fmla="*/ 853534 w 1339053"/>
                  <a:gd name="connsiteY68" fmla="*/ 3507036 h 6858000"/>
                  <a:gd name="connsiteX69" fmla="*/ 850226 w 1339053"/>
                  <a:gd name="connsiteY69" fmla="*/ 3485839 h 6858000"/>
                  <a:gd name="connsiteX70" fmla="*/ 0 w 1339053"/>
                  <a:gd name="connsiteY70" fmla="*/ 0 h 6858000"/>
                  <a:gd name="connsiteX71" fmla="*/ 455609 w 1339053"/>
                  <a:gd name="connsiteY71" fmla="*/ 0 h 6858000"/>
                  <a:gd name="connsiteX72" fmla="*/ 459171 w 1339053"/>
                  <a:gd name="connsiteY72" fmla="*/ 72395 h 6858000"/>
                  <a:gd name="connsiteX73" fmla="*/ 460041 w 1339053"/>
                  <a:gd name="connsiteY73" fmla="*/ 131917 h 6858000"/>
                  <a:gd name="connsiteX74" fmla="*/ 504421 w 1339053"/>
                  <a:gd name="connsiteY74" fmla="*/ 389691 h 6858000"/>
                  <a:gd name="connsiteX75" fmla="*/ 582097 w 1339053"/>
                  <a:gd name="connsiteY75" fmla="*/ 634609 h 6858000"/>
                  <a:gd name="connsiteX76" fmla="*/ 702468 w 1339053"/>
                  <a:gd name="connsiteY76" fmla="*/ 834019 h 6858000"/>
                  <a:gd name="connsiteX77" fmla="*/ 729203 w 1339053"/>
                  <a:gd name="connsiteY77" fmla="*/ 887701 h 6858000"/>
                  <a:gd name="connsiteX78" fmla="*/ 743787 w 1339053"/>
                  <a:gd name="connsiteY78" fmla="*/ 1016355 h 6858000"/>
                  <a:gd name="connsiteX79" fmla="*/ 750083 w 1339053"/>
                  <a:gd name="connsiteY79" fmla="*/ 1128060 h 6858000"/>
                  <a:gd name="connsiteX80" fmla="*/ 768866 w 1339053"/>
                  <a:gd name="connsiteY80" fmla="*/ 1213431 h 6858000"/>
                  <a:gd name="connsiteX81" fmla="*/ 787802 w 1339053"/>
                  <a:gd name="connsiteY81" fmla="*/ 1286432 h 6858000"/>
                  <a:gd name="connsiteX82" fmla="*/ 842837 w 1339053"/>
                  <a:gd name="connsiteY82" fmla="*/ 1455511 h 6858000"/>
                  <a:gd name="connsiteX83" fmla="*/ 877988 w 1339053"/>
                  <a:gd name="connsiteY83" fmla="*/ 1634814 h 6858000"/>
                  <a:gd name="connsiteX84" fmla="*/ 941063 w 1339053"/>
                  <a:gd name="connsiteY84" fmla="*/ 1789731 h 6858000"/>
                  <a:gd name="connsiteX85" fmla="*/ 980124 w 1339053"/>
                  <a:gd name="connsiteY85" fmla="*/ 1857657 h 6858000"/>
                  <a:gd name="connsiteX86" fmla="*/ 984484 w 1339053"/>
                  <a:gd name="connsiteY86" fmla="*/ 1976384 h 6858000"/>
                  <a:gd name="connsiteX87" fmla="*/ 1007189 w 1339053"/>
                  <a:gd name="connsiteY87" fmla="*/ 2110650 h 6858000"/>
                  <a:gd name="connsiteX88" fmla="*/ 1039893 w 1339053"/>
                  <a:gd name="connsiteY88" fmla="*/ 2211041 h 6858000"/>
                  <a:gd name="connsiteX89" fmla="*/ 1059162 w 1339053"/>
                  <a:gd name="connsiteY89" fmla="*/ 2286682 h 6858000"/>
                  <a:gd name="connsiteX90" fmla="*/ 1070522 w 1339053"/>
                  <a:gd name="connsiteY90" fmla="*/ 2388667 h 6858000"/>
                  <a:gd name="connsiteX91" fmla="*/ 1093939 w 1339053"/>
                  <a:gd name="connsiteY91" fmla="*/ 2494653 h 6858000"/>
                  <a:gd name="connsiteX92" fmla="*/ 1112007 w 1339053"/>
                  <a:gd name="connsiteY92" fmla="*/ 2548197 h 6858000"/>
                  <a:gd name="connsiteX93" fmla="*/ 1138346 w 1339053"/>
                  <a:gd name="connsiteY93" fmla="*/ 2649163 h 6858000"/>
                  <a:gd name="connsiteX94" fmla="*/ 1160337 w 1339053"/>
                  <a:gd name="connsiteY94" fmla="*/ 2751608 h 6858000"/>
                  <a:gd name="connsiteX95" fmla="*/ 1165737 w 1339053"/>
                  <a:gd name="connsiteY95" fmla="*/ 2933012 h 6858000"/>
                  <a:gd name="connsiteX96" fmla="*/ 1202029 w 1339053"/>
                  <a:gd name="connsiteY96" fmla="*/ 3107873 h 6858000"/>
                  <a:gd name="connsiteX97" fmla="*/ 1225692 w 1339053"/>
                  <a:gd name="connsiteY97" fmla="*/ 3244974 h 6858000"/>
                  <a:gd name="connsiteX98" fmla="*/ 1243916 w 1339053"/>
                  <a:gd name="connsiteY98" fmla="*/ 3326221 h 6858000"/>
                  <a:gd name="connsiteX99" fmla="*/ 1293067 w 1339053"/>
                  <a:gd name="connsiteY99" fmla="*/ 3480219 h 6858000"/>
                  <a:gd name="connsiteX100" fmla="*/ 1308071 w 1339053"/>
                  <a:gd name="connsiteY100" fmla="*/ 3585182 h 6858000"/>
                  <a:gd name="connsiteX101" fmla="*/ 1295962 w 1339053"/>
                  <a:gd name="connsiteY101" fmla="*/ 3584708 h 6858000"/>
                  <a:gd name="connsiteX102" fmla="*/ 1118893 w 1339053"/>
                  <a:gd name="connsiteY102" fmla="*/ 3568330 h 6858000"/>
                  <a:gd name="connsiteX103" fmla="*/ 1094179 w 1339053"/>
                  <a:gd name="connsiteY103" fmla="*/ 3567566 h 6858000"/>
                  <a:gd name="connsiteX104" fmla="*/ 922719 w 1339053"/>
                  <a:gd name="connsiteY104" fmla="*/ 3516472 h 6858000"/>
                  <a:gd name="connsiteX105" fmla="*/ 877028 w 1339053"/>
                  <a:gd name="connsiteY105" fmla="*/ 3490955 h 6858000"/>
                  <a:gd name="connsiteX106" fmla="*/ 850533 w 1339053"/>
                  <a:gd name="connsiteY106" fmla="*/ 3481837 h 6858000"/>
                  <a:gd name="connsiteX107" fmla="*/ 852113 w 1339053"/>
                  <a:gd name="connsiteY107" fmla="*/ 3461170 h 6858000"/>
                  <a:gd name="connsiteX108" fmla="*/ 831383 w 1339053"/>
                  <a:gd name="connsiteY108" fmla="*/ 3399179 h 6858000"/>
                  <a:gd name="connsiteX109" fmla="*/ 743141 w 1339053"/>
                  <a:gd name="connsiteY109" fmla="*/ 3320580 h 6858000"/>
                  <a:gd name="connsiteX110" fmla="*/ 713221 w 1339053"/>
                  <a:gd name="connsiteY110" fmla="*/ 3251241 h 6858000"/>
                  <a:gd name="connsiteX111" fmla="*/ 697098 w 1339053"/>
                  <a:gd name="connsiteY111" fmla="*/ 3202528 h 6858000"/>
                  <a:gd name="connsiteX112" fmla="*/ 664820 w 1339053"/>
                  <a:gd name="connsiteY112" fmla="*/ 3154190 h 6858000"/>
                  <a:gd name="connsiteX113" fmla="*/ 572501 w 1339053"/>
                  <a:gd name="connsiteY113" fmla="*/ 3087312 h 6858000"/>
                  <a:gd name="connsiteX114" fmla="*/ 497703 w 1339053"/>
                  <a:gd name="connsiteY114" fmla="*/ 3005243 h 6858000"/>
                  <a:gd name="connsiteX115" fmla="*/ 476984 w 1339053"/>
                  <a:gd name="connsiteY115" fmla="*/ 2892751 h 6858000"/>
                  <a:gd name="connsiteX116" fmla="*/ 468947 w 1339053"/>
                  <a:gd name="connsiteY116" fmla="*/ 2824527 h 6858000"/>
                  <a:gd name="connsiteX117" fmla="*/ 569138 w 1339053"/>
                  <a:gd name="connsiteY117" fmla="*/ 2595026 h 6858000"/>
                  <a:gd name="connsiteX118" fmla="*/ 645397 w 1339053"/>
                  <a:gd name="connsiteY118" fmla="*/ 2440808 h 6858000"/>
                  <a:gd name="connsiteX119" fmla="*/ 651820 w 1339053"/>
                  <a:gd name="connsiteY119" fmla="*/ 2384384 h 6858000"/>
                  <a:gd name="connsiteX120" fmla="*/ 612994 w 1339053"/>
                  <a:gd name="connsiteY120" fmla="*/ 2207332 h 6858000"/>
                  <a:gd name="connsiteX121" fmla="*/ 620894 w 1339053"/>
                  <a:gd name="connsiteY121" fmla="*/ 2046679 h 6858000"/>
                  <a:gd name="connsiteX122" fmla="*/ 644614 w 1339053"/>
                  <a:gd name="connsiteY122" fmla="*/ 1931265 h 6858000"/>
                  <a:gd name="connsiteX123" fmla="*/ 665994 w 1339053"/>
                  <a:gd name="connsiteY123" fmla="*/ 1832337 h 6858000"/>
                  <a:gd name="connsiteX124" fmla="*/ 678276 w 1339053"/>
                  <a:gd name="connsiteY124" fmla="*/ 1709437 h 6858000"/>
                  <a:gd name="connsiteX125" fmla="*/ 672955 w 1339053"/>
                  <a:gd name="connsiteY125" fmla="*/ 1636123 h 6858000"/>
                  <a:gd name="connsiteX126" fmla="*/ 668480 w 1339053"/>
                  <a:gd name="connsiteY126" fmla="*/ 1520749 h 6858000"/>
                  <a:gd name="connsiteX127" fmla="*/ 653920 w 1339053"/>
                  <a:gd name="connsiteY127" fmla="*/ 1399437 h 6858000"/>
                  <a:gd name="connsiteX128" fmla="*/ 612686 w 1339053"/>
                  <a:gd name="connsiteY128" fmla="*/ 1296979 h 6858000"/>
                  <a:gd name="connsiteX129" fmla="*/ 570220 w 1339053"/>
                  <a:gd name="connsiteY129" fmla="*/ 1235618 h 6858000"/>
                  <a:gd name="connsiteX130" fmla="*/ 529736 w 1339053"/>
                  <a:gd name="connsiteY130" fmla="*/ 1081752 h 6858000"/>
                  <a:gd name="connsiteX131" fmla="*/ 414305 w 1339053"/>
                  <a:gd name="connsiteY131" fmla="*/ 918292 h 6858000"/>
                  <a:gd name="connsiteX132" fmla="*/ 373924 w 1339053"/>
                  <a:gd name="connsiteY132" fmla="*/ 825689 h 6858000"/>
                  <a:gd name="connsiteX133" fmla="*/ 368949 w 1339053"/>
                  <a:gd name="connsiteY133" fmla="*/ 778726 h 6858000"/>
                  <a:gd name="connsiteX134" fmla="*/ 347020 w 1339053"/>
                  <a:gd name="connsiteY134" fmla="*/ 694643 h 6858000"/>
                  <a:gd name="connsiteX135" fmla="*/ 327478 w 1339053"/>
                  <a:gd name="connsiteY135" fmla="*/ 642898 h 6858000"/>
                  <a:gd name="connsiteX136" fmla="*/ 243468 w 1339053"/>
                  <a:gd name="connsiteY136" fmla="*/ 491960 h 6858000"/>
                  <a:gd name="connsiteX137" fmla="*/ 218930 w 1339053"/>
                  <a:gd name="connsiteY137" fmla="*/ 446010 h 6858000"/>
                  <a:gd name="connsiteX138" fmla="*/ 180614 w 1339053"/>
                  <a:gd name="connsiteY138" fmla="*/ 354892 h 6858000"/>
                  <a:gd name="connsiteX139" fmla="*/ 171988 w 1339053"/>
                  <a:gd name="connsiteY139" fmla="*/ 317521 h 6858000"/>
                  <a:gd name="connsiteX140" fmla="*/ 139875 w 1339053"/>
                  <a:gd name="connsiteY140" fmla="*/ 246378 h 6858000"/>
                  <a:gd name="connsiteX141" fmla="*/ 51499 w 1339053"/>
                  <a:gd name="connsiteY141" fmla="*/ 73211 h 6858000"/>
                  <a:gd name="connsiteX142" fmla="*/ 19690 w 1339053"/>
                  <a:gd name="connsiteY142" fmla="*/ 36621 h 685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</a:cxnLst>
                <a:rect l="l" t="t" r="r" b="b"/>
                <a:pathLst>
                  <a:path w="1339053" h="6858000">
                    <a:moveTo>
                      <a:pt x="850532" y="3481838"/>
                    </a:moveTo>
                    <a:lnTo>
                      <a:pt x="877027" y="3490955"/>
                    </a:lnTo>
                    <a:cubicBezTo>
                      <a:pt x="892941" y="3497986"/>
                      <a:pt x="908176" y="3506416"/>
                      <a:pt x="922718" y="3516472"/>
                    </a:cubicBezTo>
                    <a:cubicBezTo>
                      <a:pt x="967062" y="3547282"/>
                      <a:pt x="1027547" y="3564030"/>
                      <a:pt x="1094179" y="3567567"/>
                    </a:cubicBezTo>
                    <a:cubicBezTo>
                      <a:pt x="1102515" y="3567965"/>
                      <a:pt x="1113434" y="3565936"/>
                      <a:pt x="1118891" y="3568331"/>
                    </a:cubicBezTo>
                    <a:cubicBezTo>
                      <a:pt x="1180628" y="3594888"/>
                      <a:pt x="1237753" y="3586304"/>
                      <a:pt x="1295961" y="3584709"/>
                    </a:cubicBezTo>
                    <a:lnTo>
                      <a:pt x="1308070" y="3585183"/>
                    </a:lnTo>
                    <a:lnTo>
                      <a:pt x="1325263" y="3705453"/>
                    </a:lnTo>
                    <a:cubicBezTo>
                      <a:pt x="1328254" y="3727679"/>
                      <a:pt x="1331526" y="3749922"/>
                      <a:pt x="1334107" y="3772268"/>
                    </a:cubicBezTo>
                    <a:lnTo>
                      <a:pt x="1338203" y="3831076"/>
                    </a:lnTo>
                    <a:lnTo>
                      <a:pt x="1338805" y="3839709"/>
                    </a:lnTo>
                    <a:cubicBezTo>
                      <a:pt x="1339996" y="3932341"/>
                      <a:pt x="1336568" y="4025809"/>
                      <a:pt x="1335635" y="4118635"/>
                    </a:cubicBezTo>
                    <a:cubicBezTo>
                      <a:pt x="1335202" y="4148976"/>
                      <a:pt x="1338805" y="4178868"/>
                      <a:pt x="1337171" y="4209403"/>
                    </a:cubicBezTo>
                    <a:cubicBezTo>
                      <a:pt x="1335445" y="4242449"/>
                      <a:pt x="1327565" y="4276129"/>
                      <a:pt x="1325840" y="4309174"/>
                    </a:cubicBezTo>
                    <a:cubicBezTo>
                      <a:pt x="1322853" y="4364122"/>
                      <a:pt x="1323899" y="4418621"/>
                      <a:pt x="1321122" y="4473630"/>
                    </a:cubicBezTo>
                    <a:cubicBezTo>
                      <a:pt x="1315632" y="4579723"/>
                      <a:pt x="1309019" y="4685750"/>
                      <a:pt x="1302196" y="4791709"/>
                    </a:cubicBezTo>
                    <a:cubicBezTo>
                      <a:pt x="1300696" y="4814383"/>
                      <a:pt x="1294244" y="4837504"/>
                      <a:pt x="1293239" y="4860048"/>
                    </a:cubicBezTo>
                    <a:cubicBezTo>
                      <a:pt x="1290785" y="4919957"/>
                      <a:pt x="1289660" y="4979994"/>
                      <a:pt x="1288829" y="5039837"/>
                    </a:cubicBezTo>
                    <a:cubicBezTo>
                      <a:pt x="1288401" y="5076103"/>
                      <a:pt x="1290512" y="5112310"/>
                      <a:pt x="1289584" y="5148703"/>
                    </a:cubicBezTo>
                    <a:cubicBezTo>
                      <a:pt x="1288845" y="5177820"/>
                      <a:pt x="1286193" y="5207193"/>
                      <a:pt x="1282205" y="5236435"/>
                    </a:cubicBezTo>
                    <a:cubicBezTo>
                      <a:pt x="1278784" y="5261619"/>
                      <a:pt x="1270649" y="5286477"/>
                      <a:pt x="1268145" y="5311662"/>
                    </a:cubicBezTo>
                    <a:cubicBezTo>
                      <a:pt x="1261308" y="5379812"/>
                      <a:pt x="1256387" y="5447703"/>
                      <a:pt x="1250547" y="5515595"/>
                    </a:cubicBezTo>
                    <a:cubicBezTo>
                      <a:pt x="1248113" y="5542776"/>
                      <a:pt x="1244054" y="5570023"/>
                      <a:pt x="1243323" y="5596885"/>
                    </a:cubicBezTo>
                    <a:cubicBezTo>
                      <a:pt x="1241082" y="5668709"/>
                      <a:pt x="1241668" y="5740276"/>
                      <a:pt x="1238303" y="5812036"/>
                    </a:cubicBezTo>
                    <a:cubicBezTo>
                      <a:pt x="1235508" y="5871554"/>
                      <a:pt x="1228259" y="5931392"/>
                      <a:pt x="1223551" y="5991171"/>
                    </a:cubicBezTo>
                    <a:cubicBezTo>
                      <a:pt x="1221675" y="6016549"/>
                      <a:pt x="1222415" y="6041609"/>
                      <a:pt x="1219699" y="6066726"/>
                    </a:cubicBezTo>
                    <a:cubicBezTo>
                      <a:pt x="1213776" y="6123024"/>
                      <a:pt x="1205938" y="6179576"/>
                      <a:pt x="1199935" y="6236130"/>
                    </a:cubicBezTo>
                    <a:cubicBezTo>
                      <a:pt x="1196614" y="6268403"/>
                      <a:pt x="1198425" y="6301127"/>
                      <a:pt x="1192857" y="6333267"/>
                    </a:cubicBezTo>
                    <a:cubicBezTo>
                      <a:pt x="1179603" y="6409590"/>
                      <a:pt x="1163470" y="6485591"/>
                      <a:pt x="1148174" y="6561849"/>
                    </a:cubicBezTo>
                    <a:cubicBezTo>
                      <a:pt x="1132370" y="6640486"/>
                      <a:pt x="1117066" y="6719000"/>
                      <a:pt x="1100424" y="6797385"/>
                    </a:cubicBezTo>
                    <a:lnTo>
                      <a:pt x="1085621" y="6858000"/>
                    </a:lnTo>
                    <a:lnTo>
                      <a:pt x="932341" y="6858000"/>
                    </a:lnTo>
                    <a:lnTo>
                      <a:pt x="944496" y="6829656"/>
                    </a:lnTo>
                    <a:cubicBezTo>
                      <a:pt x="964836" y="6776399"/>
                      <a:pt x="953622" y="6744439"/>
                      <a:pt x="913239" y="6720119"/>
                    </a:cubicBezTo>
                    <a:cubicBezTo>
                      <a:pt x="890880" y="6706443"/>
                      <a:pt x="866986" y="6690318"/>
                      <a:pt x="870682" y="6655346"/>
                    </a:cubicBezTo>
                    <a:cubicBezTo>
                      <a:pt x="876846" y="6598274"/>
                      <a:pt x="889503" y="6540954"/>
                      <a:pt x="846442" y="6498594"/>
                    </a:cubicBezTo>
                    <a:cubicBezTo>
                      <a:pt x="862273" y="6487399"/>
                      <a:pt x="871751" y="6480449"/>
                      <a:pt x="881150" y="6473756"/>
                    </a:cubicBezTo>
                    <a:cubicBezTo>
                      <a:pt x="907245" y="6455292"/>
                      <a:pt x="930705" y="6407516"/>
                      <a:pt x="922470" y="6377035"/>
                    </a:cubicBezTo>
                    <a:cubicBezTo>
                      <a:pt x="910652" y="6332192"/>
                      <a:pt x="925705" y="6299028"/>
                      <a:pt x="955039" y="6268585"/>
                    </a:cubicBezTo>
                    <a:cubicBezTo>
                      <a:pt x="1003777" y="6217606"/>
                      <a:pt x="1017630" y="6148240"/>
                      <a:pt x="1024350" y="6083443"/>
                    </a:cubicBezTo>
                    <a:cubicBezTo>
                      <a:pt x="1029590" y="6034553"/>
                      <a:pt x="1028255" y="5980246"/>
                      <a:pt x="999696" y="5938416"/>
                    </a:cubicBezTo>
                    <a:cubicBezTo>
                      <a:pt x="990505" y="5925141"/>
                      <a:pt x="991039" y="5901884"/>
                      <a:pt x="988342" y="5882426"/>
                    </a:cubicBezTo>
                    <a:cubicBezTo>
                      <a:pt x="986229" y="5866254"/>
                      <a:pt x="984774" y="5849442"/>
                      <a:pt x="985444" y="5832438"/>
                    </a:cubicBezTo>
                    <a:cubicBezTo>
                      <a:pt x="986010" y="5814273"/>
                      <a:pt x="985042" y="5793656"/>
                      <a:pt x="992016" y="5777751"/>
                    </a:cubicBezTo>
                    <a:cubicBezTo>
                      <a:pt x="1012886" y="5729456"/>
                      <a:pt x="1014467" y="5686488"/>
                      <a:pt x="995028" y="5641832"/>
                    </a:cubicBezTo>
                    <a:cubicBezTo>
                      <a:pt x="984984" y="5618696"/>
                      <a:pt x="974301" y="5585771"/>
                      <a:pt x="981247" y="5562522"/>
                    </a:cubicBezTo>
                    <a:cubicBezTo>
                      <a:pt x="998041" y="5505913"/>
                      <a:pt x="997454" y="5454379"/>
                      <a:pt x="995131" y="5398075"/>
                    </a:cubicBezTo>
                    <a:cubicBezTo>
                      <a:pt x="993724" y="5361807"/>
                      <a:pt x="997229" y="5322258"/>
                      <a:pt x="997379" y="5283928"/>
                    </a:cubicBezTo>
                    <a:cubicBezTo>
                      <a:pt x="997473" y="5239095"/>
                      <a:pt x="1006631" y="5193105"/>
                      <a:pt x="979617" y="5157396"/>
                    </a:cubicBezTo>
                    <a:cubicBezTo>
                      <a:pt x="976728" y="5153402"/>
                      <a:pt x="978724" y="5144705"/>
                      <a:pt x="976441" y="5139485"/>
                    </a:cubicBezTo>
                    <a:cubicBezTo>
                      <a:pt x="969619" y="5122991"/>
                      <a:pt x="964828" y="5102888"/>
                      <a:pt x="953793" y="5091862"/>
                    </a:cubicBezTo>
                    <a:cubicBezTo>
                      <a:pt x="921506" y="5059884"/>
                      <a:pt x="886609" y="5031900"/>
                      <a:pt x="853056" y="5001787"/>
                    </a:cubicBezTo>
                    <a:cubicBezTo>
                      <a:pt x="845882" y="4995337"/>
                      <a:pt x="836325" y="4988437"/>
                      <a:pt x="833979" y="4978966"/>
                    </a:cubicBezTo>
                    <a:cubicBezTo>
                      <a:pt x="820602" y="4924328"/>
                      <a:pt x="808509" y="4869239"/>
                      <a:pt x="796995" y="4813768"/>
                    </a:cubicBezTo>
                    <a:cubicBezTo>
                      <a:pt x="792418" y="4791474"/>
                      <a:pt x="803209" y="4777314"/>
                      <a:pt x="820590" y="4764057"/>
                    </a:cubicBezTo>
                    <a:cubicBezTo>
                      <a:pt x="837188" y="4751123"/>
                      <a:pt x="855398" y="4734452"/>
                      <a:pt x="864688" y="4714752"/>
                    </a:cubicBezTo>
                    <a:cubicBezTo>
                      <a:pt x="883062" y="4675275"/>
                      <a:pt x="897521" y="4632902"/>
                      <a:pt x="910485" y="4590911"/>
                    </a:cubicBezTo>
                    <a:cubicBezTo>
                      <a:pt x="915338" y="4575199"/>
                      <a:pt x="912978" y="4556131"/>
                      <a:pt x="911445" y="4539571"/>
                    </a:cubicBezTo>
                    <a:cubicBezTo>
                      <a:pt x="908527" y="4508200"/>
                      <a:pt x="900999" y="4477659"/>
                      <a:pt x="900285" y="4445837"/>
                    </a:cubicBezTo>
                    <a:cubicBezTo>
                      <a:pt x="899539" y="4408923"/>
                      <a:pt x="887958" y="4383340"/>
                      <a:pt x="863237" y="4364703"/>
                    </a:cubicBezTo>
                    <a:cubicBezTo>
                      <a:pt x="826431" y="4336971"/>
                      <a:pt x="808536" y="4292507"/>
                      <a:pt x="798070" y="4243284"/>
                    </a:cubicBezTo>
                    <a:cubicBezTo>
                      <a:pt x="784617" y="4180721"/>
                      <a:pt x="805728" y="4117545"/>
                      <a:pt x="817097" y="4054750"/>
                    </a:cubicBezTo>
                    <a:cubicBezTo>
                      <a:pt x="821537" y="4030724"/>
                      <a:pt x="826632" y="4006057"/>
                      <a:pt x="826251" y="3982801"/>
                    </a:cubicBezTo>
                    <a:cubicBezTo>
                      <a:pt x="825347" y="3916709"/>
                      <a:pt x="825150" y="3850833"/>
                      <a:pt x="836848" y="3784939"/>
                    </a:cubicBezTo>
                    <a:lnTo>
                      <a:pt x="841285" y="3766755"/>
                    </a:lnTo>
                    <a:lnTo>
                      <a:pt x="841284" y="3766755"/>
                    </a:lnTo>
                    <a:lnTo>
                      <a:pt x="852925" y="3719034"/>
                    </a:lnTo>
                    <a:cubicBezTo>
                      <a:pt x="855152" y="3711822"/>
                      <a:pt x="856753" y="3704413"/>
                      <a:pt x="857932" y="3696880"/>
                    </a:cubicBezTo>
                    <a:cubicBezTo>
                      <a:pt x="868683" y="3631632"/>
                      <a:pt x="885300" y="3565939"/>
                      <a:pt x="853534" y="3507036"/>
                    </a:cubicBezTo>
                    <a:cubicBezTo>
                      <a:pt x="850623" y="3501622"/>
                      <a:pt x="849992" y="3494020"/>
                      <a:pt x="850226" y="3485839"/>
                    </a:cubicBezTo>
                    <a:close/>
                    <a:moveTo>
                      <a:pt x="0" y="0"/>
                    </a:moveTo>
                    <a:lnTo>
                      <a:pt x="455609" y="0"/>
                    </a:lnTo>
                    <a:lnTo>
                      <a:pt x="459171" y="72395"/>
                    </a:lnTo>
                    <a:cubicBezTo>
                      <a:pt x="459671" y="92301"/>
                      <a:pt x="456894" y="113171"/>
                      <a:pt x="460041" y="131917"/>
                    </a:cubicBezTo>
                    <a:cubicBezTo>
                      <a:pt x="474213" y="218122"/>
                      <a:pt x="492031" y="302910"/>
                      <a:pt x="504421" y="389691"/>
                    </a:cubicBezTo>
                    <a:cubicBezTo>
                      <a:pt x="517349" y="479177"/>
                      <a:pt x="539516" y="562489"/>
                      <a:pt x="582097" y="634609"/>
                    </a:cubicBezTo>
                    <a:cubicBezTo>
                      <a:pt x="621686" y="701573"/>
                      <a:pt x="662589" y="767248"/>
                      <a:pt x="702468" y="834019"/>
                    </a:cubicBezTo>
                    <a:cubicBezTo>
                      <a:pt x="712587" y="850968"/>
                      <a:pt x="725536" y="867665"/>
                      <a:pt x="729203" y="887701"/>
                    </a:cubicBezTo>
                    <a:cubicBezTo>
                      <a:pt x="736973" y="929321"/>
                      <a:pt x="740155" y="973193"/>
                      <a:pt x="743787" y="1016355"/>
                    </a:cubicBezTo>
                    <a:cubicBezTo>
                      <a:pt x="746786" y="1053398"/>
                      <a:pt x="745800" y="1091467"/>
                      <a:pt x="750083" y="1128060"/>
                    </a:cubicBezTo>
                    <a:cubicBezTo>
                      <a:pt x="753428" y="1157309"/>
                      <a:pt x="762038" y="1185083"/>
                      <a:pt x="768866" y="1213431"/>
                    </a:cubicBezTo>
                    <a:cubicBezTo>
                      <a:pt x="774767" y="1238107"/>
                      <a:pt x="778357" y="1264327"/>
                      <a:pt x="787802" y="1286432"/>
                    </a:cubicBezTo>
                    <a:cubicBezTo>
                      <a:pt x="810582" y="1340304"/>
                      <a:pt x="832653" y="1394242"/>
                      <a:pt x="842837" y="1455511"/>
                    </a:cubicBezTo>
                    <a:cubicBezTo>
                      <a:pt x="853049" y="1515944"/>
                      <a:pt x="867276" y="1574511"/>
                      <a:pt x="877988" y="1634814"/>
                    </a:cubicBezTo>
                    <a:cubicBezTo>
                      <a:pt x="888390" y="1693895"/>
                      <a:pt x="902813" y="1748857"/>
                      <a:pt x="941063" y="1789731"/>
                    </a:cubicBezTo>
                    <a:cubicBezTo>
                      <a:pt x="957906" y="1807908"/>
                      <a:pt x="975122" y="1831564"/>
                      <a:pt x="980124" y="1857657"/>
                    </a:cubicBezTo>
                    <a:cubicBezTo>
                      <a:pt x="987207" y="1894833"/>
                      <a:pt x="980788" y="1937150"/>
                      <a:pt x="984484" y="1976384"/>
                    </a:cubicBezTo>
                    <a:cubicBezTo>
                      <a:pt x="988781" y="2022576"/>
                      <a:pt x="988793" y="2074493"/>
                      <a:pt x="1007189" y="2110650"/>
                    </a:cubicBezTo>
                    <a:cubicBezTo>
                      <a:pt x="1023612" y="2142809"/>
                      <a:pt x="1034723" y="2173610"/>
                      <a:pt x="1039893" y="2211041"/>
                    </a:cubicBezTo>
                    <a:cubicBezTo>
                      <a:pt x="1043484" y="2237261"/>
                      <a:pt x="1057690" y="2260269"/>
                      <a:pt x="1059162" y="2286682"/>
                    </a:cubicBezTo>
                    <a:cubicBezTo>
                      <a:pt x="1061252" y="2321469"/>
                      <a:pt x="1060754" y="2355740"/>
                      <a:pt x="1070522" y="2388667"/>
                    </a:cubicBezTo>
                    <a:cubicBezTo>
                      <a:pt x="1080600" y="2422815"/>
                      <a:pt x="1085513" y="2459602"/>
                      <a:pt x="1093939" y="2494653"/>
                    </a:cubicBezTo>
                    <a:cubicBezTo>
                      <a:pt x="1098500" y="2513273"/>
                      <a:pt x="1106866" y="2529964"/>
                      <a:pt x="1112007" y="2548197"/>
                    </a:cubicBezTo>
                    <a:cubicBezTo>
                      <a:pt x="1121409" y="2581573"/>
                      <a:pt x="1130232" y="2615336"/>
                      <a:pt x="1138346" y="2649163"/>
                    </a:cubicBezTo>
                    <a:cubicBezTo>
                      <a:pt x="1146465" y="2682988"/>
                      <a:pt x="1157699" y="2716368"/>
                      <a:pt x="1160337" y="2751608"/>
                    </a:cubicBezTo>
                    <a:cubicBezTo>
                      <a:pt x="1164714" y="2811646"/>
                      <a:pt x="1159211" y="2873999"/>
                      <a:pt x="1165737" y="2933012"/>
                    </a:cubicBezTo>
                    <a:cubicBezTo>
                      <a:pt x="1172445" y="2992925"/>
                      <a:pt x="1185964" y="3051556"/>
                      <a:pt x="1202029" y="3107873"/>
                    </a:cubicBezTo>
                    <a:cubicBezTo>
                      <a:pt x="1214635" y="3152396"/>
                      <a:pt x="1227749" y="3194534"/>
                      <a:pt x="1225692" y="3244974"/>
                    </a:cubicBezTo>
                    <a:cubicBezTo>
                      <a:pt x="1224565" y="3273123"/>
                      <a:pt x="1231196" y="3305079"/>
                      <a:pt x="1243916" y="3326221"/>
                    </a:cubicBezTo>
                    <a:cubicBezTo>
                      <a:pt x="1271701" y="3372044"/>
                      <a:pt x="1285247" y="3423911"/>
                      <a:pt x="1293067" y="3480219"/>
                    </a:cubicBezTo>
                    <a:lnTo>
                      <a:pt x="1308071" y="3585182"/>
                    </a:lnTo>
                    <a:lnTo>
                      <a:pt x="1295962" y="3584708"/>
                    </a:lnTo>
                    <a:cubicBezTo>
                      <a:pt x="1237754" y="3586303"/>
                      <a:pt x="1180629" y="3594888"/>
                      <a:pt x="1118893" y="3568330"/>
                    </a:cubicBezTo>
                    <a:cubicBezTo>
                      <a:pt x="1113435" y="3565936"/>
                      <a:pt x="1102517" y="3567964"/>
                      <a:pt x="1094179" y="3567566"/>
                    </a:cubicBezTo>
                    <a:cubicBezTo>
                      <a:pt x="1027548" y="3564029"/>
                      <a:pt x="967064" y="3547281"/>
                      <a:pt x="922719" y="3516472"/>
                    </a:cubicBezTo>
                    <a:cubicBezTo>
                      <a:pt x="908178" y="3506414"/>
                      <a:pt x="892942" y="3497984"/>
                      <a:pt x="877028" y="3490955"/>
                    </a:cubicBezTo>
                    <a:lnTo>
                      <a:pt x="850533" y="3481837"/>
                    </a:lnTo>
                    <a:lnTo>
                      <a:pt x="852113" y="3461170"/>
                    </a:lnTo>
                    <a:cubicBezTo>
                      <a:pt x="854391" y="3434500"/>
                      <a:pt x="848474" y="3414331"/>
                      <a:pt x="831383" y="3399179"/>
                    </a:cubicBezTo>
                    <a:cubicBezTo>
                      <a:pt x="801767" y="3373388"/>
                      <a:pt x="773654" y="3344957"/>
                      <a:pt x="743141" y="3320580"/>
                    </a:cubicBezTo>
                    <a:cubicBezTo>
                      <a:pt x="722236" y="3303685"/>
                      <a:pt x="714543" y="3281842"/>
                      <a:pt x="713221" y="3251241"/>
                    </a:cubicBezTo>
                    <a:cubicBezTo>
                      <a:pt x="712555" y="3234106"/>
                      <a:pt x="704768" y="3217029"/>
                      <a:pt x="697098" y="3202528"/>
                    </a:cubicBezTo>
                    <a:cubicBezTo>
                      <a:pt x="687845" y="3184997"/>
                      <a:pt x="672212" y="3172554"/>
                      <a:pt x="664820" y="3154190"/>
                    </a:cubicBezTo>
                    <a:cubicBezTo>
                      <a:pt x="646169" y="3109209"/>
                      <a:pt x="616744" y="3087991"/>
                      <a:pt x="572501" y="3087312"/>
                    </a:cubicBezTo>
                    <a:cubicBezTo>
                      <a:pt x="533259" y="3086763"/>
                      <a:pt x="493731" y="3044085"/>
                      <a:pt x="497703" y="3005243"/>
                    </a:cubicBezTo>
                    <a:cubicBezTo>
                      <a:pt x="502030" y="2962279"/>
                      <a:pt x="490540" y="2928257"/>
                      <a:pt x="476984" y="2892751"/>
                    </a:cubicBezTo>
                    <a:cubicBezTo>
                      <a:pt x="469363" y="2872905"/>
                      <a:pt x="465404" y="2847135"/>
                      <a:pt x="468947" y="2824527"/>
                    </a:cubicBezTo>
                    <a:cubicBezTo>
                      <a:pt x="482188" y="2738605"/>
                      <a:pt x="520979" y="2665650"/>
                      <a:pt x="569138" y="2595026"/>
                    </a:cubicBezTo>
                    <a:cubicBezTo>
                      <a:pt x="600577" y="2548865"/>
                      <a:pt x="622260" y="2493483"/>
                      <a:pt x="645397" y="2440808"/>
                    </a:cubicBezTo>
                    <a:cubicBezTo>
                      <a:pt x="652529" y="2424387"/>
                      <a:pt x="655029" y="2401457"/>
                      <a:pt x="651820" y="2384384"/>
                    </a:cubicBezTo>
                    <a:cubicBezTo>
                      <a:pt x="640949" y="2324596"/>
                      <a:pt x="629163" y="2264805"/>
                      <a:pt x="612994" y="2207332"/>
                    </a:cubicBezTo>
                    <a:cubicBezTo>
                      <a:pt x="597678" y="2153787"/>
                      <a:pt x="601053" y="2099808"/>
                      <a:pt x="620894" y="2046679"/>
                    </a:cubicBezTo>
                    <a:cubicBezTo>
                      <a:pt x="635367" y="2007977"/>
                      <a:pt x="641110" y="1970814"/>
                      <a:pt x="644614" y="1931265"/>
                    </a:cubicBezTo>
                    <a:cubicBezTo>
                      <a:pt x="647465" y="1898285"/>
                      <a:pt x="653360" y="1862859"/>
                      <a:pt x="665994" y="1832337"/>
                    </a:cubicBezTo>
                    <a:cubicBezTo>
                      <a:pt x="683779" y="1789578"/>
                      <a:pt x="688928" y="1751381"/>
                      <a:pt x="678276" y="1709437"/>
                    </a:cubicBezTo>
                    <a:cubicBezTo>
                      <a:pt x="672576" y="1687079"/>
                      <a:pt x="673987" y="1660990"/>
                      <a:pt x="672955" y="1636123"/>
                    </a:cubicBezTo>
                    <a:cubicBezTo>
                      <a:pt x="671272" y="1597795"/>
                      <a:pt x="671867" y="1558758"/>
                      <a:pt x="668480" y="1520749"/>
                    </a:cubicBezTo>
                    <a:cubicBezTo>
                      <a:pt x="665050" y="1479903"/>
                      <a:pt x="655019" y="1440408"/>
                      <a:pt x="653920" y="1399437"/>
                    </a:cubicBezTo>
                    <a:cubicBezTo>
                      <a:pt x="652652" y="1355309"/>
                      <a:pt x="639893" y="1323154"/>
                      <a:pt x="612686" y="1296979"/>
                    </a:cubicBezTo>
                    <a:cubicBezTo>
                      <a:pt x="595576" y="1280408"/>
                      <a:pt x="578401" y="1259588"/>
                      <a:pt x="570220" y="1235618"/>
                    </a:cubicBezTo>
                    <a:cubicBezTo>
                      <a:pt x="553631" y="1186194"/>
                      <a:pt x="545669" y="1131821"/>
                      <a:pt x="529736" y="1081752"/>
                    </a:cubicBezTo>
                    <a:cubicBezTo>
                      <a:pt x="507466" y="1011390"/>
                      <a:pt x="481332" y="944631"/>
                      <a:pt x="414305" y="918292"/>
                    </a:cubicBezTo>
                    <a:cubicBezTo>
                      <a:pt x="377314" y="903769"/>
                      <a:pt x="368843" y="874065"/>
                      <a:pt x="373924" y="825689"/>
                    </a:cubicBezTo>
                    <a:cubicBezTo>
                      <a:pt x="375689" y="809590"/>
                      <a:pt x="376722" y="786203"/>
                      <a:pt x="368949" y="778726"/>
                    </a:cubicBezTo>
                    <a:cubicBezTo>
                      <a:pt x="345838" y="756354"/>
                      <a:pt x="349308" y="725824"/>
                      <a:pt x="347020" y="694643"/>
                    </a:cubicBezTo>
                    <a:cubicBezTo>
                      <a:pt x="345704" y="675894"/>
                      <a:pt x="339306" y="651346"/>
                      <a:pt x="327478" y="642898"/>
                    </a:cubicBezTo>
                    <a:cubicBezTo>
                      <a:pt x="279698" y="608395"/>
                      <a:pt x="263590" y="549247"/>
                      <a:pt x="243468" y="491960"/>
                    </a:cubicBezTo>
                    <a:cubicBezTo>
                      <a:pt x="237433" y="475142"/>
                      <a:pt x="230250" y="456843"/>
                      <a:pt x="218930" y="446010"/>
                    </a:cubicBezTo>
                    <a:cubicBezTo>
                      <a:pt x="194433" y="422927"/>
                      <a:pt x="180036" y="395344"/>
                      <a:pt x="180614" y="354892"/>
                    </a:cubicBezTo>
                    <a:cubicBezTo>
                      <a:pt x="180923" y="342010"/>
                      <a:pt x="176523" y="328798"/>
                      <a:pt x="171988" y="317521"/>
                    </a:cubicBezTo>
                    <a:cubicBezTo>
                      <a:pt x="162052" y="293291"/>
                      <a:pt x="148442" y="271315"/>
                      <a:pt x="139875" y="246378"/>
                    </a:cubicBezTo>
                    <a:cubicBezTo>
                      <a:pt x="117577" y="182780"/>
                      <a:pt x="95749" y="119890"/>
                      <a:pt x="51499" y="73211"/>
                    </a:cubicBezTo>
                    <a:cubicBezTo>
                      <a:pt x="40691" y="61834"/>
                      <a:pt x="29467" y="49763"/>
                      <a:pt x="19690" y="36621"/>
                    </a:cubicBezTo>
                    <a:close/>
                  </a:path>
                </a:pathLst>
              </a:custGeom>
              <a:blipFill dpi="0" rotWithShape="1">
                <a:blip r:embed="rId4">
                  <a:alphaModFix amt="57000"/>
                </a:blip>
                <a:srcRect/>
                <a:tile tx="0" ty="0" sx="100000" sy="100000" flip="none" algn="tl"/>
              </a:blip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/>
              </a:p>
            </p:txBody>
          </p:sp>
        </p:grpSp>
      </p:grpSp>
      <p:pic>
        <p:nvPicPr>
          <p:cNvPr id="4" name="Picture 3" descr="Microsoft logo">
            <a:extLst>
              <a:ext uri="{FF2B5EF4-FFF2-40B4-BE49-F238E27FC236}">
                <a16:creationId xmlns:a16="http://schemas.microsoft.com/office/drawing/2014/main" id="{E73A7ECE-081A-4A1A-80B7-0511E5B1B91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86462" y="2745788"/>
            <a:ext cx="2671899" cy="150294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0328143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close up of a Microsoft logo&#10;&#10;Description automatically generated">
            <a:extLst>
              <a:ext uri="{FF2B5EF4-FFF2-40B4-BE49-F238E27FC236}">
                <a16:creationId xmlns:a16="http://schemas.microsoft.com/office/drawing/2014/main" id="{427F3E1D-4967-4042-8F8C-DA6020BCF87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4"/>
          <a:stretch/>
        </p:blipFill>
        <p:spPr>
          <a:xfrm>
            <a:off x="20" y="10"/>
            <a:ext cx="12436455" cy="6994515"/>
          </a:xfrm>
          <a:prstGeom prst="rect">
            <a:avLst/>
          </a:prstGeom>
        </p:spPr>
      </p:pic>
      <p:pic>
        <p:nvPicPr>
          <p:cNvPr id="4" name="Picture 3" descr="A close up of a sign that reads CODE READ&#10;&#10;Description automatically generated">
            <a:extLst>
              <a:ext uri="{FF2B5EF4-FFF2-40B4-BE49-F238E27FC236}">
                <a16:creationId xmlns:a16="http://schemas.microsoft.com/office/drawing/2014/main" id="{1D2DD5E6-0FB9-4680-A619-23124EAF5E3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8627" r="-1" b="8707"/>
          <a:stretch/>
        </p:blipFill>
        <p:spPr>
          <a:xfrm>
            <a:off x="5164614" y="1"/>
            <a:ext cx="7271863" cy="6989891"/>
          </a:xfrm>
          <a:custGeom>
            <a:avLst/>
            <a:gdLst>
              <a:gd name="connsiteX0" fmla="*/ 2343548 w 7128913"/>
              <a:gd name="connsiteY0" fmla="*/ 0 h 6853457"/>
              <a:gd name="connsiteX1" fmla="*/ 5168877 w 7128913"/>
              <a:gd name="connsiteY1" fmla="*/ 0 h 6853457"/>
              <a:gd name="connsiteX2" fmla="*/ 5218299 w 7128913"/>
              <a:gd name="connsiteY2" fmla="*/ 19487 h 6853457"/>
              <a:gd name="connsiteX3" fmla="*/ 7014769 w 7128913"/>
              <a:gd name="connsiteY3" fmla="*/ 1610837 h 6853457"/>
              <a:gd name="connsiteX4" fmla="*/ 7128913 w 7128913"/>
              <a:gd name="connsiteY4" fmla="*/ 1827198 h 6853457"/>
              <a:gd name="connsiteX5" fmla="*/ 7128913 w 7128913"/>
              <a:gd name="connsiteY5" fmla="*/ 5131581 h 6853457"/>
              <a:gd name="connsiteX6" fmla="*/ 7091067 w 7128913"/>
              <a:gd name="connsiteY6" fmla="*/ 5210750 h 6853457"/>
              <a:gd name="connsiteX7" fmla="*/ 5546646 w 7128913"/>
              <a:gd name="connsiteY7" fmla="*/ 6783375 h 6853457"/>
              <a:gd name="connsiteX8" fmla="*/ 5409811 w 7128913"/>
              <a:gd name="connsiteY8" fmla="*/ 6853457 h 6853457"/>
              <a:gd name="connsiteX9" fmla="*/ 2102613 w 7128913"/>
              <a:gd name="connsiteY9" fmla="*/ 6853457 h 6853457"/>
              <a:gd name="connsiteX10" fmla="*/ 1965779 w 7128913"/>
              <a:gd name="connsiteY10" fmla="*/ 6783375 h 6853457"/>
              <a:gd name="connsiteX11" fmla="*/ 0 w 7128913"/>
              <a:gd name="connsiteY11" fmla="*/ 3480517 h 6853457"/>
              <a:gd name="connsiteX12" fmla="*/ 2294125 w 7128913"/>
              <a:gd name="connsiteY12" fmla="*/ 19487 h 68534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128913" h="6853457">
                <a:moveTo>
                  <a:pt x="2343548" y="0"/>
                </a:moveTo>
                <a:lnTo>
                  <a:pt x="5168877" y="0"/>
                </a:lnTo>
                <a:lnTo>
                  <a:pt x="5218299" y="19487"/>
                </a:lnTo>
                <a:cubicBezTo>
                  <a:pt x="5976640" y="340238"/>
                  <a:pt x="6607722" y="902948"/>
                  <a:pt x="7014769" y="1610837"/>
                </a:cubicBezTo>
                <a:lnTo>
                  <a:pt x="7128913" y="1827198"/>
                </a:lnTo>
                <a:lnTo>
                  <a:pt x="7128913" y="5131581"/>
                </a:lnTo>
                <a:lnTo>
                  <a:pt x="7091067" y="5210750"/>
                </a:lnTo>
                <a:cubicBezTo>
                  <a:pt x="6744936" y="5876527"/>
                  <a:pt x="6205281" y="6425584"/>
                  <a:pt x="5546646" y="6783375"/>
                </a:cubicBezTo>
                <a:lnTo>
                  <a:pt x="5409811" y="6853457"/>
                </a:lnTo>
                <a:lnTo>
                  <a:pt x="2102613" y="6853457"/>
                </a:lnTo>
                <a:lnTo>
                  <a:pt x="1965779" y="6783375"/>
                </a:lnTo>
                <a:cubicBezTo>
                  <a:pt x="794873" y="6147301"/>
                  <a:pt x="0" y="4906735"/>
                  <a:pt x="0" y="3480517"/>
                </a:cubicBezTo>
                <a:cubicBezTo>
                  <a:pt x="0" y="1924643"/>
                  <a:pt x="945964" y="589711"/>
                  <a:pt x="2294125" y="19487"/>
                </a:cubicBez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B182B7-ED18-4AF6-8AA0-81E945B532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571" y="-1859280"/>
            <a:ext cx="12128721" cy="1859280"/>
          </a:xfrm>
        </p:spPr>
        <p:txBody>
          <a:bodyPr vert="horz" lIns="137160" tIns="137160" rIns="137160" bIns="137160" rtlCol="0" anchor="b" anchorCtr="0">
            <a:normAutofit fontScale="90000"/>
          </a:bodyPr>
          <a:lstStyle/>
          <a:p>
            <a:r>
              <a:rPr lang="en-AU" dirty="0"/>
              <a:t>Microsoft and Code Read Dyslexia Network</a:t>
            </a:r>
          </a:p>
        </p:txBody>
      </p:sp>
    </p:spTree>
    <p:extLst>
      <p:ext uri="{BB962C8B-B14F-4D97-AF65-F5344CB8AC3E}">
        <p14:creationId xmlns:p14="http://schemas.microsoft.com/office/powerpoint/2010/main" val="436199262"/>
      </p:ext>
    </p:extLst>
  </p:cSld>
  <p:clrMapOvr>
    <a:masterClrMapping/>
  </p:clrMapOvr>
  <p:transition>
    <p:fade/>
  </p:transition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CB22D38C-1E42-4082-BDEB-9826FE6CDCF0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218238" y="6617840"/>
            <a:ext cx="7255822" cy="382308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836" b="0" i="0" u="none" strike="noStrike" kern="1200" cap="none" spc="0" normalizeH="0" baseline="0" noProof="0" dirty="0">
                <a:ln>
                  <a:noFill/>
                </a:ln>
                <a:solidFill>
                  <a:srgbClr val="505050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3"/>
              </a:rPr>
              <a:t>https://education.microsoft.com/en-us/resource/9b010288</a:t>
            </a:r>
            <a:endParaRPr kumimoji="0" lang="en-AU" sz="1836" b="0" i="0" u="none" strike="noStrike" kern="1200" cap="none" spc="0" normalizeH="0" baseline="0" noProof="0" dirty="0">
              <a:ln>
                <a:noFill/>
              </a:ln>
              <a:solidFill>
                <a:srgbClr val="505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3" name="Picture 2" descr="Screen grab of All About Immersive Reader Webpage">
            <a:extLst>
              <a:ext uri="{FF2B5EF4-FFF2-40B4-BE49-F238E27FC236}">
                <a16:creationId xmlns:a16="http://schemas.microsoft.com/office/drawing/2014/main" id="{D9C33FB3-5FAF-433D-B95A-C27EE62A07B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2" y="-1"/>
            <a:ext cx="12434711" cy="6270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176040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Screen grab of the Disability Answers Desk webpage">
            <a:extLst>
              <a:ext uri="{FF2B5EF4-FFF2-40B4-BE49-F238E27FC236}">
                <a16:creationId xmlns:a16="http://schemas.microsoft.com/office/drawing/2014/main" id="{1827EDB3-0C86-4E25-B14F-08E0990DB5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2" y="0"/>
            <a:ext cx="12433365" cy="7048500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8632AC8C-4403-49C1-888F-22743B16D718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8099361" y="6379642"/>
            <a:ext cx="4435086" cy="52322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8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  <a:hlinkClick r:id="rId4"/>
              </a:rPr>
              <a:t>aka.ms/</a:t>
            </a:r>
            <a:r>
              <a:rPr kumimoji="0" lang="en-AU" sz="2800" b="0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  <a:hlinkClick r:id="rId4"/>
              </a:rPr>
              <a:t>AccessibilitySupport</a:t>
            </a:r>
            <a:r>
              <a:rPr kumimoji="0" lang="en-AU" sz="28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  <a:hlinkClick r:id="rId4"/>
              </a:rPr>
              <a:t> </a:t>
            </a:r>
            <a:endParaRPr kumimoji="0" lang="en-AU" sz="28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1618806"/>
      </p:ext>
    </p:extLst>
  </p:cSld>
  <p:clrMapOvr>
    <a:masterClrMapping/>
  </p:clrMapOvr>
  <p:transition>
    <p:fade/>
  </p:transition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D29B45-74E7-42FE-B773-58BE5CFFCB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5041045" cy="951256"/>
          </a:xfrm>
        </p:spPr>
        <p:txBody>
          <a:bodyPr vert="horz" lIns="91440" tIns="45720" rIns="91440" bIns="45720" rtlCol="0" anchor="b">
            <a:normAutofit/>
          </a:bodyPr>
          <a:lstStyle/>
          <a:p>
            <a:pPr defTabSz="914400"/>
            <a:r>
              <a:rPr lang="en-US" sz="55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CodeJumper.com </a:t>
            </a:r>
          </a:p>
        </p:txBody>
      </p:sp>
      <p:pic>
        <p:nvPicPr>
          <p:cNvPr id="4" name="Online Media 3" title="Accessible Coding for Future Inventors">
            <a:hlinkClick r:id="" action="ppaction://media"/>
            <a:extLst>
              <a:ext uri="{FF2B5EF4-FFF2-40B4-BE49-F238E27FC236}">
                <a16:creationId xmlns:a16="http://schemas.microsoft.com/office/drawing/2014/main" id="{350F68D7-B792-4DBB-8681-58773D37F6BA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1630107" y="915941"/>
            <a:ext cx="10806368" cy="6078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307880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 up of a signpost&#10;&#10;Description automatically generated">
            <a:extLst>
              <a:ext uri="{FF2B5EF4-FFF2-40B4-BE49-F238E27FC236}">
                <a16:creationId xmlns:a16="http://schemas.microsoft.com/office/drawing/2014/main" id="{F85F3964-AF17-411A-8343-FB4B6A04902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88" b="-1"/>
          <a:stretch/>
        </p:blipFill>
        <p:spPr>
          <a:xfrm>
            <a:off x="902" y="10"/>
            <a:ext cx="12434691" cy="6994515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37C89E4B-3C9F-44B9-8B86-D9E3D112D8E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82" y="5426052"/>
            <a:ext cx="12434711" cy="751214"/>
          </a:xfrm>
          <a:prstGeom prst="rect">
            <a:avLst/>
          </a:prstGeom>
          <a:solidFill>
            <a:schemeClr val="bg1">
              <a:alpha val="9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597">
              <a:defRPr/>
            </a:pPr>
            <a:endParaRPr lang="en-US" sz="1836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6621F170-FF83-4390-BB1F-7ABCD9966F0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35186" y="5423092"/>
            <a:ext cx="11434105" cy="759664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3260" tIns="46630" rIns="93260" bIns="4663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0" marR="0" lvl="0" indent="0" algn="ctr" defTabSz="93259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12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72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Segoe UI Light"/>
                <a:ea typeface="+mn-ea"/>
                <a:cs typeface="+mn-cs"/>
              </a:rPr>
              <a:t>Get the videos: </a:t>
            </a:r>
            <a:r>
              <a:rPr kumimoji="0" lang="en-US" sz="3672" b="1" i="0" u="sng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Segoe UI Light"/>
                <a:ea typeface="+mn-ea"/>
                <a:cs typeface="+mn-cs"/>
                <a:hlinkClick r:id="rId4"/>
              </a:rPr>
              <a:t>aka.ms/</a:t>
            </a:r>
            <a:r>
              <a:rPr kumimoji="0" lang="en-US" sz="3672" b="1" i="0" u="sng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Segoe UI Light"/>
                <a:ea typeface="+mn-ea"/>
                <a:cs typeface="+mn-cs"/>
                <a:hlinkClick r:id="rId4"/>
              </a:rPr>
              <a:t>TroyYT</a:t>
            </a:r>
            <a:endParaRPr kumimoji="0" lang="en-US" sz="3672" b="1" i="0" u="sng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Segoe UI Light"/>
              <a:ea typeface="+mn-ea"/>
              <a:cs typeface="+mn-cs"/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A2EAA10-076F-46BD-8F0F-B9A2FB77A85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82" y="5346337"/>
            <a:ext cx="12434711" cy="0"/>
          </a:xfrm>
          <a:prstGeom prst="line">
            <a:avLst/>
          </a:prstGeom>
          <a:ln w="41275">
            <a:solidFill>
              <a:schemeClr val="bg1">
                <a:alpha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D891E407-403B-4764-86C9-33A56D3BCAA3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82" y="6256980"/>
            <a:ext cx="12434711" cy="0"/>
          </a:xfrm>
          <a:prstGeom prst="line">
            <a:avLst/>
          </a:prstGeom>
          <a:ln w="41275">
            <a:solidFill>
              <a:schemeClr val="bg1">
                <a:alpha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CCDDD9F-0DDC-4970-835C-E43435B590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82896" y="6482888"/>
            <a:ext cx="2797810" cy="372394"/>
          </a:xfrm>
        </p:spPr>
        <p:txBody>
          <a:bodyPr vert="horz" lIns="93260" tIns="46630" rIns="93260" bIns="46630" rtlCol="0" anchor="ctr">
            <a:normAutofit/>
          </a:bodyPr>
          <a:lstStyle/>
          <a:p>
            <a:pPr defTabSz="466298">
              <a:spcAft>
                <a:spcPts val="612"/>
              </a:spcAft>
              <a:defRPr/>
            </a:pPr>
            <a:fld id="{F1323F40-5DA8-449B-85D3-1438A492E19B}" type="slidenum">
              <a:rPr lang="en-US" sz="1224">
                <a:solidFill>
                  <a:srgbClr val="FFFFFF"/>
                </a:solidFill>
                <a:latin typeface="Segoe UI"/>
              </a:rPr>
              <a:pPr defTabSz="466298">
                <a:spcAft>
                  <a:spcPts val="612"/>
                </a:spcAft>
                <a:defRPr/>
              </a:pPr>
              <a:t>39</a:t>
            </a:fld>
            <a:endParaRPr lang="en-US" sz="1224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9" name="Text Box 3">
            <a:extLst>
              <a:ext uri="{FF2B5EF4-FFF2-40B4-BE49-F238E27FC236}">
                <a16:creationId xmlns:a16="http://schemas.microsoft.com/office/drawing/2014/main" id="{E1A3AE6F-7FAE-47F2-A076-3DFE3C7D0AF9}"/>
              </a:ext>
            </a:extLst>
          </p:cNvPr>
          <p:cNvSpPr txBox="1">
            <a:spLocks noChangeArrowheads="1"/>
          </p:cNvSpPr>
          <p:nvPr/>
        </p:nvSpPr>
        <p:spPr bwMode="blackWhite">
          <a:xfrm>
            <a:off x="9849762" y="6528808"/>
            <a:ext cx="2478572" cy="476949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28" tIns="182828" rIns="182828" bIns="182828" numCol="1" anchor="t" anchorCtr="0" compatLnSpc="1">
            <a:prstTxWarp prst="textNoShape">
              <a:avLst/>
            </a:prstTxWarp>
            <a:spAutoFit/>
          </a:bodyPr>
          <a:lstStyle/>
          <a:p>
            <a:pPr defTabSz="931932" eaLnBrk="0" hangingPunct="0">
              <a:spcAft>
                <a:spcPts val="612"/>
              </a:spcAft>
              <a:defRPr/>
            </a:pPr>
            <a:r>
              <a:rPr lang="en-US" sz="70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 Semilight"/>
                <a:cs typeface="Segoe UI" pitchFamily="34" charset="0"/>
              </a:rPr>
              <a:t>© Copyright Microsoft Corporation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42067233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7674BC-34A7-BF48-8713-E13A95EDB6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639" y="480323"/>
            <a:ext cx="11889564" cy="917575"/>
          </a:xfrm>
        </p:spPr>
        <p:txBody>
          <a:bodyPr/>
          <a:lstStyle/>
          <a:p>
            <a:pPr algn="ctr"/>
            <a:r>
              <a:rPr lang="en-US" sz="3200" spc="0" dirty="0">
                <a:solidFill>
                  <a:srgbClr val="5C2D8E"/>
                </a:solidFill>
                <a:latin typeface="Segoe UI Light" charset="0"/>
                <a:ea typeface="Segoe UI Light" charset="0"/>
                <a:cs typeface="Segoe UI Light" charset="0"/>
              </a:rPr>
              <a:t>Promoting independent learning</a:t>
            </a:r>
            <a:endParaRPr lang="en-US" sz="3200" spc="0" dirty="0"/>
          </a:p>
        </p:txBody>
      </p:sp>
      <p:sp>
        <p:nvSpPr>
          <p:cNvPr id="3" name="Rectangle 2"/>
          <p:cNvSpPr/>
          <p:nvPr/>
        </p:nvSpPr>
        <p:spPr>
          <a:xfrm>
            <a:off x="2847633" y="1182689"/>
            <a:ext cx="6741210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32513" rtl="0" eaLnBrk="1" fontAlgn="auto" latinLnBrk="0" hangingPunct="1">
              <a:lnSpc>
                <a:spcPct val="12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Segoe UI Light" charset="0"/>
                <a:ea typeface="Segoe UI Light" charset="0"/>
                <a:cs typeface="Segoe UI Light" charset="0"/>
              </a:rPr>
              <a:t>Accessible technologies help students with disabilities unlock their full potential by addressing a diversity of needs:</a:t>
            </a:r>
          </a:p>
        </p:txBody>
      </p:sp>
      <p:pic>
        <p:nvPicPr>
          <p:cNvPr id="14" name="Picture 13" descr="Illustration of an eye" title="Icon Visual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17999" y="2423757"/>
            <a:ext cx="994766" cy="994766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2532015" y="3612412"/>
            <a:ext cx="1148321" cy="427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32513" rtl="0" eaLnBrk="1" fontAlgn="auto" latinLnBrk="0" hangingPunct="1">
              <a:lnSpc>
                <a:spcPct val="12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Segoe UI Light" charset="0"/>
                <a:ea typeface="Segoe UI Light" charset="0"/>
                <a:cs typeface="Segoe UI Light" charset="0"/>
              </a:rPr>
              <a:t>Visual</a:t>
            </a:r>
          </a:p>
        </p:txBody>
      </p:sp>
      <p:pic>
        <p:nvPicPr>
          <p:cNvPr id="18" name="Picture 17" descr="Illustration of an ear" title="Icon Heari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51735" y="2423757"/>
            <a:ext cx="994766" cy="994766"/>
          </a:xfrm>
          <a:prstGeom prst="rect">
            <a:avLst/>
          </a:prstGeom>
        </p:spPr>
      </p:pic>
      <p:sp>
        <p:nvSpPr>
          <p:cNvPr id="22" name="Rectangle 21"/>
          <p:cNvSpPr/>
          <p:nvPr/>
        </p:nvSpPr>
        <p:spPr>
          <a:xfrm>
            <a:off x="4571286" y="3612412"/>
            <a:ext cx="1148321" cy="427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32513" rtl="0" eaLnBrk="1" fontAlgn="auto" latinLnBrk="0" hangingPunct="1">
              <a:lnSpc>
                <a:spcPct val="12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Segoe UI Light" charset="0"/>
                <a:ea typeface="Segoe UI Light" charset="0"/>
                <a:cs typeface="Segoe UI Light" charset="0"/>
              </a:rPr>
              <a:t>Hearing</a:t>
            </a:r>
          </a:p>
        </p:txBody>
      </p:sp>
      <p:sp>
        <p:nvSpPr>
          <p:cNvPr id="24" name="Rectangle 23"/>
          <p:cNvSpPr/>
          <p:nvPr/>
        </p:nvSpPr>
        <p:spPr>
          <a:xfrm>
            <a:off x="10409377" y="3685825"/>
            <a:ext cx="1901655" cy="427425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0" marR="0" lvl="0" indent="0" algn="ctr" defTabSz="932513" rtl="0" eaLnBrk="1" fontAlgn="auto" latinLnBrk="0" hangingPunct="1">
              <a:lnSpc>
                <a:spcPct val="12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Segoe UI Light" charset="0"/>
                <a:ea typeface="Segoe UI Light" charset="0"/>
                <a:cs typeface="Segoe UI Light" charset="0"/>
              </a:rPr>
              <a:t>Mental Health</a:t>
            </a:r>
          </a:p>
        </p:txBody>
      </p:sp>
      <p:pic>
        <p:nvPicPr>
          <p:cNvPr id="19" name="Picture 18" descr="Illustration of a head with a brain" title="Icon Cognitive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76832" y="2417216"/>
            <a:ext cx="994767" cy="994767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8383589" y="3640843"/>
            <a:ext cx="1876039" cy="427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32513" rtl="0" eaLnBrk="1" fontAlgn="auto" latinLnBrk="0" hangingPunct="1">
              <a:lnSpc>
                <a:spcPct val="12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Segoe UI Light" charset="0"/>
                <a:ea typeface="Segoe UI Light" charset="0"/>
                <a:cs typeface="Segoe UI Light" charset="0"/>
              </a:rPr>
              <a:t>Neurodiversity</a:t>
            </a:r>
          </a:p>
        </p:txBody>
      </p:sp>
      <p:pic>
        <p:nvPicPr>
          <p:cNvPr id="15" name="Picture 14" descr="Illustration of a person using a wheelchair" title="Icon Mobility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29699" y="2448070"/>
            <a:ext cx="994766" cy="994766"/>
          </a:xfrm>
          <a:prstGeom prst="rect">
            <a:avLst/>
          </a:prstGeom>
        </p:spPr>
      </p:pic>
      <p:sp>
        <p:nvSpPr>
          <p:cNvPr id="25" name="Rectangle 24"/>
          <p:cNvSpPr/>
          <p:nvPr/>
        </p:nvSpPr>
        <p:spPr>
          <a:xfrm>
            <a:off x="6637446" y="3641405"/>
            <a:ext cx="1148321" cy="427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32513" rtl="0" eaLnBrk="1" fontAlgn="auto" latinLnBrk="0" hangingPunct="1">
              <a:lnSpc>
                <a:spcPct val="12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Segoe UI Light" charset="0"/>
                <a:ea typeface="Segoe UI Light" charset="0"/>
                <a:cs typeface="Segoe UI Light" charset="0"/>
              </a:rPr>
              <a:t>Mobility</a:t>
            </a:r>
          </a:p>
        </p:txBody>
      </p:sp>
      <p:pic>
        <p:nvPicPr>
          <p:cNvPr id="5" name="Picture 4" descr="Illustration of a neural network" title="Icon Neural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1282" y="2366677"/>
            <a:ext cx="994767" cy="994767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>
          <a:xfrm>
            <a:off x="152275" y="3583720"/>
            <a:ext cx="2076406" cy="427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32513" rtl="0" eaLnBrk="1" fontAlgn="auto" latinLnBrk="0" hangingPunct="1">
              <a:lnSpc>
                <a:spcPct val="12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Segoe UI Light" charset="0"/>
                <a:ea typeface="Segoe UI Light" charset="0"/>
                <a:cs typeface="Segoe UI Light" charset="0"/>
              </a:rPr>
              <a:t>Learning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2C61AA2-F279-4A78-9B0A-C23C778A974C}"/>
              </a:ext>
            </a:extLst>
          </p:cNvPr>
          <p:cNvSpPr/>
          <p:nvPr/>
        </p:nvSpPr>
        <p:spPr>
          <a:xfrm>
            <a:off x="0" y="6250741"/>
            <a:ext cx="12436475" cy="4776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32513" rtl="0" eaLnBrk="1" fontAlgn="auto" latinLnBrk="0" hangingPunct="1">
              <a:lnSpc>
                <a:spcPct val="12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300" b="0" i="0" u="none" strike="noStrike" kern="1200" cap="none" spc="0" normalizeH="0" baseline="0" noProof="0">
                <a:ln>
                  <a:noFill/>
                </a:ln>
                <a:solidFill>
                  <a:srgbClr val="0078D7"/>
                </a:solidFill>
                <a:effectLst/>
                <a:uLnTx/>
                <a:uFillTx/>
                <a:latin typeface="Segoe UI Light" charset="0"/>
                <a:ea typeface="Segoe UI Light" charset="0"/>
                <a:cs typeface="Segoe UI Light" charset="0"/>
                <a:hlinkClick r:id="rId8"/>
              </a:rPr>
              <a:t>See Microsoft Accessibility features for every classroom</a:t>
            </a:r>
            <a:endParaRPr kumimoji="0" lang="en-US" sz="2300" b="0" i="0" u="none" strike="noStrike" kern="1200" cap="none" spc="0" normalizeH="0" baseline="0" noProof="0">
              <a:ln>
                <a:noFill/>
              </a:ln>
              <a:solidFill>
                <a:srgbClr val="0078D7"/>
              </a:solidFill>
              <a:effectLst/>
              <a:uLnTx/>
              <a:uFillTx/>
              <a:latin typeface="Segoe UI Light" charset="0"/>
              <a:ea typeface="Segoe UI Light" charset="0"/>
              <a:cs typeface="Segoe UI Light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BB95DDD-FFCC-4DBE-827B-8FBB68F8CD50}"/>
              </a:ext>
            </a:extLst>
          </p:cNvPr>
          <p:cNvSpPr txBox="1"/>
          <p:nvPr/>
        </p:nvSpPr>
        <p:spPr>
          <a:xfrm>
            <a:off x="2279933" y="4266478"/>
            <a:ext cx="2070764" cy="15966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54" tIns="146283" rIns="182854" bIns="146283" rtlCol="0" anchor="t"/>
          <a:lstStyle>
            <a:defPPr>
              <a:defRPr lang="en-US"/>
            </a:defPPr>
            <a:lvl1pPr algn="ctr">
              <a:defRPr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285750" marR="0" lvl="0" indent="-285750" algn="l" defTabSz="9322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168385" algn="l"/>
              </a:tabLst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Low vision</a:t>
            </a:r>
          </a:p>
          <a:p>
            <a:pPr marL="285750" marR="0" lvl="0" indent="-285750" algn="l" defTabSz="9322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168385" algn="l"/>
              </a:tabLst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Blind</a:t>
            </a:r>
          </a:p>
          <a:p>
            <a:pPr marL="285750" marR="0" lvl="0" indent="-285750" algn="l" defTabSz="9322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168385" algn="l"/>
              </a:tabLst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Colorblind</a:t>
            </a:r>
          </a:p>
          <a:p>
            <a:pPr marL="285750" marR="0" lvl="0" indent="-285750" algn="l" defTabSz="9322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168385" algn="l"/>
              </a:tabLst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28" name="Straight Connector 11" descr="&quot; &quot;">
            <a:extLst>
              <a:ext uri="{FF2B5EF4-FFF2-40B4-BE49-F238E27FC236}">
                <a16:creationId xmlns:a16="http://schemas.microsoft.com/office/drawing/2014/main" id="{EE170431-3237-45C1-B828-FF9E6FA4D058}"/>
              </a:ext>
            </a:extLst>
          </p:cNvPr>
          <p:cNvCxnSpPr/>
          <p:nvPr/>
        </p:nvCxnSpPr>
        <p:spPr>
          <a:xfrm>
            <a:off x="2138084" y="2618643"/>
            <a:ext cx="0" cy="3102308"/>
          </a:xfrm>
          <a:prstGeom prst="line">
            <a:avLst/>
          </a:prstGeom>
          <a:ln w="12700">
            <a:solidFill>
              <a:schemeClr val="tx1">
                <a:lumMod val="25000"/>
                <a:lumOff val="75000"/>
              </a:schemeClr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0CCF7888-D6D8-4140-846E-EA542E4C917D}"/>
              </a:ext>
            </a:extLst>
          </p:cNvPr>
          <p:cNvSpPr txBox="1"/>
          <p:nvPr/>
        </p:nvSpPr>
        <p:spPr>
          <a:xfrm>
            <a:off x="4199417" y="4251373"/>
            <a:ext cx="2078829" cy="15966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54" tIns="146283" rIns="182854" bIns="146283" rtlCol="0" anchor="t"/>
          <a:lstStyle>
            <a:defPPr>
              <a:defRPr lang="en-US"/>
            </a:defPPr>
            <a:lvl1pPr algn="ctr">
              <a:defRPr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285750" marR="0" lvl="0" indent="-285750" algn="l" defTabSz="9322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168385" algn="l"/>
              </a:tabLst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Deaf</a:t>
            </a:r>
          </a:p>
          <a:p>
            <a:pPr marL="285750" marR="0" lvl="0" indent="-285750" algn="l" defTabSz="9322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168385" algn="l"/>
              </a:tabLst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Hard of Hearing</a:t>
            </a:r>
          </a:p>
        </p:txBody>
      </p:sp>
      <p:cxnSp>
        <p:nvCxnSpPr>
          <p:cNvPr id="30" name="Straight Connector 11" descr="&quot; &quot;">
            <a:extLst>
              <a:ext uri="{FF2B5EF4-FFF2-40B4-BE49-F238E27FC236}">
                <a16:creationId xmlns:a16="http://schemas.microsoft.com/office/drawing/2014/main" id="{3B1B6A18-C64A-44A4-8C32-17958684E56D}"/>
              </a:ext>
            </a:extLst>
          </p:cNvPr>
          <p:cNvCxnSpPr/>
          <p:nvPr/>
        </p:nvCxnSpPr>
        <p:spPr>
          <a:xfrm>
            <a:off x="4205045" y="2618643"/>
            <a:ext cx="0" cy="3102308"/>
          </a:xfrm>
          <a:prstGeom prst="line">
            <a:avLst/>
          </a:prstGeom>
          <a:ln w="12700">
            <a:solidFill>
              <a:schemeClr val="tx1">
                <a:lumMod val="25000"/>
                <a:lumOff val="75000"/>
              </a:schemeClr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2237FAA0-8BDF-496F-9C5E-10602E94FB1D}"/>
              </a:ext>
            </a:extLst>
          </p:cNvPr>
          <p:cNvSpPr txBox="1"/>
          <p:nvPr/>
        </p:nvSpPr>
        <p:spPr>
          <a:xfrm>
            <a:off x="275083" y="4263280"/>
            <a:ext cx="2048597" cy="15966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54" tIns="146283" rIns="182854" bIns="146283" rtlCol="0" anchor="t"/>
          <a:lstStyle>
            <a:defPPr>
              <a:defRPr lang="en-US"/>
            </a:defPPr>
            <a:lvl1pPr algn="ctr">
              <a:defRPr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285750" marR="0" lvl="0" indent="-285750" algn="l" defTabSz="9322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168385" algn="l"/>
              </a:tabLst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Dyslexia </a:t>
            </a:r>
          </a:p>
          <a:p>
            <a:pPr marL="285750" marR="0" lvl="0" indent="-285750" algn="l" defTabSz="9322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168385" algn="l"/>
              </a:tabLst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Dysgraphia </a:t>
            </a:r>
          </a:p>
          <a:p>
            <a:pPr marL="285750" marR="0" lvl="0" indent="-285750" algn="l" defTabSz="9322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168385" algn="l"/>
              </a:tabLst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Dyscalculia </a:t>
            </a:r>
          </a:p>
          <a:p>
            <a:pPr marL="0" marR="0" lvl="0" indent="0" algn="l" defTabSz="9322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68385" algn="l"/>
              </a:tabLst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353535"/>
              </a:solidFill>
              <a:effectLst/>
              <a:uLnTx/>
              <a:uFillTx/>
              <a:latin typeface="Segoe UI Semilight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32" name="Straight Connector 11" descr="&quot; &quot;">
            <a:extLst>
              <a:ext uri="{FF2B5EF4-FFF2-40B4-BE49-F238E27FC236}">
                <a16:creationId xmlns:a16="http://schemas.microsoft.com/office/drawing/2014/main" id="{C5B29D52-82A6-424F-80E3-1C4C4D79148F}"/>
              </a:ext>
            </a:extLst>
          </p:cNvPr>
          <p:cNvCxnSpPr/>
          <p:nvPr/>
        </p:nvCxnSpPr>
        <p:spPr>
          <a:xfrm>
            <a:off x="6285238" y="2618643"/>
            <a:ext cx="0" cy="3102308"/>
          </a:xfrm>
          <a:prstGeom prst="line">
            <a:avLst/>
          </a:prstGeom>
          <a:ln w="12700">
            <a:solidFill>
              <a:schemeClr val="tx1">
                <a:lumMod val="25000"/>
                <a:lumOff val="75000"/>
              </a:schemeClr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D08BACF-97A8-4808-BD4C-CD81E8212BF1}"/>
              </a:ext>
            </a:extLst>
          </p:cNvPr>
          <p:cNvSpPr txBox="1"/>
          <p:nvPr/>
        </p:nvSpPr>
        <p:spPr>
          <a:xfrm>
            <a:off x="8482732" y="4251373"/>
            <a:ext cx="1942618" cy="15966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54" tIns="146283" rIns="182854" bIns="146283" rtlCol="0" anchor="t"/>
          <a:lstStyle>
            <a:defPPr>
              <a:defRPr lang="en-US"/>
            </a:defPPr>
            <a:lvl1pPr algn="ctr">
              <a:defRPr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285750" marR="0" lvl="0" indent="-285750" algn="l" defTabSz="9322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168385" algn="l"/>
              </a:tabLst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Autism</a:t>
            </a:r>
          </a:p>
          <a:p>
            <a:pPr marL="285750" marR="0" lvl="0" indent="-285750" algn="l" defTabSz="9322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168385" algn="l"/>
              </a:tabLst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ADD/ADHA</a:t>
            </a:r>
          </a:p>
          <a:p>
            <a:pPr marL="285750" marR="0" lvl="0" indent="-285750" algn="l" defTabSz="9322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168385" algn="l"/>
              </a:tabLst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Seizure</a:t>
            </a:r>
          </a:p>
        </p:txBody>
      </p:sp>
      <p:cxnSp>
        <p:nvCxnSpPr>
          <p:cNvPr id="34" name="Straight Connector 11" descr="&quot; &quot;">
            <a:extLst>
              <a:ext uri="{FF2B5EF4-FFF2-40B4-BE49-F238E27FC236}">
                <a16:creationId xmlns:a16="http://schemas.microsoft.com/office/drawing/2014/main" id="{DE9CEEE6-7A31-4D6E-A4FD-48E83900F8EF}"/>
              </a:ext>
            </a:extLst>
          </p:cNvPr>
          <p:cNvCxnSpPr/>
          <p:nvPr/>
        </p:nvCxnSpPr>
        <p:spPr>
          <a:xfrm>
            <a:off x="8296918" y="2618643"/>
            <a:ext cx="0" cy="3102308"/>
          </a:xfrm>
          <a:prstGeom prst="line">
            <a:avLst/>
          </a:prstGeom>
          <a:ln w="12700">
            <a:solidFill>
              <a:schemeClr val="tx1">
                <a:lumMod val="25000"/>
                <a:lumOff val="75000"/>
              </a:schemeClr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41921FAE-2F94-4D03-AD93-678801AF39E1}"/>
              </a:ext>
            </a:extLst>
          </p:cNvPr>
          <p:cNvSpPr txBox="1"/>
          <p:nvPr/>
        </p:nvSpPr>
        <p:spPr>
          <a:xfrm>
            <a:off x="6280959" y="4251373"/>
            <a:ext cx="2118684" cy="15966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54" tIns="146283" rIns="182854" bIns="146283" rtlCol="0" anchor="t"/>
          <a:lstStyle>
            <a:defPPr>
              <a:defRPr lang="en-US"/>
            </a:defPPr>
            <a:lvl1pPr algn="ctr">
              <a:defRPr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285750" marR="0" lvl="0" indent="-285750" algn="l" defTabSz="9322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168385" algn="l"/>
              </a:tabLst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Cerebral Palsy</a:t>
            </a:r>
          </a:p>
          <a:p>
            <a:pPr marL="285750" marR="0" lvl="0" indent="-285750" algn="l" defTabSz="9322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168385" algn="l"/>
              </a:tabLst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Muscle Dystrophy</a:t>
            </a:r>
          </a:p>
          <a:p>
            <a:pPr marL="285750" marR="0" lvl="0" indent="-285750" algn="l" defTabSz="9322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168385" algn="l"/>
              </a:tabLst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Amputation</a:t>
            </a:r>
          </a:p>
        </p:txBody>
      </p:sp>
      <p:cxnSp>
        <p:nvCxnSpPr>
          <p:cNvPr id="36" name="Straight Connector 11" descr="&quot; &quot;">
            <a:extLst>
              <a:ext uri="{FF2B5EF4-FFF2-40B4-BE49-F238E27FC236}">
                <a16:creationId xmlns:a16="http://schemas.microsoft.com/office/drawing/2014/main" id="{F464968F-B2AE-46BE-A567-9CE292A6C411}"/>
              </a:ext>
            </a:extLst>
          </p:cNvPr>
          <p:cNvCxnSpPr/>
          <p:nvPr/>
        </p:nvCxnSpPr>
        <p:spPr>
          <a:xfrm>
            <a:off x="10427470" y="2615753"/>
            <a:ext cx="0" cy="3102308"/>
          </a:xfrm>
          <a:prstGeom prst="line">
            <a:avLst/>
          </a:prstGeom>
          <a:ln w="12700">
            <a:solidFill>
              <a:schemeClr val="tx1">
                <a:lumMod val="25000"/>
                <a:lumOff val="75000"/>
              </a:schemeClr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F4835E19-C1B2-415C-900B-7A7423642F55}"/>
              </a:ext>
            </a:extLst>
          </p:cNvPr>
          <p:cNvSpPr txBox="1"/>
          <p:nvPr/>
        </p:nvSpPr>
        <p:spPr>
          <a:xfrm>
            <a:off x="10551426" y="4249266"/>
            <a:ext cx="2063097" cy="15966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54" tIns="146283" rIns="182854" bIns="146283" rtlCol="0" anchor="t"/>
          <a:lstStyle>
            <a:defPPr>
              <a:defRPr lang="en-US"/>
            </a:defPPr>
            <a:lvl1pPr algn="ctr">
              <a:defRPr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285750" marR="0" lvl="0" indent="-285750" algn="l" defTabSz="9322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168385" algn="l"/>
              </a:tabLst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Anxiety</a:t>
            </a:r>
          </a:p>
          <a:p>
            <a:pPr marL="285750" marR="0" lvl="0" indent="-285750" algn="l" defTabSz="9322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168385" algn="l"/>
              </a:tabLst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Depression</a:t>
            </a:r>
          </a:p>
          <a:p>
            <a:pPr marL="285750" marR="0" lvl="0" indent="-285750" algn="l" defTabSz="93229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168385" algn="l"/>
              </a:tabLst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53535"/>
                </a:solidFill>
                <a:effectLst/>
                <a:uLnTx/>
                <a:uFillTx/>
                <a:latin typeface="Segoe UI Semilight"/>
                <a:ea typeface="Segoe UI" pitchFamily="34" charset="0"/>
                <a:cs typeface="Segoe UI" pitchFamily="34" charset="0"/>
              </a:rPr>
              <a:t>OCD</a:t>
            </a:r>
          </a:p>
        </p:txBody>
      </p:sp>
      <p:pic>
        <p:nvPicPr>
          <p:cNvPr id="38" name="Picture 37" descr="Illustration of a head with a brain" title="Icon Cognitive">
            <a:extLst>
              <a:ext uri="{FF2B5EF4-FFF2-40B4-BE49-F238E27FC236}">
                <a16:creationId xmlns:a16="http://schemas.microsoft.com/office/drawing/2014/main" id="{BF2AA21E-F093-46DB-A563-746E9B5852E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890187" y="2431179"/>
            <a:ext cx="994767" cy="994767"/>
          </a:xfrm>
          <a:prstGeom prst="rect">
            <a:avLst/>
          </a:prstGeom>
        </p:spPr>
      </p:pic>
      <p:grpSp>
        <p:nvGrpSpPr>
          <p:cNvPr id="46" name="Group 45" descr="Icon denoting mental health">
            <a:extLst>
              <a:ext uri="{FF2B5EF4-FFF2-40B4-BE49-F238E27FC236}">
                <a16:creationId xmlns:a16="http://schemas.microsoft.com/office/drawing/2014/main" id="{277EFD72-4594-4DB7-8892-CDF8EE4476E8}"/>
              </a:ext>
            </a:extLst>
          </p:cNvPr>
          <p:cNvGrpSpPr/>
          <p:nvPr/>
        </p:nvGrpSpPr>
        <p:grpSpPr>
          <a:xfrm>
            <a:off x="11191800" y="2638060"/>
            <a:ext cx="428739" cy="399475"/>
            <a:chOff x="11669235" y="524888"/>
            <a:chExt cx="378292" cy="378292"/>
          </a:xfrm>
        </p:grpSpPr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903466FF-CE1D-43DE-BB9F-0A6FF0818F82}"/>
                </a:ext>
              </a:extLst>
            </p:cNvPr>
            <p:cNvSpPr/>
            <p:nvPr/>
          </p:nvSpPr>
          <p:spPr bwMode="auto">
            <a:xfrm>
              <a:off x="11669235" y="524888"/>
              <a:ext cx="378292" cy="378292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7030A0"/>
              </a:solidFill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  <p:sp>
          <p:nvSpPr>
            <p:cNvPr id="45" name="Plus Sign 44">
              <a:extLst>
                <a:ext uri="{FF2B5EF4-FFF2-40B4-BE49-F238E27FC236}">
                  <a16:creationId xmlns:a16="http://schemas.microsoft.com/office/drawing/2014/main" id="{6028C372-0E11-4419-A8D4-EBB1BC2E86D0}"/>
                </a:ext>
              </a:extLst>
            </p:cNvPr>
            <p:cNvSpPr/>
            <p:nvPr/>
          </p:nvSpPr>
          <p:spPr bwMode="auto">
            <a:xfrm>
              <a:off x="11706106" y="553261"/>
              <a:ext cx="291553" cy="321544"/>
            </a:xfrm>
            <a:prstGeom prst="mathPlus">
              <a:avLst/>
            </a:prstGeom>
            <a:solidFill>
              <a:srgbClr val="5C2D8E"/>
            </a:solidFill>
            <a:ln w="19050">
              <a:solidFill>
                <a:srgbClr val="7030A0"/>
              </a:solidFill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0" tIns="46637" rIns="0" bIns="46637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Segoe UI Semi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26123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creen grab of the Microsoft Educator Centre&#10;education.microsoft.com">
            <a:extLst>
              <a:ext uri="{FF2B5EF4-FFF2-40B4-BE49-F238E27FC236}">
                <a16:creationId xmlns:a16="http://schemas.microsoft.com/office/drawing/2014/main" id="{55C3C98B-0EDB-4BC3-B8FA-8AAA4479FD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2" y="11102"/>
            <a:ext cx="12434711" cy="6361687"/>
          </a:xfrm>
          <a:prstGeom prst="rect">
            <a:avLst/>
          </a:prstGeom>
        </p:spPr>
      </p:pic>
      <p:sp>
        <p:nvSpPr>
          <p:cNvPr id="159" name="Rectangle 158">
            <a:extLst>
              <a:ext uri="{FF2B5EF4-FFF2-40B4-BE49-F238E27FC236}">
                <a16:creationId xmlns:a16="http://schemas.microsoft.com/office/drawing/2014/main" id="{72257994-BD97-4691-8B89-198A6D2BABD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82" y="5016424"/>
            <a:ext cx="12434711" cy="1978101"/>
          </a:xfrm>
          <a:prstGeom prst="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597">
              <a:defRPr/>
            </a:pPr>
            <a:endParaRPr lang="en-US" sz="1836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8" name="Title 67">
            <a:extLst>
              <a:ext uri="{FF2B5EF4-FFF2-40B4-BE49-F238E27FC236}">
                <a16:creationId xmlns:a16="http://schemas.microsoft.com/office/drawing/2014/main" id="{EA7AA8DF-C1D8-4337-93B4-F1A8ABCCF1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938" y="4124976"/>
            <a:ext cx="9170599" cy="1515480"/>
          </a:xfrm>
          <a:solidFill>
            <a:srgbClr val="FFFFFF"/>
          </a:solidFill>
          <a:ln w="38100">
            <a:solidFill>
              <a:srgbClr val="404040"/>
            </a:solidFill>
            <a:miter lim="800000"/>
          </a:ln>
        </p:spPr>
        <p:txBody>
          <a:bodyPr vert="horz" lIns="93260" tIns="46630" rIns="93260" bIns="46630" rtlCol="0" anchor="ctr">
            <a:normAutofit fontScale="90000"/>
          </a:bodyPr>
          <a:lstStyle/>
          <a:p>
            <a:pPr algn="ctr" fontAlgn="base">
              <a:spcAft>
                <a:spcPct val="0"/>
              </a:spcAft>
            </a:pPr>
            <a:r>
              <a:rPr lang="en-US" sz="5405" b="1" dirty="0">
                <a:solidFill>
                  <a:srgbClr val="404040"/>
                </a:solidFill>
              </a:rPr>
              <a:t/>
            </a:r>
            <a:br>
              <a:rPr lang="en-US" sz="5405" b="1" dirty="0">
                <a:solidFill>
                  <a:srgbClr val="404040"/>
                </a:solidFill>
              </a:rPr>
            </a:br>
            <a:r>
              <a:rPr lang="en-US" sz="5405" b="1" dirty="0">
                <a:solidFill>
                  <a:srgbClr val="404040"/>
                </a:solidFill>
              </a:rPr>
              <a:t>education.microsoft.com</a:t>
            </a:r>
            <a:r>
              <a:rPr lang="en-US" sz="4080" b="1" dirty="0">
                <a:solidFill>
                  <a:srgbClr val="404040"/>
                </a:solidFill>
              </a:rPr>
              <a:t/>
            </a:r>
            <a:br>
              <a:rPr lang="en-US" sz="4080" b="1" dirty="0">
                <a:solidFill>
                  <a:srgbClr val="404040"/>
                </a:solidFill>
              </a:rPr>
            </a:br>
            <a:r>
              <a:rPr lang="en-US" sz="2856" b="1" dirty="0">
                <a:solidFill>
                  <a:srgbClr val="404040"/>
                </a:solidFill>
              </a:rPr>
              <a:t/>
            </a:r>
            <a:br>
              <a:rPr lang="en-US" sz="2856" b="1" dirty="0">
                <a:solidFill>
                  <a:srgbClr val="404040"/>
                </a:solidFill>
              </a:rPr>
            </a:br>
            <a:endParaRPr lang="en-US" sz="2856" dirty="0">
              <a:solidFill>
                <a:srgbClr val="404040"/>
              </a:solidFill>
            </a:endParaRPr>
          </a:p>
        </p:txBody>
      </p:sp>
      <p:sp>
        <p:nvSpPr>
          <p:cNvPr id="149" name="Content Placeholder 148">
            <a:extLst>
              <a:ext uri="{FF2B5EF4-FFF2-40B4-BE49-F238E27FC236}">
                <a16:creationId xmlns:a16="http://schemas.microsoft.com/office/drawing/2014/main" id="{AA02CE91-6B3E-4EB8-8F30-859333653D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749730" y="5801779"/>
            <a:ext cx="6937014" cy="1192746"/>
          </a:xfrm>
        </p:spPr>
        <p:txBody>
          <a:bodyPr vert="horz" lIns="93260" tIns="46630" rIns="93260" bIns="46630" rtlCol="0">
            <a:normAutofit fontScale="77500" lnSpcReduction="20000"/>
          </a:bodyPr>
          <a:lstStyle/>
          <a:p>
            <a:pPr marL="0" indent="0" algn="ctr">
              <a:buNone/>
            </a:pPr>
            <a:r>
              <a:rPr lang="en-US" sz="3672" dirty="0">
                <a:solidFill>
                  <a:srgbClr val="FFFFFF"/>
                </a:solidFill>
              </a:rPr>
              <a:t/>
            </a:r>
            <a:br>
              <a:rPr lang="en-US" sz="3672" dirty="0">
                <a:solidFill>
                  <a:srgbClr val="FFFFFF"/>
                </a:solidFill>
              </a:rPr>
            </a:br>
            <a:r>
              <a:rPr lang="en-US" sz="5915" dirty="0">
                <a:solidFill>
                  <a:srgbClr val="FFFFFF"/>
                </a:solidFill>
              </a:rPr>
              <a:t>Microsoft Educator Centre</a:t>
            </a:r>
            <a:endParaRPr lang="en-US" sz="3672" dirty="0">
              <a:solidFill>
                <a:srgbClr val="FFFFFF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4265123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CB22D38C-1E42-4082-BDEB-9826FE6CDCF0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8811986" y="6503681"/>
            <a:ext cx="3623608" cy="469039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448" b="0" i="0" u="none" strike="noStrike" kern="1200" cap="none" spc="0" normalizeH="0" baseline="0" noProof="0" dirty="0">
                <a:ln>
                  <a:noFill/>
                </a:ln>
                <a:solidFill>
                  <a:srgbClr val="0068C5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3"/>
              </a:rPr>
              <a:t>aka.ms/</a:t>
            </a:r>
            <a:r>
              <a:rPr kumimoji="0" lang="en-AU" sz="2448" b="0" i="0" u="none" strike="noStrike" kern="1200" cap="none" spc="0" normalizeH="0" baseline="0" noProof="0" dirty="0" err="1">
                <a:ln>
                  <a:noFill/>
                </a:ln>
                <a:solidFill>
                  <a:srgbClr val="0068C5"/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3"/>
              </a:rPr>
              <a:t>MECAccessibility</a:t>
            </a:r>
            <a:endParaRPr kumimoji="0" lang="en-AU" sz="2448" b="0" i="0" u="none" strike="noStrike" kern="1200" cap="none" spc="0" normalizeH="0" baseline="0" noProof="0" dirty="0">
              <a:ln>
                <a:noFill/>
              </a:ln>
              <a:solidFill>
                <a:srgbClr val="0068C5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2" name="Picture 1" descr="Screen grab of the Accessibility Resources web page">
            <a:extLst>
              <a:ext uri="{FF2B5EF4-FFF2-40B4-BE49-F238E27FC236}">
                <a16:creationId xmlns:a16="http://schemas.microsoft.com/office/drawing/2014/main" id="{2F7B5C24-EA62-4FAB-9FA7-5E9AA27AD70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2" y="0"/>
            <a:ext cx="12434711" cy="65036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280662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9D477F17-73B0-4EED-B3DF-431D7DCD692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73" b="9107"/>
          <a:stretch/>
        </p:blipFill>
        <p:spPr>
          <a:xfrm>
            <a:off x="1765" y="496"/>
            <a:ext cx="12432948" cy="7041202"/>
          </a:xfrm>
          <a:prstGeom prst="rect">
            <a:avLst/>
          </a:prstGeom>
        </p:spPr>
      </p:pic>
      <p:sp>
        <p:nvSpPr>
          <p:cNvPr id="9" name="Text Box 3">
            <a:extLst>
              <a:ext uri="{FF2B5EF4-FFF2-40B4-BE49-F238E27FC236}">
                <a16:creationId xmlns:a16="http://schemas.microsoft.com/office/drawing/2014/main" id="{E1A3AE6F-7FAE-47F2-A076-3DFE3C7D0AF9}"/>
              </a:ext>
            </a:extLst>
          </p:cNvPr>
          <p:cNvSpPr txBox="1">
            <a:spLocks noChangeArrowheads="1"/>
          </p:cNvSpPr>
          <p:nvPr/>
        </p:nvSpPr>
        <p:spPr bwMode="blackWhite">
          <a:xfrm>
            <a:off x="9849247" y="6528379"/>
            <a:ext cx="2478220" cy="476896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02" tIns="182802" rIns="182802" bIns="182802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3175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 Semilight"/>
                <a:ea typeface="+mn-ea"/>
                <a:cs typeface="Segoe UI" pitchFamily="34" charset="0"/>
              </a:rPr>
              <a:t>© Copyright Microsoft Corporation. All rights reserved. 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A28ABE7-8DC2-40A9-8225-DA01584E19D8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/>
          <p:nvPr/>
        </p:nvGrpSpPr>
        <p:grpSpPr>
          <a:xfrm>
            <a:off x="109008" y="5323727"/>
            <a:ext cx="3187096" cy="1443084"/>
            <a:chOff x="1210290" y="5347291"/>
            <a:chExt cx="3125332" cy="1415118"/>
          </a:xfrm>
        </p:grpSpPr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1CC80D4B-E326-4FE3-A6AE-41783FB905F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grayscl/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5140" b="89720" l="9786" r="89297">
                          <a14:foregroundMark x1="58410" y1="7477" x2="61468" y2="7477"/>
                          <a14:foregroundMark x1="69113" y1="7009" x2="67890" y2="7944"/>
                          <a14:foregroundMark x1="60550" y1="5140" x2="57187" y2="5607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467" r="24540" b="34983"/>
            <a:stretch/>
          </p:blipFill>
          <p:spPr>
            <a:xfrm>
              <a:off x="1210290" y="5347291"/>
              <a:ext cx="459107" cy="368623"/>
            </a:xfrm>
            <a:prstGeom prst="rect">
              <a:avLst/>
            </a:prstGeom>
          </p:spPr>
        </p:pic>
        <p:pic>
          <p:nvPicPr>
            <p:cNvPr id="12" name="Grafik 11" descr="Ein Bild, das Vektorgrafiken enthält.&#10;&#10;Mit hoher Zuverlässigkeit generierte Beschreibung">
              <a:extLst>
                <a:ext uri="{FF2B5EF4-FFF2-40B4-BE49-F238E27FC236}">
                  <a16:creationId xmlns:a16="http://schemas.microsoft.com/office/drawing/2014/main" id="{1EEFEBE0-CF7D-4CC3-98EC-5968A982D64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54439" y="5836204"/>
              <a:ext cx="361036" cy="361036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F1478A32-818C-4740-98DB-221512337C49}"/>
                </a:ext>
              </a:extLst>
            </p:cNvPr>
            <p:cNvSpPr txBox="1"/>
            <p:nvPr/>
          </p:nvSpPr>
          <p:spPr>
            <a:xfrm>
              <a:off x="1907585" y="5347291"/>
              <a:ext cx="1521355" cy="3804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508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73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@hojusaram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9F3818F3-13BA-4093-A8EE-12BCCA99559F}"/>
                </a:ext>
              </a:extLst>
            </p:cNvPr>
            <p:cNvSpPr/>
            <p:nvPr/>
          </p:nvSpPr>
          <p:spPr>
            <a:xfrm>
              <a:off x="1907585" y="5833347"/>
              <a:ext cx="1355564" cy="38055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508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73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Troy Waller</a:t>
              </a: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DA6E9C22-A1ED-4F5B-BD73-9D99D9E3D34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54439" y="6401373"/>
              <a:ext cx="361036" cy="361036"/>
            </a:xfrm>
            <a:prstGeom prst="rect">
              <a:avLst/>
            </a:prstGeom>
            <a:effectLst>
              <a:softEdge rad="12700"/>
            </a:effectLst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17E4CCF0-B00A-4DF2-ACD2-4DFCB542A0B4}"/>
                </a:ext>
              </a:extLst>
            </p:cNvPr>
            <p:cNvSpPr txBox="1"/>
            <p:nvPr/>
          </p:nvSpPr>
          <p:spPr>
            <a:xfrm>
              <a:off x="1907585" y="6373093"/>
              <a:ext cx="2428037" cy="38055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5088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73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Troy Waller Microsoft</a:t>
              </a:r>
            </a:p>
          </p:txBody>
        </p:sp>
      </p:grpSp>
      <p:pic>
        <p:nvPicPr>
          <p:cNvPr id="16" name="Picture 15" descr="Students using headsets to view holograms&#10;&#10;Description automatically generated">
            <a:extLst>
              <a:ext uri="{FF2B5EF4-FFF2-40B4-BE49-F238E27FC236}">
                <a16:creationId xmlns:a16="http://schemas.microsoft.com/office/drawing/2014/main" id="{34CDD5C7-AE11-42D0-B90B-29BC3270356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alphaModFix amt="55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6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5419" y="5628264"/>
            <a:ext cx="1291216" cy="96841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0CE0EDA-D1B2-4E08-85BC-8D0A17E5C08C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234032" y="2372660"/>
            <a:ext cx="6206214" cy="1181276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algn="l" defTabSz="914225" rtl="0" eaLnBrk="1" latinLnBrk="0" hangingPunct="1">
              <a:spcBef>
                <a:spcPct val="0"/>
              </a:spcBef>
              <a:buNone/>
              <a:defRPr sz="3921" kern="1200" spc="-29" baseline="0">
                <a:gradFill>
                  <a:gsLst>
                    <a:gs pos="2917">
                      <a:srgbClr val="0078D7"/>
                    </a:gs>
                    <a:gs pos="100000">
                      <a:srgbClr val="0078D7">
                        <a:alpha val="99000"/>
                      </a:srgbClr>
                    </a:gs>
                  </a:gsLst>
                  <a:lin ang="5400000" scaled="0"/>
                </a:gradFill>
                <a:latin typeface="Segoe UI Semilight" panose="020B0402040204020203" pitchFamily="34" charset="0"/>
                <a:ea typeface="+mj-ea"/>
                <a:cs typeface="Segoe UI Semilight" panose="020B0402040204020203" pitchFamily="34" charset="0"/>
              </a:defRPr>
            </a:lvl1pPr>
          </a:lstStyle>
          <a:p>
            <a:pPr marL="0" marR="0" lvl="0" indent="0" algn="l" defTabSz="93241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385" b="0" i="0" u="none" strike="noStrike" kern="1200" cap="none" spc="-3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light" panose="020B0402040204020203" pitchFamily="34" charset="0"/>
                <a:ea typeface="+mj-ea"/>
                <a:cs typeface="Segoe UI Semilight" panose="020B0402040204020203" pitchFamily="34" charset="0"/>
              </a:rPr>
              <a:t>Stay connected…</a:t>
            </a:r>
            <a:endParaRPr kumimoji="0" lang="en-US" sz="3999" b="0" i="0" u="none" strike="noStrike" kern="1200" cap="none" spc="-3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Semilight" panose="020B0402040204020203" pitchFamily="34" charset="0"/>
              <a:ea typeface="+mj-ea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2759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2436" y="-1"/>
            <a:ext cx="12431602" cy="69945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Content Placeholder 3" descr="A pair of adult's black shoes and children's sandals">
            <a:extLst>
              <a:ext uri="{FF2B5EF4-FFF2-40B4-BE49-F238E27FC236}">
                <a16:creationId xmlns:a16="http://schemas.microsoft.com/office/drawing/2014/main" id="{F50C6D08-ED28-490D-B97F-6B464D58419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/>
          <a:srcRect t="10017"/>
          <a:stretch/>
        </p:blipFill>
        <p:spPr>
          <a:xfrm>
            <a:off x="902" y="1307"/>
            <a:ext cx="12434691" cy="699321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3D19CA4-E39A-4FC1-AE7E-C50967DA03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5008" y="-1351952"/>
            <a:ext cx="10726460" cy="1351952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AU" dirty="0"/>
              <a:t>Average Shoe size</a:t>
            </a:r>
          </a:p>
        </p:txBody>
      </p:sp>
    </p:spTree>
    <p:extLst>
      <p:ext uri="{BB962C8B-B14F-4D97-AF65-F5344CB8AC3E}">
        <p14:creationId xmlns:p14="http://schemas.microsoft.com/office/powerpoint/2010/main" val="39975419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Toes poking out of shoes that are too small">
            <a:extLst>
              <a:ext uri="{FF2B5EF4-FFF2-40B4-BE49-F238E27FC236}">
                <a16:creationId xmlns:a16="http://schemas.microsoft.com/office/drawing/2014/main" id="{6031DAEC-2062-4064-BC1D-8C4241F8367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1120" b="13835"/>
          <a:stretch/>
        </p:blipFill>
        <p:spPr>
          <a:xfrm>
            <a:off x="902" y="1"/>
            <a:ext cx="6170703" cy="3468629"/>
          </a:xfrm>
          <a:custGeom>
            <a:avLst/>
            <a:gdLst/>
            <a:ahLst/>
            <a:cxnLst/>
            <a:rect l="l" t="t" r="r" b="b"/>
            <a:pathLst>
              <a:path w="6050278" h="3400925">
                <a:moveTo>
                  <a:pt x="0" y="0"/>
                </a:moveTo>
                <a:lnTo>
                  <a:pt x="6050278" y="0"/>
                </a:lnTo>
                <a:lnTo>
                  <a:pt x="6050278" y="1827306"/>
                </a:lnTo>
                <a:lnTo>
                  <a:pt x="3892296" y="1827306"/>
                </a:lnTo>
                <a:lnTo>
                  <a:pt x="3892296" y="3400925"/>
                </a:lnTo>
                <a:lnTo>
                  <a:pt x="0" y="3400925"/>
                </a:lnTo>
                <a:close/>
              </a:path>
            </a:pathLst>
          </a:custGeom>
        </p:spPr>
      </p:pic>
      <p:pic>
        <p:nvPicPr>
          <p:cNvPr id="7" name="Picture 6" descr="Someone putting their feet in shoes that are too small">
            <a:extLst>
              <a:ext uri="{FF2B5EF4-FFF2-40B4-BE49-F238E27FC236}">
                <a16:creationId xmlns:a16="http://schemas.microsoft.com/office/drawing/2014/main" id="{1102C36C-6EFA-4841-8D69-3FAA7948D80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5914" r="-1" b="8751"/>
          <a:stretch/>
        </p:blipFill>
        <p:spPr>
          <a:xfrm>
            <a:off x="6264869" y="1"/>
            <a:ext cx="6170723" cy="3468629"/>
          </a:xfrm>
          <a:custGeom>
            <a:avLst/>
            <a:gdLst/>
            <a:ahLst/>
            <a:cxnLst/>
            <a:rect l="l" t="t" r="r" b="b"/>
            <a:pathLst>
              <a:path w="6050278" h="3400925">
                <a:moveTo>
                  <a:pt x="0" y="0"/>
                </a:moveTo>
                <a:lnTo>
                  <a:pt x="6050278" y="0"/>
                </a:lnTo>
                <a:lnTo>
                  <a:pt x="6050278" y="3400925"/>
                </a:lnTo>
                <a:lnTo>
                  <a:pt x="2157982" y="3400925"/>
                </a:lnTo>
                <a:lnTo>
                  <a:pt x="2157982" y="1827306"/>
                </a:lnTo>
                <a:lnTo>
                  <a:pt x="0" y="1827306"/>
                </a:lnTo>
                <a:close/>
              </a:path>
            </a:pathLst>
          </a:custGeom>
        </p:spPr>
      </p:pic>
      <p:pic>
        <p:nvPicPr>
          <p:cNvPr id="5" name="Picture 4" descr="Someone putting their feet in shoes that are too big">
            <a:extLst>
              <a:ext uri="{FF2B5EF4-FFF2-40B4-BE49-F238E27FC236}">
                <a16:creationId xmlns:a16="http://schemas.microsoft.com/office/drawing/2014/main" id="{3116D3FC-4413-47AE-82DE-4B8E80BF813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1931" b="-1"/>
          <a:stretch/>
        </p:blipFill>
        <p:spPr>
          <a:xfrm>
            <a:off x="902" y="3558619"/>
            <a:ext cx="6170703" cy="3435906"/>
          </a:xfrm>
          <a:custGeom>
            <a:avLst/>
            <a:gdLst/>
            <a:ahLst/>
            <a:cxnLst/>
            <a:rect l="l" t="t" r="r" b="b"/>
            <a:pathLst>
              <a:path w="6050278" h="3368841">
                <a:moveTo>
                  <a:pt x="0" y="0"/>
                </a:moveTo>
                <a:lnTo>
                  <a:pt x="3892296" y="0"/>
                </a:lnTo>
                <a:lnTo>
                  <a:pt x="3892296" y="1541535"/>
                </a:lnTo>
                <a:lnTo>
                  <a:pt x="6050278" y="1541535"/>
                </a:lnTo>
                <a:lnTo>
                  <a:pt x="6050278" y="3368841"/>
                </a:lnTo>
                <a:lnTo>
                  <a:pt x="0" y="3368841"/>
                </a:lnTo>
                <a:close/>
              </a:path>
            </a:pathLst>
          </a:custGeom>
        </p:spPr>
      </p:pic>
      <p:pic>
        <p:nvPicPr>
          <p:cNvPr id="6" name="Picture 5" descr="A child wearing adult shoes that are too big">
            <a:extLst>
              <a:ext uri="{FF2B5EF4-FFF2-40B4-BE49-F238E27FC236}">
                <a16:creationId xmlns:a16="http://schemas.microsoft.com/office/drawing/2014/main" id="{36F3DC0D-CD50-4359-A794-54792FA7CB44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4516" r="-1" b="1506"/>
          <a:stretch/>
        </p:blipFill>
        <p:spPr>
          <a:xfrm>
            <a:off x="6264869" y="3558619"/>
            <a:ext cx="6170723" cy="3435906"/>
          </a:xfrm>
          <a:custGeom>
            <a:avLst/>
            <a:gdLst/>
            <a:ahLst/>
            <a:cxnLst/>
            <a:rect l="l" t="t" r="r" b="b"/>
            <a:pathLst>
              <a:path w="6050278" h="3368841">
                <a:moveTo>
                  <a:pt x="2157982" y="0"/>
                </a:moveTo>
                <a:lnTo>
                  <a:pt x="6050278" y="0"/>
                </a:lnTo>
                <a:lnTo>
                  <a:pt x="6050278" y="3368841"/>
                </a:lnTo>
                <a:lnTo>
                  <a:pt x="0" y="3368841"/>
                </a:lnTo>
                <a:lnTo>
                  <a:pt x="0" y="1541535"/>
                </a:lnTo>
                <a:lnTo>
                  <a:pt x="2157982" y="1541535"/>
                </a:lnTo>
                <a:close/>
              </a:path>
            </a:pathLst>
          </a:custGeom>
        </p:spPr>
      </p:pic>
      <p:pic>
        <p:nvPicPr>
          <p:cNvPr id="8" name="Picture 7" descr="An adult with one toe in a baby's shoe">
            <a:extLst>
              <a:ext uri="{FF2B5EF4-FFF2-40B4-BE49-F238E27FC236}">
                <a16:creationId xmlns:a16="http://schemas.microsoft.com/office/drawing/2014/main" id="{D122DF4B-A43F-4E0A-B9D9-05683E72765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3" b="21147"/>
          <a:stretch/>
        </p:blipFill>
        <p:spPr>
          <a:xfrm>
            <a:off x="4063924" y="1956833"/>
            <a:ext cx="4308627" cy="308086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5AF9FF8-B3A7-4CFA-8098-504C21E104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5008" y="-1351952"/>
            <a:ext cx="10726460" cy="1351952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AU" dirty="0"/>
              <a:t>Missing what most people need</a:t>
            </a:r>
          </a:p>
        </p:txBody>
      </p:sp>
    </p:spTree>
    <p:extLst>
      <p:ext uri="{BB962C8B-B14F-4D97-AF65-F5344CB8AC3E}">
        <p14:creationId xmlns:p14="http://schemas.microsoft.com/office/powerpoint/2010/main" val="31318812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A9CB0874-88B8-43D3-B0B6-C32F790F790D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82" y="-1"/>
            <a:ext cx="12434711" cy="6994525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BFD067A-52BE-40EE-B7CA-391830B9A26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882" y="0"/>
            <a:ext cx="12434711" cy="2612769"/>
            <a:chOff x="0" y="0"/>
            <a:chExt cx="12192000" cy="2561771"/>
          </a:xfrm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1CDA7855-806B-4A02-9C19-24872E4D89AF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2192000" cy="2561771"/>
            </a:xfrm>
            <a:custGeom>
              <a:avLst/>
              <a:gdLst>
                <a:gd name="connsiteX0" fmla="*/ 0 w 12192000"/>
                <a:gd name="connsiteY0" fmla="*/ 0 h 2561771"/>
                <a:gd name="connsiteX1" fmla="*/ 12192000 w 12192000"/>
                <a:gd name="connsiteY1" fmla="*/ 0 h 2561771"/>
                <a:gd name="connsiteX2" fmla="*/ 12192000 w 12192000"/>
                <a:gd name="connsiteY2" fmla="*/ 2359863 h 2561771"/>
                <a:gd name="connsiteX3" fmla="*/ 6364514 w 12192000"/>
                <a:gd name="connsiteY3" fmla="*/ 2561771 h 2561771"/>
                <a:gd name="connsiteX4" fmla="*/ 1981200 w 12192000"/>
                <a:gd name="connsiteY4" fmla="*/ 2278742 h 2561771"/>
                <a:gd name="connsiteX5" fmla="*/ 0 w 12192000"/>
                <a:gd name="connsiteY5" fmla="*/ 2343277 h 2561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192000" h="2561771">
                  <a:moveTo>
                    <a:pt x="0" y="0"/>
                  </a:moveTo>
                  <a:lnTo>
                    <a:pt x="12192000" y="0"/>
                  </a:lnTo>
                  <a:lnTo>
                    <a:pt x="12192000" y="2359863"/>
                  </a:lnTo>
                  <a:lnTo>
                    <a:pt x="6364514" y="2561771"/>
                  </a:lnTo>
                  <a:lnTo>
                    <a:pt x="1981200" y="2278742"/>
                  </a:lnTo>
                  <a:lnTo>
                    <a:pt x="0" y="2343277"/>
                  </a:lnTo>
                  <a:close/>
                </a:path>
              </a:pathLst>
            </a:custGeom>
            <a:solidFill>
              <a:schemeClr val="tx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325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3AFE70DE-5BEC-4E54-98D2-48C13E1491F0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2192000" cy="2561771"/>
            </a:xfrm>
            <a:custGeom>
              <a:avLst/>
              <a:gdLst>
                <a:gd name="connsiteX0" fmla="*/ 0 w 12192000"/>
                <a:gd name="connsiteY0" fmla="*/ 0 h 2561771"/>
                <a:gd name="connsiteX1" fmla="*/ 12192000 w 12192000"/>
                <a:gd name="connsiteY1" fmla="*/ 0 h 2561771"/>
                <a:gd name="connsiteX2" fmla="*/ 12192000 w 12192000"/>
                <a:gd name="connsiteY2" fmla="*/ 2359863 h 2561771"/>
                <a:gd name="connsiteX3" fmla="*/ 6364514 w 12192000"/>
                <a:gd name="connsiteY3" fmla="*/ 2561771 h 2561771"/>
                <a:gd name="connsiteX4" fmla="*/ 1981200 w 12192000"/>
                <a:gd name="connsiteY4" fmla="*/ 2278742 h 2561771"/>
                <a:gd name="connsiteX5" fmla="*/ 0 w 12192000"/>
                <a:gd name="connsiteY5" fmla="*/ 2343277 h 2561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192000" h="2561771">
                  <a:moveTo>
                    <a:pt x="0" y="0"/>
                  </a:moveTo>
                  <a:lnTo>
                    <a:pt x="12192000" y="0"/>
                  </a:lnTo>
                  <a:lnTo>
                    <a:pt x="12192000" y="2359863"/>
                  </a:lnTo>
                  <a:lnTo>
                    <a:pt x="6364514" y="2561771"/>
                  </a:lnTo>
                  <a:lnTo>
                    <a:pt x="1981200" y="2278742"/>
                  </a:lnTo>
                  <a:lnTo>
                    <a:pt x="0" y="2343277"/>
                  </a:lnTo>
                  <a:close/>
                </a:path>
              </a:pathLst>
            </a:custGeom>
            <a:solidFill>
              <a:schemeClr val="bg1">
                <a:alpha val="14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325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C15B8CC4-8CCE-428F-AE7E-28D178984CEC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 rot="10800000">
            <a:off x="882" y="2067511"/>
            <a:ext cx="12434711" cy="772241"/>
            <a:chOff x="0" y="2959818"/>
            <a:chExt cx="12192000" cy="757168"/>
          </a:xfrm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A6359FA2-E374-4073-8269-E10D2AE749C7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959818"/>
              <a:ext cx="12192000" cy="757168"/>
            </a:xfrm>
            <a:custGeom>
              <a:avLst/>
              <a:gdLst>
                <a:gd name="connsiteX0" fmla="*/ 0 w 12192000"/>
                <a:gd name="connsiteY0" fmla="*/ 0 h 757168"/>
                <a:gd name="connsiteX1" fmla="*/ 41653 w 12192000"/>
                <a:gd name="connsiteY1" fmla="*/ 6945 h 757168"/>
                <a:gd name="connsiteX2" fmla="*/ 81317 w 12192000"/>
                <a:gd name="connsiteY2" fmla="*/ 15509 h 757168"/>
                <a:gd name="connsiteX3" fmla="*/ 114150 w 12192000"/>
                <a:gd name="connsiteY3" fmla="*/ 28105 h 757168"/>
                <a:gd name="connsiteX4" fmla="*/ 214865 w 12192000"/>
                <a:gd name="connsiteY4" fmla="*/ 58374 h 757168"/>
                <a:gd name="connsiteX5" fmla="*/ 299237 w 12192000"/>
                <a:gd name="connsiteY5" fmla="*/ 63560 h 757168"/>
                <a:gd name="connsiteX6" fmla="*/ 415570 w 12192000"/>
                <a:gd name="connsiteY6" fmla="*/ 83774 h 757168"/>
                <a:gd name="connsiteX7" fmla="*/ 633210 w 12192000"/>
                <a:gd name="connsiteY7" fmla="*/ 109108 h 757168"/>
                <a:gd name="connsiteX8" fmla="*/ 677567 w 12192000"/>
                <a:gd name="connsiteY8" fmla="*/ 119446 h 757168"/>
                <a:gd name="connsiteX9" fmla="*/ 946429 w 12192000"/>
                <a:gd name="connsiteY9" fmla="*/ 171502 h 757168"/>
                <a:gd name="connsiteX10" fmla="*/ 1163367 w 12192000"/>
                <a:gd name="connsiteY10" fmla="*/ 182106 h 757168"/>
                <a:gd name="connsiteX11" fmla="*/ 1180337 w 12192000"/>
                <a:gd name="connsiteY11" fmla="*/ 181279 h 757168"/>
                <a:gd name="connsiteX12" fmla="*/ 1263939 w 12192000"/>
                <a:gd name="connsiteY12" fmla="*/ 173070 h 757168"/>
                <a:gd name="connsiteX13" fmla="*/ 1392213 w 12192000"/>
                <a:gd name="connsiteY13" fmla="*/ 183225 h 757168"/>
                <a:gd name="connsiteX14" fmla="*/ 1479752 w 12192000"/>
                <a:gd name="connsiteY14" fmla="*/ 205174 h 757168"/>
                <a:gd name="connsiteX15" fmla="*/ 1589813 w 12192000"/>
                <a:gd name="connsiteY15" fmla="*/ 211706 h 757168"/>
                <a:gd name="connsiteX16" fmla="*/ 1716264 w 12192000"/>
                <a:gd name="connsiteY16" fmla="*/ 207459 h 757168"/>
                <a:gd name="connsiteX17" fmla="*/ 1772900 w 12192000"/>
                <a:gd name="connsiteY17" fmla="*/ 208137 h 757168"/>
                <a:gd name="connsiteX18" fmla="*/ 1929319 w 12192000"/>
                <a:gd name="connsiteY18" fmla="*/ 193822 h 757168"/>
                <a:gd name="connsiteX19" fmla="*/ 2021514 w 12192000"/>
                <a:gd name="connsiteY19" fmla="*/ 204186 h 757168"/>
                <a:gd name="connsiteX20" fmla="*/ 2111753 w 12192000"/>
                <a:gd name="connsiteY20" fmla="*/ 223797 h 757168"/>
                <a:gd name="connsiteX21" fmla="*/ 2169356 w 12192000"/>
                <a:gd name="connsiteY21" fmla="*/ 241125 h 757168"/>
                <a:gd name="connsiteX22" fmla="*/ 2286638 w 12192000"/>
                <a:gd name="connsiteY22" fmla="*/ 257382 h 757168"/>
                <a:gd name="connsiteX23" fmla="*/ 2308368 w 12192000"/>
                <a:gd name="connsiteY23" fmla="*/ 256995 h 757168"/>
                <a:gd name="connsiteX24" fmla="*/ 2660621 w 12192000"/>
                <a:gd name="connsiteY24" fmla="*/ 262863 h 757168"/>
                <a:gd name="connsiteX25" fmla="*/ 2801134 w 12192000"/>
                <a:gd name="connsiteY25" fmla="*/ 250006 h 757168"/>
                <a:gd name="connsiteX26" fmla="*/ 2830994 w 12192000"/>
                <a:gd name="connsiteY26" fmla="*/ 249091 h 757168"/>
                <a:gd name="connsiteX27" fmla="*/ 3129084 w 12192000"/>
                <a:gd name="connsiteY27" fmla="*/ 242009 h 757168"/>
                <a:gd name="connsiteX28" fmla="*/ 3162162 w 12192000"/>
                <a:gd name="connsiteY28" fmla="*/ 242789 h 757168"/>
                <a:gd name="connsiteX29" fmla="*/ 3254072 w 12192000"/>
                <a:gd name="connsiteY29" fmla="*/ 251612 h 757168"/>
                <a:gd name="connsiteX30" fmla="*/ 3473491 w 12192000"/>
                <a:gd name="connsiteY30" fmla="*/ 221903 h 757168"/>
                <a:gd name="connsiteX31" fmla="*/ 3691860 w 12192000"/>
                <a:gd name="connsiteY31" fmla="*/ 219228 h 757168"/>
                <a:gd name="connsiteX32" fmla="*/ 3811494 w 12192000"/>
                <a:gd name="connsiteY32" fmla="*/ 225691 h 757168"/>
                <a:gd name="connsiteX33" fmla="*/ 3897533 w 12192000"/>
                <a:gd name="connsiteY33" fmla="*/ 220087 h 757168"/>
                <a:gd name="connsiteX34" fmla="*/ 4109430 w 12192000"/>
                <a:gd name="connsiteY34" fmla="*/ 200477 h 757168"/>
                <a:gd name="connsiteX35" fmla="*/ 4208772 w 12192000"/>
                <a:gd name="connsiteY35" fmla="*/ 200914 h 757168"/>
                <a:gd name="connsiteX36" fmla="*/ 4314641 w 12192000"/>
                <a:gd name="connsiteY36" fmla="*/ 196159 h 757168"/>
                <a:gd name="connsiteX37" fmla="*/ 4577622 w 12192000"/>
                <a:gd name="connsiteY37" fmla="*/ 163774 h 757168"/>
                <a:gd name="connsiteX38" fmla="*/ 4790345 w 12192000"/>
                <a:gd name="connsiteY38" fmla="*/ 177592 h 757168"/>
                <a:gd name="connsiteX39" fmla="*/ 4926164 w 12192000"/>
                <a:gd name="connsiteY39" fmla="*/ 184139 h 757168"/>
                <a:gd name="connsiteX40" fmla="*/ 5088812 w 12192000"/>
                <a:gd name="connsiteY40" fmla="*/ 177401 h 757168"/>
                <a:gd name="connsiteX41" fmla="*/ 5222466 w 12192000"/>
                <a:gd name="connsiteY41" fmla="*/ 162082 h 757168"/>
                <a:gd name="connsiteX42" fmla="*/ 5406528 w 12192000"/>
                <a:gd name="connsiteY42" fmla="*/ 153987 h 757168"/>
                <a:gd name="connsiteX43" fmla="*/ 5590716 w 12192000"/>
                <a:gd name="connsiteY43" fmla="*/ 129490 h 757168"/>
                <a:gd name="connsiteX44" fmla="*/ 5719429 w 12192000"/>
                <a:gd name="connsiteY44" fmla="*/ 110099 h 757168"/>
                <a:gd name="connsiteX45" fmla="*/ 5897895 w 12192000"/>
                <a:gd name="connsiteY45" fmla="*/ 96368 h 757168"/>
                <a:gd name="connsiteX46" fmla="*/ 6169957 w 12192000"/>
                <a:gd name="connsiteY46" fmla="*/ 94411 h 757168"/>
                <a:gd name="connsiteX47" fmla="*/ 6294827 w 12192000"/>
                <a:gd name="connsiteY47" fmla="*/ 99236 h 757168"/>
                <a:gd name="connsiteX48" fmla="*/ 6494261 w 12192000"/>
                <a:gd name="connsiteY48" fmla="*/ 71724 h 757168"/>
                <a:gd name="connsiteX49" fmla="*/ 6579627 w 12192000"/>
                <a:gd name="connsiteY49" fmla="*/ 57883 h 757168"/>
                <a:gd name="connsiteX50" fmla="*/ 6654800 w 12192000"/>
                <a:gd name="connsiteY50" fmla="*/ 77086 h 757168"/>
                <a:gd name="connsiteX51" fmla="*/ 6703059 w 12192000"/>
                <a:gd name="connsiteY51" fmla="*/ 97166 h 757168"/>
                <a:gd name="connsiteX52" fmla="*/ 6859445 w 12192000"/>
                <a:gd name="connsiteY52" fmla="*/ 90481 h 757168"/>
                <a:gd name="connsiteX53" fmla="*/ 7025414 w 12192000"/>
                <a:gd name="connsiteY53" fmla="*/ 83536 h 757168"/>
                <a:gd name="connsiteX54" fmla="*/ 7144137 w 12192000"/>
                <a:gd name="connsiteY54" fmla="*/ 79264 h 757168"/>
                <a:gd name="connsiteX55" fmla="*/ 7291235 w 12192000"/>
                <a:gd name="connsiteY55" fmla="*/ 95367 h 757168"/>
                <a:gd name="connsiteX56" fmla="*/ 7407395 w 12192000"/>
                <a:gd name="connsiteY56" fmla="*/ 104888 h 757168"/>
                <a:gd name="connsiteX57" fmla="*/ 7500837 w 12192000"/>
                <a:gd name="connsiteY57" fmla="*/ 119515 h 757168"/>
                <a:gd name="connsiteX58" fmla="*/ 7533567 w 12192000"/>
                <a:gd name="connsiteY58" fmla="*/ 126955 h 757168"/>
                <a:gd name="connsiteX59" fmla="*/ 7792910 w 12192000"/>
                <a:gd name="connsiteY59" fmla="*/ 185188 h 757168"/>
                <a:gd name="connsiteX60" fmla="*/ 8070699 w 12192000"/>
                <a:gd name="connsiteY60" fmla="*/ 235423 h 757168"/>
                <a:gd name="connsiteX61" fmla="*/ 8253177 w 12192000"/>
                <a:gd name="connsiteY61" fmla="*/ 222473 h 757168"/>
                <a:gd name="connsiteX62" fmla="*/ 8320683 w 12192000"/>
                <a:gd name="connsiteY62" fmla="*/ 226393 h 757168"/>
                <a:gd name="connsiteX63" fmla="*/ 8631438 w 12192000"/>
                <a:gd name="connsiteY63" fmla="*/ 237528 h 757168"/>
                <a:gd name="connsiteX64" fmla="*/ 8686410 w 12192000"/>
                <a:gd name="connsiteY64" fmla="*/ 234877 h 757168"/>
                <a:gd name="connsiteX65" fmla="*/ 8980658 w 12192000"/>
                <a:gd name="connsiteY65" fmla="*/ 273001 h 757168"/>
                <a:gd name="connsiteX66" fmla="*/ 9087625 w 12192000"/>
                <a:gd name="connsiteY66" fmla="*/ 282423 h 757168"/>
                <a:gd name="connsiteX67" fmla="*/ 9186017 w 12192000"/>
                <a:gd name="connsiteY67" fmla="*/ 293875 h 757168"/>
                <a:gd name="connsiteX68" fmla="*/ 9323931 w 12192000"/>
                <a:gd name="connsiteY68" fmla="*/ 302628 h 757168"/>
                <a:gd name="connsiteX69" fmla="*/ 9467213 w 12192000"/>
                <a:gd name="connsiteY69" fmla="*/ 307275 h 757168"/>
                <a:gd name="connsiteX70" fmla="*/ 9626826 w 12192000"/>
                <a:gd name="connsiteY70" fmla="*/ 316213 h 757168"/>
                <a:gd name="connsiteX71" fmla="*/ 9689696 w 12192000"/>
                <a:gd name="connsiteY71" fmla="*/ 324467 h 757168"/>
                <a:gd name="connsiteX72" fmla="*/ 9860526 w 12192000"/>
                <a:gd name="connsiteY72" fmla="*/ 329986 h 757168"/>
                <a:gd name="connsiteX73" fmla="*/ 9949775 w 12192000"/>
                <a:gd name="connsiteY73" fmla="*/ 340386 h 757168"/>
                <a:gd name="connsiteX74" fmla="*/ 10097252 w 12192000"/>
                <a:gd name="connsiteY74" fmla="*/ 349262 h 757168"/>
                <a:gd name="connsiteX75" fmla="*/ 10145261 w 12192000"/>
                <a:gd name="connsiteY75" fmla="*/ 353113 h 757168"/>
                <a:gd name="connsiteX76" fmla="*/ 10188159 w 12192000"/>
                <a:gd name="connsiteY76" fmla="*/ 356124 h 757168"/>
                <a:gd name="connsiteX77" fmla="*/ 10336144 w 12192000"/>
                <a:gd name="connsiteY77" fmla="*/ 348235 h 757168"/>
                <a:gd name="connsiteX78" fmla="*/ 10466847 w 12192000"/>
                <a:gd name="connsiteY78" fmla="*/ 354131 h 757168"/>
                <a:gd name="connsiteX79" fmla="*/ 10696514 w 12192000"/>
                <a:gd name="connsiteY79" fmla="*/ 353575 h 757168"/>
                <a:gd name="connsiteX80" fmla="*/ 10746932 w 12192000"/>
                <a:gd name="connsiteY80" fmla="*/ 360606 h 757168"/>
                <a:gd name="connsiteX81" fmla="*/ 10905388 w 12192000"/>
                <a:gd name="connsiteY81" fmla="*/ 370627 h 757168"/>
                <a:gd name="connsiteX82" fmla="*/ 10995602 w 12192000"/>
                <a:gd name="connsiteY82" fmla="*/ 376691 h 757168"/>
                <a:gd name="connsiteX83" fmla="*/ 11107647 w 12192000"/>
                <a:gd name="connsiteY83" fmla="*/ 373405 h 757168"/>
                <a:gd name="connsiteX84" fmla="*/ 11302440 w 12192000"/>
                <a:gd name="connsiteY84" fmla="*/ 364156 h 757168"/>
                <a:gd name="connsiteX85" fmla="*/ 11353613 w 12192000"/>
                <a:gd name="connsiteY85" fmla="*/ 363785 h 757168"/>
                <a:gd name="connsiteX86" fmla="*/ 11447323 w 12192000"/>
                <a:gd name="connsiteY86" fmla="*/ 359346 h 757168"/>
                <a:gd name="connsiteX87" fmla="*/ 11464292 w 12192000"/>
                <a:gd name="connsiteY87" fmla="*/ 358519 h 757168"/>
                <a:gd name="connsiteX88" fmla="*/ 11607560 w 12192000"/>
                <a:gd name="connsiteY88" fmla="*/ 342370 h 757168"/>
                <a:gd name="connsiteX89" fmla="*/ 11681426 w 12192000"/>
                <a:gd name="connsiteY89" fmla="*/ 344335 h 757168"/>
                <a:gd name="connsiteX90" fmla="*/ 11893565 w 12192000"/>
                <a:gd name="connsiteY90" fmla="*/ 355261 h 757168"/>
                <a:gd name="connsiteX91" fmla="*/ 11983290 w 12192000"/>
                <a:gd name="connsiteY91" fmla="*/ 363588 h 757168"/>
                <a:gd name="connsiteX92" fmla="*/ 12192000 w 12192000"/>
                <a:gd name="connsiteY92" fmla="*/ 388018 h 757168"/>
                <a:gd name="connsiteX93" fmla="*/ 12192000 w 12192000"/>
                <a:gd name="connsiteY93" fmla="*/ 577115 h 757168"/>
                <a:gd name="connsiteX94" fmla="*/ 12157329 w 12192000"/>
                <a:gd name="connsiteY94" fmla="*/ 588862 h 757168"/>
                <a:gd name="connsiteX95" fmla="*/ 12066948 w 12192000"/>
                <a:gd name="connsiteY95" fmla="*/ 586034 h 757168"/>
                <a:gd name="connsiteX96" fmla="*/ 11911344 w 12192000"/>
                <a:gd name="connsiteY96" fmla="*/ 521599 h 757168"/>
                <a:gd name="connsiteX97" fmla="*/ 11847823 w 12192000"/>
                <a:gd name="connsiteY97" fmla="*/ 511785 h 757168"/>
                <a:gd name="connsiteX98" fmla="*/ 11737547 w 12192000"/>
                <a:gd name="connsiteY98" fmla="*/ 502380 h 757168"/>
                <a:gd name="connsiteX99" fmla="*/ 11636052 w 12192000"/>
                <a:gd name="connsiteY99" fmla="*/ 514993 h 757168"/>
                <a:gd name="connsiteX100" fmla="*/ 11394706 w 12192000"/>
                <a:gd name="connsiteY100" fmla="*/ 590867 h 757168"/>
                <a:gd name="connsiteX101" fmla="*/ 11354978 w 12192000"/>
                <a:gd name="connsiteY101" fmla="*/ 597561 h 757168"/>
                <a:gd name="connsiteX102" fmla="*/ 11285306 w 12192000"/>
                <a:gd name="connsiteY102" fmla="*/ 599825 h 757168"/>
                <a:gd name="connsiteX103" fmla="*/ 11008528 w 12192000"/>
                <a:gd name="connsiteY103" fmla="*/ 656670 h 757168"/>
                <a:gd name="connsiteX104" fmla="*/ 10948735 w 12192000"/>
                <a:gd name="connsiteY104" fmla="*/ 652964 h 757168"/>
                <a:gd name="connsiteX105" fmla="*/ 10850698 w 12192000"/>
                <a:gd name="connsiteY105" fmla="*/ 641721 h 757168"/>
                <a:gd name="connsiteX106" fmla="*/ 10744026 w 12192000"/>
                <a:gd name="connsiteY106" fmla="*/ 647769 h 757168"/>
                <a:gd name="connsiteX107" fmla="*/ 10666160 w 12192000"/>
                <a:gd name="connsiteY107" fmla="*/ 651891 h 757168"/>
                <a:gd name="connsiteX108" fmla="*/ 10450521 w 12192000"/>
                <a:gd name="connsiteY108" fmla="*/ 616552 h 757168"/>
                <a:gd name="connsiteX109" fmla="*/ 10271192 w 12192000"/>
                <a:gd name="connsiteY109" fmla="*/ 583498 h 757168"/>
                <a:gd name="connsiteX110" fmla="*/ 10246067 w 12192000"/>
                <a:gd name="connsiteY110" fmla="*/ 585423 h 757168"/>
                <a:gd name="connsiteX111" fmla="*/ 10005027 w 12192000"/>
                <a:gd name="connsiteY111" fmla="*/ 592252 h 757168"/>
                <a:gd name="connsiteX112" fmla="*/ 9898681 w 12192000"/>
                <a:gd name="connsiteY112" fmla="*/ 613195 h 757168"/>
                <a:gd name="connsiteX113" fmla="*/ 9753225 w 12192000"/>
                <a:gd name="connsiteY113" fmla="*/ 629038 h 757168"/>
                <a:gd name="connsiteX114" fmla="*/ 9591376 w 12192000"/>
                <a:gd name="connsiteY114" fmla="*/ 648601 h 757168"/>
                <a:gd name="connsiteX115" fmla="*/ 9472860 w 12192000"/>
                <a:gd name="connsiteY115" fmla="*/ 655936 h 757168"/>
                <a:gd name="connsiteX116" fmla="*/ 9299788 w 12192000"/>
                <a:gd name="connsiteY116" fmla="*/ 636945 h 757168"/>
                <a:gd name="connsiteX117" fmla="*/ 9264605 w 12192000"/>
                <a:gd name="connsiteY117" fmla="*/ 627087 h 757168"/>
                <a:gd name="connsiteX118" fmla="*/ 8926435 w 12192000"/>
                <a:gd name="connsiteY118" fmla="*/ 549269 h 757168"/>
                <a:gd name="connsiteX119" fmla="*/ 8698934 w 12192000"/>
                <a:gd name="connsiteY119" fmla="*/ 536583 h 757168"/>
                <a:gd name="connsiteX120" fmla="*/ 8622862 w 12192000"/>
                <a:gd name="connsiteY120" fmla="*/ 541563 h 757168"/>
                <a:gd name="connsiteX121" fmla="*/ 8482784 w 12192000"/>
                <a:gd name="connsiteY121" fmla="*/ 574094 h 757168"/>
                <a:gd name="connsiteX122" fmla="*/ 8421565 w 12192000"/>
                <a:gd name="connsiteY122" fmla="*/ 576610 h 757168"/>
                <a:gd name="connsiteX123" fmla="*/ 8313469 w 12192000"/>
                <a:gd name="connsiteY123" fmla="*/ 574762 h 757168"/>
                <a:gd name="connsiteX124" fmla="*/ 8079520 w 12192000"/>
                <a:gd name="connsiteY124" fmla="*/ 558685 h 757168"/>
                <a:gd name="connsiteX125" fmla="*/ 7773327 w 12192000"/>
                <a:gd name="connsiteY125" fmla="*/ 558854 h 757168"/>
                <a:gd name="connsiteX126" fmla="*/ 7652477 w 12192000"/>
                <a:gd name="connsiteY126" fmla="*/ 547561 h 757168"/>
                <a:gd name="connsiteX127" fmla="*/ 7522274 w 12192000"/>
                <a:gd name="connsiteY127" fmla="*/ 532150 h 757168"/>
                <a:gd name="connsiteX128" fmla="*/ 7484080 w 12192000"/>
                <a:gd name="connsiteY128" fmla="*/ 530532 h 757168"/>
                <a:gd name="connsiteX129" fmla="*/ 7282277 w 12192000"/>
                <a:gd name="connsiteY129" fmla="*/ 540177 h 757168"/>
                <a:gd name="connsiteX130" fmla="*/ 7235690 w 12192000"/>
                <a:gd name="connsiteY130" fmla="*/ 551282 h 757168"/>
                <a:gd name="connsiteX131" fmla="*/ 7116339 w 12192000"/>
                <a:gd name="connsiteY131" fmla="*/ 539494 h 757168"/>
                <a:gd name="connsiteX132" fmla="*/ 7011067 w 12192000"/>
                <a:gd name="connsiteY132" fmla="*/ 511848 h 757168"/>
                <a:gd name="connsiteX133" fmla="*/ 6403234 w 12192000"/>
                <a:gd name="connsiteY133" fmla="*/ 432296 h 757168"/>
                <a:gd name="connsiteX134" fmla="*/ 6036273 w 12192000"/>
                <a:gd name="connsiteY134" fmla="*/ 412301 h 757168"/>
                <a:gd name="connsiteX135" fmla="*/ 5780467 w 12192000"/>
                <a:gd name="connsiteY135" fmla="*/ 377910 h 757168"/>
                <a:gd name="connsiteX136" fmla="*/ 5739051 w 12192000"/>
                <a:gd name="connsiteY136" fmla="*/ 353609 h 757168"/>
                <a:gd name="connsiteX137" fmla="*/ 5583566 w 12192000"/>
                <a:gd name="connsiteY137" fmla="*/ 321995 h 757168"/>
                <a:gd name="connsiteX138" fmla="*/ 5432030 w 12192000"/>
                <a:gd name="connsiteY138" fmla="*/ 362512 h 757168"/>
                <a:gd name="connsiteX139" fmla="*/ 5241398 w 12192000"/>
                <a:gd name="connsiteY139" fmla="*/ 425781 h 757168"/>
                <a:gd name="connsiteX140" fmla="*/ 5139710 w 12192000"/>
                <a:gd name="connsiteY140" fmla="*/ 421022 h 757168"/>
                <a:gd name="connsiteX141" fmla="*/ 4929402 w 12192000"/>
                <a:gd name="connsiteY141" fmla="*/ 424310 h 757168"/>
                <a:gd name="connsiteX142" fmla="*/ 4782793 w 12192000"/>
                <a:gd name="connsiteY142" fmla="*/ 441046 h 757168"/>
                <a:gd name="connsiteX143" fmla="*/ 4577594 w 12192000"/>
                <a:gd name="connsiteY143" fmla="*/ 459290 h 757168"/>
                <a:gd name="connsiteX144" fmla="*/ 4500826 w 12192000"/>
                <a:gd name="connsiteY144" fmla="*/ 470529 h 757168"/>
                <a:gd name="connsiteX145" fmla="*/ 4317973 w 12192000"/>
                <a:gd name="connsiteY145" fmla="*/ 483649 h 757168"/>
                <a:gd name="connsiteX146" fmla="*/ 4166722 w 12192000"/>
                <a:gd name="connsiteY146" fmla="*/ 490602 h 757168"/>
                <a:gd name="connsiteX147" fmla="*/ 4042814 w 12192000"/>
                <a:gd name="connsiteY147" fmla="*/ 530660 h 757168"/>
                <a:gd name="connsiteX148" fmla="*/ 4002653 w 12192000"/>
                <a:gd name="connsiteY148" fmla="*/ 552594 h 757168"/>
                <a:gd name="connsiteX149" fmla="*/ 3969549 w 12192000"/>
                <a:gd name="connsiteY149" fmla="*/ 566312 h 757168"/>
                <a:gd name="connsiteX150" fmla="*/ 3821685 w 12192000"/>
                <a:gd name="connsiteY150" fmla="*/ 649183 h 757168"/>
                <a:gd name="connsiteX151" fmla="*/ 3805138 w 12192000"/>
                <a:gd name="connsiteY151" fmla="*/ 655947 h 757168"/>
                <a:gd name="connsiteX152" fmla="*/ 3609177 w 12192000"/>
                <a:gd name="connsiteY152" fmla="*/ 687459 h 757168"/>
                <a:gd name="connsiteX153" fmla="*/ 3539727 w 12192000"/>
                <a:gd name="connsiteY153" fmla="*/ 706521 h 757168"/>
                <a:gd name="connsiteX154" fmla="*/ 3396572 w 12192000"/>
                <a:gd name="connsiteY154" fmla="*/ 755681 h 757168"/>
                <a:gd name="connsiteX155" fmla="*/ 3341054 w 12192000"/>
                <a:gd name="connsiteY155" fmla="*/ 754679 h 757168"/>
                <a:gd name="connsiteX156" fmla="*/ 3138775 w 12192000"/>
                <a:gd name="connsiteY156" fmla="*/ 710120 h 757168"/>
                <a:gd name="connsiteX157" fmla="*/ 3037283 w 12192000"/>
                <a:gd name="connsiteY157" fmla="*/ 666453 h 757168"/>
                <a:gd name="connsiteX158" fmla="*/ 3002117 w 12192000"/>
                <a:gd name="connsiteY158" fmla="*/ 649347 h 757168"/>
                <a:gd name="connsiteX159" fmla="*/ 2747294 w 12192000"/>
                <a:gd name="connsiteY159" fmla="*/ 652400 h 757168"/>
                <a:gd name="connsiteX160" fmla="*/ 2676273 w 12192000"/>
                <a:gd name="connsiteY160" fmla="*/ 652304 h 757168"/>
                <a:gd name="connsiteX161" fmla="*/ 2432360 w 12192000"/>
                <a:gd name="connsiteY161" fmla="*/ 657836 h 757168"/>
                <a:gd name="connsiteX162" fmla="*/ 2382311 w 12192000"/>
                <a:gd name="connsiteY162" fmla="*/ 650824 h 757168"/>
                <a:gd name="connsiteX163" fmla="*/ 2055134 w 12192000"/>
                <a:gd name="connsiteY163" fmla="*/ 630053 h 757168"/>
                <a:gd name="connsiteX164" fmla="*/ 2031829 w 12192000"/>
                <a:gd name="connsiteY164" fmla="*/ 639324 h 757168"/>
                <a:gd name="connsiteX165" fmla="*/ 1912764 w 12192000"/>
                <a:gd name="connsiteY165" fmla="*/ 664183 h 757168"/>
                <a:gd name="connsiteX166" fmla="*/ 1755637 w 12192000"/>
                <a:gd name="connsiteY166" fmla="*/ 663960 h 757168"/>
                <a:gd name="connsiteX167" fmla="*/ 1727159 w 12192000"/>
                <a:gd name="connsiteY167" fmla="*/ 659605 h 757168"/>
                <a:gd name="connsiteX168" fmla="*/ 1622470 w 12192000"/>
                <a:gd name="connsiteY168" fmla="*/ 634850 h 757168"/>
                <a:gd name="connsiteX169" fmla="*/ 1385955 w 12192000"/>
                <a:gd name="connsiteY169" fmla="*/ 604522 h 757168"/>
                <a:gd name="connsiteX170" fmla="*/ 1340055 w 12192000"/>
                <a:gd name="connsiteY170" fmla="*/ 595629 h 757168"/>
                <a:gd name="connsiteX171" fmla="*/ 1257271 w 12192000"/>
                <a:gd name="connsiteY171" fmla="*/ 581180 h 757168"/>
                <a:gd name="connsiteX172" fmla="*/ 1031914 w 12192000"/>
                <a:gd name="connsiteY172" fmla="*/ 562692 h 757168"/>
                <a:gd name="connsiteX173" fmla="*/ 922031 w 12192000"/>
                <a:gd name="connsiteY173" fmla="*/ 566853 h 757168"/>
                <a:gd name="connsiteX174" fmla="*/ 873250 w 12192000"/>
                <a:gd name="connsiteY174" fmla="*/ 563724 h 757168"/>
                <a:gd name="connsiteX175" fmla="*/ 711627 w 12192000"/>
                <a:gd name="connsiteY175" fmla="*/ 529880 h 757168"/>
                <a:gd name="connsiteX176" fmla="*/ 311112 w 12192000"/>
                <a:gd name="connsiteY176" fmla="*/ 525106 h 757168"/>
                <a:gd name="connsiteX177" fmla="*/ 184145 w 12192000"/>
                <a:gd name="connsiteY177" fmla="*/ 532188 h 757168"/>
                <a:gd name="connsiteX178" fmla="*/ 116886 w 12192000"/>
                <a:gd name="connsiteY178" fmla="*/ 530572 h 757168"/>
                <a:gd name="connsiteX179" fmla="*/ 23941 w 12192000"/>
                <a:gd name="connsiteY179" fmla="*/ 506433 h 757168"/>
                <a:gd name="connsiteX180" fmla="*/ 0 w 12192000"/>
                <a:gd name="connsiteY180" fmla="*/ 502149 h 757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</a:cxnLst>
              <a:rect l="l" t="t" r="r" b="b"/>
              <a:pathLst>
                <a:path w="12192000" h="757168">
                  <a:moveTo>
                    <a:pt x="0" y="0"/>
                  </a:moveTo>
                  <a:lnTo>
                    <a:pt x="41653" y="6945"/>
                  </a:lnTo>
                  <a:cubicBezTo>
                    <a:pt x="55151" y="9178"/>
                    <a:pt x="68996" y="11810"/>
                    <a:pt x="81317" y="15509"/>
                  </a:cubicBezTo>
                  <a:cubicBezTo>
                    <a:pt x="92911" y="18978"/>
                    <a:pt x="102562" y="24446"/>
                    <a:pt x="114150" y="28105"/>
                  </a:cubicBezTo>
                  <a:cubicBezTo>
                    <a:pt x="145644" y="37958"/>
                    <a:pt x="177914" y="47281"/>
                    <a:pt x="214865" y="58374"/>
                  </a:cubicBezTo>
                  <a:cubicBezTo>
                    <a:pt x="236680" y="42349"/>
                    <a:pt x="264438" y="53534"/>
                    <a:pt x="299237" y="63560"/>
                  </a:cubicBezTo>
                  <a:cubicBezTo>
                    <a:pt x="334763" y="73816"/>
                    <a:pt x="376093" y="78654"/>
                    <a:pt x="415570" y="83774"/>
                  </a:cubicBezTo>
                  <a:cubicBezTo>
                    <a:pt x="487949" y="93100"/>
                    <a:pt x="560804" y="100354"/>
                    <a:pt x="633210" y="109108"/>
                  </a:cubicBezTo>
                  <a:cubicBezTo>
                    <a:pt x="648566" y="111058"/>
                    <a:pt x="666073" y="114072"/>
                    <a:pt x="677567" y="119446"/>
                  </a:cubicBezTo>
                  <a:cubicBezTo>
                    <a:pt x="756262" y="155621"/>
                    <a:pt x="853422" y="169678"/>
                    <a:pt x="946429" y="171502"/>
                  </a:cubicBezTo>
                  <a:cubicBezTo>
                    <a:pt x="1019582" y="173044"/>
                    <a:pt x="1091239" y="175083"/>
                    <a:pt x="1163367" y="182106"/>
                  </a:cubicBezTo>
                  <a:cubicBezTo>
                    <a:pt x="1168863" y="182586"/>
                    <a:pt x="1176224" y="182589"/>
                    <a:pt x="1180337" y="181279"/>
                  </a:cubicBezTo>
                  <a:cubicBezTo>
                    <a:pt x="1205822" y="172503"/>
                    <a:pt x="1231920" y="173109"/>
                    <a:pt x="1263939" y="173070"/>
                  </a:cubicBezTo>
                  <a:cubicBezTo>
                    <a:pt x="1309211" y="172961"/>
                    <a:pt x="1350592" y="176848"/>
                    <a:pt x="1392213" y="183225"/>
                  </a:cubicBezTo>
                  <a:cubicBezTo>
                    <a:pt x="1422516" y="187866"/>
                    <a:pt x="1453010" y="195759"/>
                    <a:pt x="1479752" y="205174"/>
                  </a:cubicBezTo>
                  <a:cubicBezTo>
                    <a:pt x="1516962" y="218381"/>
                    <a:pt x="1553071" y="224660"/>
                    <a:pt x="1589813" y="211706"/>
                  </a:cubicBezTo>
                  <a:cubicBezTo>
                    <a:pt x="1629541" y="197953"/>
                    <a:pt x="1673292" y="205778"/>
                    <a:pt x="1716264" y="207459"/>
                  </a:cubicBezTo>
                  <a:cubicBezTo>
                    <a:pt x="1734988" y="208248"/>
                    <a:pt x="1754789" y="209668"/>
                    <a:pt x="1772900" y="208137"/>
                  </a:cubicBezTo>
                  <a:cubicBezTo>
                    <a:pt x="1825381" y="203828"/>
                    <a:pt x="1876222" y="195808"/>
                    <a:pt x="1929319" y="193822"/>
                  </a:cubicBezTo>
                  <a:cubicBezTo>
                    <a:pt x="1958819" y="192698"/>
                    <a:pt x="1991232" y="199166"/>
                    <a:pt x="2021514" y="204186"/>
                  </a:cubicBezTo>
                  <a:cubicBezTo>
                    <a:pt x="2052154" y="209417"/>
                    <a:pt x="2082323" y="216530"/>
                    <a:pt x="2111753" y="223797"/>
                  </a:cubicBezTo>
                  <a:cubicBezTo>
                    <a:pt x="2131736" y="228659"/>
                    <a:pt x="2153567" y="233429"/>
                    <a:pt x="2169356" y="241125"/>
                  </a:cubicBezTo>
                  <a:cubicBezTo>
                    <a:pt x="2205243" y="258649"/>
                    <a:pt x="2242901" y="263295"/>
                    <a:pt x="2286638" y="257382"/>
                  </a:cubicBezTo>
                  <a:cubicBezTo>
                    <a:pt x="2293313" y="256396"/>
                    <a:pt x="2301018" y="256799"/>
                    <a:pt x="2308368" y="256995"/>
                  </a:cubicBezTo>
                  <a:cubicBezTo>
                    <a:pt x="2426026" y="259155"/>
                    <a:pt x="2543593" y="262834"/>
                    <a:pt x="2660621" y="262863"/>
                  </a:cubicBezTo>
                  <a:cubicBezTo>
                    <a:pt x="2708088" y="262871"/>
                    <a:pt x="2754165" y="254412"/>
                    <a:pt x="2801134" y="250006"/>
                  </a:cubicBezTo>
                  <a:cubicBezTo>
                    <a:pt x="2810748" y="249174"/>
                    <a:pt x="2821504" y="247638"/>
                    <a:pt x="2830994" y="249091"/>
                  </a:cubicBezTo>
                  <a:cubicBezTo>
                    <a:pt x="2934354" y="264045"/>
                    <a:pt x="3032340" y="255254"/>
                    <a:pt x="3129084" y="242009"/>
                  </a:cubicBezTo>
                  <a:cubicBezTo>
                    <a:pt x="3139090" y="240625"/>
                    <a:pt x="3151170" y="241831"/>
                    <a:pt x="3162162" y="242789"/>
                  </a:cubicBezTo>
                  <a:cubicBezTo>
                    <a:pt x="3192925" y="245736"/>
                    <a:pt x="3225969" y="254145"/>
                    <a:pt x="3254072" y="251612"/>
                  </a:cubicBezTo>
                  <a:cubicBezTo>
                    <a:pt x="3328782" y="244461"/>
                    <a:pt x="3402881" y="234992"/>
                    <a:pt x="3473491" y="221903"/>
                  </a:cubicBezTo>
                  <a:cubicBezTo>
                    <a:pt x="3545212" y="208683"/>
                    <a:pt x="3611651" y="197856"/>
                    <a:pt x="3691860" y="219228"/>
                  </a:cubicBezTo>
                  <a:cubicBezTo>
                    <a:pt x="3725977" y="228268"/>
                    <a:pt x="3771754" y="225515"/>
                    <a:pt x="3811494" y="225691"/>
                  </a:cubicBezTo>
                  <a:cubicBezTo>
                    <a:pt x="3840564" y="225687"/>
                    <a:pt x="3868906" y="218586"/>
                    <a:pt x="3897533" y="220087"/>
                  </a:cubicBezTo>
                  <a:cubicBezTo>
                    <a:pt x="3973874" y="224087"/>
                    <a:pt x="4042293" y="217563"/>
                    <a:pt x="4109430" y="200477"/>
                  </a:cubicBezTo>
                  <a:cubicBezTo>
                    <a:pt x="4135544" y="193834"/>
                    <a:pt x="4175268" y="201258"/>
                    <a:pt x="4208772" y="200914"/>
                  </a:cubicBezTo>
                  <a:cubicBezTo>
                    <a:pt x="4244136" y="200288"/>
                    <a:pt x="4280583" y="199908"/>
                    <a:pt x="4314641" y="196159"/>
                  </a:cubicBezTo>
                  <a:cubicBezTo>
                    <a:pt x="4402743" y="186278"/>
                    <a:pt x="4489848" y="174436"/>
                    <a:pt x="4577622" y="163774"/>
                  </a:cubicBezTo>
                  <a:cubicBezTo>
                    <a:pt x="4649843" y="154967"/>
                    <a:pt x="4719794" y="168553"/>
                    <a:pt x="4790345" y="177592"/>
                  </a:cubicBezTo>
                  <a:cubicBezTo>
                    <a:pt x="4834576" y="183345"/>
                    <a:pt x="4875614" y="193701"/>
                    <a:pt x="4926164" y="184139"/>
                  </a:cubicBezTo>
                  <a:cubicBezTo>
                    <a:pt x="4974485" y="175032"/>
                    <a:pt x="5034899" y="180870"/>
                    <a:pt x="5088812" y="177401"/>
                  </a:cubicBezTo>
                  <a:cubicBezTo>
                    <a:pt x="5134238" y="174439"/>
                    <a:pt x="5178353" y="168165"/>
                    <a:pt x="5222466" y="162082"/>
                  </a:cubicBezTo>
                  <a:cubicBezTo>
                    <a:pt x="5282519" y="153783"/>
                    <a:pt x="5341864" y="144876"/>
                    <a:pt x="5406528" y="153987"/>
                  </a:cubicBezTo>
                  <a:cubicBezTo>
                    <a:pt x="5479960" y="164323"/>
                    <a:pt x="5531876" y="142624"/>
                    <a:pt x="5590716" y="129490"/>
                  </a:cubicBezTo>
                  <a:cubicBezTo>
                    <a:pt x="5631296" y="120553"/>
                    <a:pt x="5675395" y="114659"/>
                    <a:pt x="5719429" y="110099"/>
                  </a:cubicBezTo>
                  <a:cubicBezTo>
                    <a:pt x="5778247" y="104215"/>
                    <a:pt x="5838715" y="102042"/>
                    <a:pt x="5897895" y="96368"/>
                  </a:cubicBezTo>
                  <a:cubicBezTo>
                    <a:pt x="5987399" y="87895"/>
                    <a:pt x="6077855" y="82333"/>
                    <a:pt x="6169957" y="94411"/>
                  </a:cubicBezTo>
                  <a:cubicBezTo>
                    <a:pt x="6212360" y="99875"/>
                    <a:pt x="6252010" y="101763"/>
                    <a:pt x="6294827" y="99236"/>
                  </a:cubicBezTo>
                  <a:cubicBezTo>
                    <a:pt x="6364965" y="95091"/>
                    <a:pt x="6436581" y="97891"/>
                    <a:pt x="6494261" y="71724"/>
                  </a:cubicBezTo>
                  <a:cubicBezTo>
                    <a:pt x="6514615" y="62488"/>
                    <a:pt x="6550354" y="61691"/>
                    <a:pt x="6579627" y="57883"/>
                  </a:cubicBezTo>
                  <a:cubicBezTo>
                    <a:pt x="6613354" y="53353"/>
                    <a:pt x="6637770" y="57878"/>
                    <a:pt x="6654800" y="77086"/>
                  </a:cubicBezTo>
                  <a:cubicBezTo>
                    <a:pt x="6662444" y="85688"/>
                    <a:pt x="6685147" y="94892"/>
                    <a:pt x="6703059" y="97166"/>
                  </a:cubicBezTo>
                  <a:cubicBezTo>
                    <a:pt x="6756799" y="103989"/>
                    <a:pt x="6806654" y="100687"/>
                    <a:pt x="6859445" y="90481"/>
                  </a:cubicBezTo>
                  <a:cubicBezTo>
                    <a:pt x="6908894" y="80861"/>
                    <a:pt x="6969747" y="85387"/>
                    <a:pt x="7025414" y="83536"/>
                  </a:cubicBezTo>
                  <a:cubicBezTo>
                    <a:pt x="7064862" y="82168"/>
                    <a:pt x="7104501" y="77186"/>
                    <a:pt x="7144137" y="79264"/>
                  </a:cubicBezTo>
                  <a:cubicBezTo>
                    <a:pt x="7193316" y="81841"/>
                    <a:pt x="7241809" y="90488"/>
                    <a:pt x="7291235" y="95367"/>
                  </a:cubicBezTo>
                  <a:cubicBezTo>
                    <a:pt x="7329668" y="99288"/>
                    <a:pt x="7368978" y="100585"/>
                    <a:pt x="7407395" y="104888"/>
                  </a:cubicBezTo>
                  <a:cubicBezTo>
                    <a:pt x="7438868" y="108256"/>
                    <a:pt x="7469832" y="114265"/>
                    <a:pt x="7500837" y="119515"/>
                  </a:cubicBezTo>
                  <a:cubicBezTo>
                    <a:pt x="7512146" y="121444"/>
                    <a:pt x="7523255" y="127178"/>
                    <a:pt x="7533567" y="126955"/>
                  </a:cubicBezTo>
                  <a:cubicBezTo>
                    <a:pt x="7636025" y="124121"/>
                    <a:pt x="7707510" y="164497"/>
                    <a:pt x="7792910" y="185188"/>
                  </a:cubicBezTo>
                  <a:cubicBezTo>
                    <a:pt x="7882663" y="207063"/>
                    <a:pt x="7969001" y="237914"/>
                    <a:pt x="8070699" y="235423"/>
                  </a:cubicBezTo>
                  <a:cubicBezTo>
                    <a:pt x="8132239" y="233879"/>
                    <a:pt x="8191903" y="225939"/>
                    <a:pt x="8253177" y="222473"/>
                  </a:cubicBezTo>
                  <a:cubicBezTo>
                    <a:pt x="8274949" y="221324"/>
                    <a:pt x="8299150" y="222976"/>
                    <a:pt x="8320683" y="226393"/>
                  </a:cubicBezTo>
                  <a:cubicBezTo>
                    <a:pt x="8424731" y="242340"/>
                    <a:pt x="8527777" y="249266"/>
                    <a:pt x="8631438" y="237528"/>
                  </a:cubicBezTo>
                  <a:cubicBezTo>
                    <a:pt x="8649201" y="235596"/>
                    <a:pt x="8668058" y="233915"/>
                    <a:pt x="8686410" y="234877"/>
                  </a:cubicBezTo>
                  <a:cubicBezTo>
                    <a:pt x="8786966" y="240146"/>
                    <a:pt x="8885480" y="249315"/>
                    <a:pt x="8980658" y="273001"/>
                  </a:cubicBezTo>
                  <a:cubicBezTo>
                    <a:pt x="9012626" y="280972"/>
                    <a:pt x="9052108" y="279035"/>
                    <a:pt x="9087625" y="282423"/>
                  </a:cubicBezTo>
                  <a:cubicBezTo>
                    <a:pt x="9120583" y="285484"/>
                    <a:pt x="9154319" y="287825"/>
                    <a:pt x="9186017" y="293875"/>
                  </a:cubicBezTo>
                  <a:cubicBezTo>
                    <a:pt x="9232288" y="302785"/>
                    <a:pt x="9275554" y="305815"/>
                    <a:pt x="9323931" y="302628"/>
                  </a:cubicBezTo>
                  <a:cubicBezTo>
                    <a:pt x="9370084" y="299705"/>
                    <a:pt x="9419491" y="304964"/>
                    <a:pt x="9467213" y="307275"/>
                  </a:cubicBezTo>
                  <a:cubicBezTo>
                    <a:pt x="9520438" y="309874"/>
                    <a:pt x="9573661" y="312473"/>
                    <a:pt x="9626826" y="316213"/>
                  </a:cubicBezTo>
                  <a:cubicBezTo>
                    <a:pt x="9648094" y="317708"/>
                    <a:pt x="9671915" y="326588"/>
                    <a:pt x="9689696" y="324467"/>
                  </a:cubicBezTo>
                  <a:cubicBezTo>
                    <a:pt x="9747117" y="317175"/>
                    <a:pt x="9803355" y="332523"/>
                    <a:pt x="9860526" y="329986"/>
                  </a:cubicBezTo>
                  <a:cubicBezTo>
                    <a:pt x="9888572" y="328594"/>
                    <a:pt x="9919723" y="338048"/>
                    <a:pt x="9949775" y="340386"/>
                  </a:cubicBezTo>
                  <a:cubicBezTo>
                    <a:pt x="9998886" y="344296"/>
                    <a:pt x="10048092" y="346302"/>
                    <a:pt x="10097252" y="349262"/>
                  </a:cubicBezTo>
                  <a:cubicBezTo>
                    <a:pt x="10113390" y="350297"/>
                    <a:pt x="10129133" y="351886"/>
                    <a:pt x="10145261" y="353113"/>
                  </a:cubicBezTo>
                  <a:cubicBezTo>
                    <a:pt x="10159555" y="354243"/>
                    <a:pt x="10174512" y="356743"/>
                    <a:pt x="10188159" y="356124"/>
                  </a:cubicBezTo>
                  <a:cubicBezTo>
                    <a:pt x="10237589" y="353944"/>
                    <a:pt x="10286441" y="348682"/>
                    <a:pt x="10336144" y="348235"/>
                  </a:cubicBezTo>
                  <a:cubicBezTo>
                    <a:pt x="10379222" y="347822"/>
                    <a:pt x="10423443" y="353764"/>
                    <a:pt x="10466847" y="354131"/>
                  </a:cubicBezTo>
                  <a:cubicBezTo>
                    <a:pt x="10543353" y="354898"/>
                    <a:pt x="10619988" y="353190"/>
                    <a:pt x="10696514" y="353575"/>
                  </a:cubicBezTo>
                  <a:cubicBezTo>
                    <a:pt x="10713071" y="353680"/>
                    <a:pt x="10730069" y="359342"/>
                    <a:pt x="10746932" y="360606"/>
                  </a:cubicBezTo>
                  <a:cubicBezTo>
                    <a:pt x="10799731" y="364326"/>
                    <a:pt x="10852569" y="367289"/>
                    <a:pt x="10905388" y="370627"/>
                  </a:cubicBezTo>
                  <a:cubicBezTo>
                    <a:pt x="10935470" y="372396"/>
                    <a:pt x="10965963" y="373421"/>
                    <a:pt x="10995602" y="376691"/>
                  </a:cubicBezTo>
                  <a:cubicBezTo>
                    <a:pt x="11034750" y="381032"/>
                    <a:pt x="11070168" y="386324"/>
                    <a:pt x="11107647" y="373405"/>
                  </a:cubicBezTo>
                  <a:cubicBezTo>
                    <a:pt x="11165372" y="353347"/>
                    <a:pt x="11236837" y="366060"/>
                    <a:pt x="11302440" y="364156"/>
                  </a:cubicBezTo>
                  <a:cubicBezTo>
                    <a:pt x="11319394" y="363708"/>
                    <a:pt x="11336655" y="364422"/>
                    <a:pt x="11353613" y="363785"/>
                  </a:cubicBezTo>
                  <a:cubicBezTo>
                    <a:pt x="11384961" y="362566"/>
                    <a:pt x="11415955" y="360947"/>
                    <a:pt x="11447323" y="359346"/>
                  </a:cubicBezTo>
                  <a:cubicBezTo>
                    <a:pt x="11452855" y="359066"/>
                    <a:pt x="11459104" y="359200"/>
                    <a:pt x="11464292" y="358519"/>
                  </a:cubicBezTo>
                  <a:cubicBezTo>
                    <a:pt x="11512058" y="353010"/>
                    <a:pt x="11559143" y="346321"/>
                    <a:pt x="11607560" y="342370"/>
                  </a:cubicBezTo>
                  <a:cubicBezTo>
                    <a:pt x="11631218" y="340368"/>
                    <a:pt x="11657295" y="341352"/>
                    <a:pt x="11681426" y="344335"/>
                  </a:cubicBezTo>
                  <a:cubicBezTo>
                    <a:pt x="11751997" y="352993"/>
                    <a:pt x="11821986" y="358760"/>
                    <a:pt x="11893565" y="355261"/>
                  </a:cubicBezTo>
                  <a:cubicBezTo>
                    <a:pt x="11921973" y="353889"/>
                    <a:pt x="11953288" y="360300"/>
                    <a:pt x="11983290" y="363588"/>
                  </a:cubicBezTo>
                  <a:lnTo>
                    <a:pt x="12192000" y="388018"/>
                  </a:lnTo>
                  <a:lnTo>
                    <a:pt x="12192000" y="577115"/>
                  </a:lnTo>
                  <a:lnTo>
                    <a:pt x="12157329" y="588862"/>
                  </a:lnTo>
                  <a:cubicBezTo>
                    <a:pt x="12118393" y="608572"/>
                    <a:pt x="12109715" y="605637"/>
                    <a:pt x="12066948" y="586034"/>
                  </a:cubicBezTo>
                  <a:cubicBezTo>
                    <a:pt x="12016991" y="563193"/>
                    <a:pt x="11965119" y="541779"/>
                    <a:pt x="11911344" y="521599"/>
                  </a:cubicBezTo>
                  <a:cubicBezTo>
                    <a:pt x="11894383" y="515178"/>
                    <a:pt x="11869417" y="514060"/>
                    <a:pt x="11847823" y="511785"/>
                  </a:cubicBezTo>
                  <a:cubicBezTo>
                    <a:pt x="11811233" y="507768"/>
                    <a:pt x="11773630" y="501982"/>
                    <a:pt x="11737547" y="502380"/>
                  </a:cubicBezTo>
                  <a:cubicBezTo>
                    <a:pt x="11702930" y="502855"/>
                    <a:pt x="11668388" y="508866"/>
                    <a:pt x="11636052" y="514993"/>
                  </a:cubicBezTo>
                  <a:cubicBezTo>
                    <a:pt x="11545722" y="532199"/>
                    <a:pt x="11462455" y="555118"/>
                    <a:pt x="11394706" y="590867"/>
                  </a:cubicBezTo>
                  <a:cubicBezTo>
                    <a:pt x="11385999" y="595562"/>
                    <a:pt x="11369016" y="596581"/>
                    <a:pt x="11354978" y="597561"/>
                  </a:cubicBezTo>
                  <a:cubicBezTo>
                    <a:pt x="11332076" y="599224"/>
                    <a:pt x="11308448" y="600655"/>
                    <a:pt x="11285306" y="599825"/>
                  </a:cubicBezTo>
                  <a:cubicBezTo>
                    <a:pt x="11172906" y="595841"/>
                    <a:pt x="11083430" y="617861"/>
                    <a:pt x="11008528" y="656670"/>
                  </a:cubicBezTo>
                  <a:cubicBezTo>
                    <a:pt x="10986971" y="667750"/>
                    <a:pt x="10970753" y="668236"/>
                    <a:pt x="10948735" y="652964"/>
                  </a:cubicBezTo>
                  <a:cubicBezTo>
                    <a:pt x="10923173" y="635218"/>
                    <a:pt x="10885031" y="639705"/>
                    <a:pt x="10850698" y="641721"/>
                  </a:cubicBezTo>
                  <a:cubicBezTo>
                    <a:pt x="10815269" y="643680"/>
                    <a:pt x="10779458" y="645811"/>
                    <a:pt x="10744026" y="647769"/>
                  </a:cubicBezTo>
                  <a:cubicBezTo>
                    <a:pt x="10717832" y="649066"/>
                    <a:pt x="10692021" y="650003"/>
                    <a:pt x="10666160" y="651891"/>
                  </a:cubicBezTo>
                  <a:cubicBezTo>
                    <a:pt x="10585627" y="657783"/>
                    <a:pt x="10513854" y="650969"/>
                    <a:pt x="10450521" y="616552"/>
                  </a:cubicBezTo>
                  <a:cubicBezTo>
                    <a:pt x="10402221" y="590175"/>
                    <a:pt x="10339099" y="579806"/>
                    <a:pt x="10271192" y="583498"/>
                  </a:cubicBezTo>
                  <a:cubicBezTo>
                    <a:pt x="10262701" y="584006"/>
                    <a:pt x="10251859" y="587254"/>
                    <a:pt x="10246067" y="585423"/>
                  </a:cubicBezTo>
                  <a:cubicBezTo>
                    <a:pt x="10158786" y="558528"/>
                    <a:pt x="10086634" y="594049"/>
                    <a:pt x="10005027" y="592252"/>
                  </a:cubicBezTo>
                  <a:cubicBezTo>
                    <a:pt x="9969004" y="591507"/>
                    <a:pt x="9931565" y="603664"/>
                    <a:pt x="9898681" y="613195"/>
                  </a:cubicBezTo>
                  <a:cubicBezTo>
                    <a:pt x="9853463" y="626281"/>
                    <a:pt x="9813049" y="639042"/>
                    <a:pt x="9753225" y="629038"/>
                  </a:cubicBezTo>
                  <a:cubicBezTo>
                    <a:pt x="9693404" y="618845"/>
                    <a:pt x="9637675" y="628898"/>
                    <a:pt x="9591376" y="648601"/>
                  </a:cubicBezTo>
                  <a:cubicBezTo>
                    <a:pt x="9556001" y="663537"/>
                    <a:pt x="9518120" y="663077"/>
                    <a:pt x="9472860" y="655936"/>
                  </a:cubicBezTo>
                  <a:cubicBezTo>
                    <a:pt x="9416283" y="647056"/>
                    <a:pt x="9357217" y="643578"/>
                    <a:pt x="9299788" y="636945"/>
                  </a:cubicBezTo>
                  <a:cubicBezTo>
                    <a:pt x="9287347" y="635531"/>
                    <a:pt x="9271710" y="632039"/>
                    <a:pt x="9264605" y="627087"/>
                  </a:cubicBezTo>
                  <a:cubicBezTo>
                    <a:pt x="9177661" y="565680"/>
                    <a:pt x="9051076" y="558473"/>
                    <a:pt x="8926435" y="549269"/>
                  </a:cubicBezTo>
                  <a:cubicBezTo>
                    <a:pt x="8850925" y="543595"/>
                    <a:pt x="8774954" y="539613"/>
                    <a:pt x="8698934" y="536583"/>
                  </a:cubicBezTo>
                  <a:cubicBezTo>
                    <a:pt x="8673232" y="535428"/>
                    <a:pt x="8645916" y="537050"/>
                    <a:pt x="8622862" y="541563"/>
                  </a:cubicBezTo>
                  <a:cubicBezTo>
                    <a:pt x="8574890" y="551069"/>
                    <a:pt x="8530403" y="564380"/>
                    <a:pt x="8482784" y="574094"/>
                  </a:cubicBezTo>
                  <a:cubicBezTo>
                    <a:pt x="8464923" y="577929"/>
                    <a:pt x="8442157" y="576927"/>
                    <a:pt x="8421565" y="576610"/>
                  </a:cubicBezTo>
                  <a:cubicBezTo>
                    <a:pt x="8385152" y="576229"/>
                    <a:pt x="8345023" y="569546"/>
                    <a:pt x="8313469" y="574762"/>
                  </a:cubicBezTo>
                  <a:cubicBezTo>
                    <a:pt x="8231431" y="588203"/>
                    <a:pt x="8155671" y="580227"/>
                    <a:pt x="8079520" y="558685"/>
                  </a:cubicBezTo>
                  <a:cubicBezTo>
                    <a:pt x="7972906" y="528487"/>
                    <a:pt x="7870782" y="525043"/>
                    <a:pt x="7773327" y="558854"/>
                  </a:cubicBezTo>
                  <a:cubicBezTo>
                    <a:pt x="7729470" y="574107"/>
                    <a:pt x="7688069" y="563543"/>
                    <a:pt x="7652477" y="547561"/>
                  </a:cubicBezTo>
                  <a:cubicBezTo>
                    <a:pt x="7611494" y="529005"/>
                    <a:pt x="7570974" y="522685"/>
                    <a:pt x="7522274" y="532150"/>
                  </a:cubicBezTo>
                  <a:cubicBezTo>
                    <a:pt x="7511488" y="534257"/>
                    <a:pt x="7496511" y="532136"/>
                    <a:pt x="7484080" y="530532"/>
                  </a:cubicBezTo>
                  <a:cubicBezTo>
                    <a:pt x="7413133" y="522044"/>
                    <a:pt x="7341987" y="510303"/>
                    <a:pt x="7282277" y="540177"/>
                  </a:cubicBezTo>
                  <a:cubicBezTo>
                    <a:pt x="7270558" y="546051"/>
                    <a:pt x="7251336" y="547713"/>
                    <a:pt x="7235690" y="551282"/>
                  </a:cubicBezTo>
                  <a:cubicBezTo>
                    <a:pt x="7170161" y="565782"/>
                    <a:pt x="7172820" y="564203"/>
                    <a:pt x="7116339" y="539494"/>
                  </a:cubicBezTo>
                  <a:cubicBezTo>
                    <a:pt x="7086841" y="526502"/>
                    <a:pt x="7045980" y="512724"/>
                    <a:pt x="7011067" y="511848"/>
                  </a:cubicBezTo>
                  <a:cubicBezTo>
                    <a:pt x="6800473" y="506533"/>
                    <a:pt x="6601893" y="468653"/>
                    <a:pt x="6403234" y="432296"/>
                  </a:cubicBezTo>
                  <a:cubicBezTo>
                    <a:pt x="6280760" y="409851"/>
                    <a:pt x="6160432" y="402592"/>
                    <a:pt x="6036273" y="412301"/>
                  </a:cubicBezTo>
                  <a:cubicBezTo>
                    <a:pt x="5946471" y="419425"/>
                    <a:pt x="5863077" y="395593"/>
                    <a:pt x="5780467" y="377910"/>
                  </a:cubicBezTo>
                  <a:cubicBezTo>
                    <a:pt x="5763357" y="374343"/>
                    <a:pt x="5747757" y="363033"/>
                    <a:pt x="5739051" y="353609"/>
                  </a:cubicBezTo>
                  <a:cubicBezTo>
                    <a:pt x="5707675" y="320294"/>
                    <a:pt x="5653252" y="312483"/>
                    <a:pt x="5583566" y="321995"/>
                  </a:cubicBezTo>
                  <a:cubicBezTo>
                    <a:pt x="5528347" y="329404"/>
                    <a:pt x="5477716" y="340486"/>
                    <a:pt x="5432030" y="362512"/>
                  </a:cubicBezTo>
                  <a:cubicBezTo>
                    <a:pt x="5378421" y="388318"/>
                    <a:pt x="5322767" y="418026"/>
                    <a:pt x="5241398" y="425781"/>
                  </a:cubicBezTo>
                  <a:cubicBezTo>
                    <a:pt x="5206262" y="429089"/>
                    <a:pt x="5176131" y="428273"/>
                    <a:pt x="5139710" y="421022"/>
                  </a:cubicBezTo>
                  <a:cubicBezTo>
                    <a:pt x="5069048" y="407018"/>
                    <a:pt x="4997864" y="396037"/>
                    <a:pt x="4929402" y="424310"/>
                  </a:cubicBezTo>
                  <a:cubicBezTo>
                    <a:pt x="4891785" y="439890"/>
                    <a:pt x="4841650" y="448519"/>
                    <a:pt x="4782793" y="441046"/>
                  </a:cubicBezTo>
                  <a:cubicBezTo>
                    <a:pt x="4709316" y="431663"/>
                    <a:pt x="4641426" y="442031"/>
                    <a:pt x="4577594" y="459290"/>
                  </a:cubicBezTo>
                  <a:cubicBezTo>
                    <a:pt x="4554816" y="465538"/>
                    <a:pt x="4527069" y="468279"/>
                    <a:pt x="4500826" y="470529"/>
                  </a:cubicBezTo>
                  <a:cubicBezTo>
                    <a:pt x="4440199" y="475746"/>
                    <a:pt x="4379252" y="479993"/>
                    <a:pt x="4317973" y="483649"/>
                  </a:cubicBezTo>
                  <a:cubicBezTo>
                    <a:pt x="4267762" y="486741"/>
                    <a:pt x="4217264" y="488292"/>
                    <a:pt x="4166722" y="490602"/>
                  </a:cubicBezTo>
                  <a:cubicBezTo>
                    <a:pt x="4111394" y="493045"/>
                    <a:pt x="4067073" y="503124"/>
                    <a:pt x="4042814" y="530660"/>
                  </a:cubicBezTo>
                  <a:cubicBezTo>
                    <a:pt x="4034996" y="539407"/>
                    <a:pt x="4017001" y="545715"/>
                    <a:pt x="4002653" y="552594"/>
                  </a:cubicBezTo>
                  <a:cubicBezTo>
                    <a:pt x="3992459" y="557592"/>
                    <a:pt x="3979023" y="561086"/>
                    <a:pt x="3969549" y="566312"/>
                  </a:cubicBezTo>
                  <a:cubicBezTo>
                    <a:pt x="3919896" y="593854"/>
                    <a:pt x="3870968" y="621622"/>
                    <a:pt x="3821685" y="649183"/>
                  </a:cubicBezTo>
                  <a:cubicBezTo>
                    <a:pt x="3816761" y="651788"/>
                    <a:pt x="3811445" y="654943"/>
                    <a:pt x="3805138" y="655947"/>
                  </a:cubicBezTo>
                  <a:cubicBezTo>
                    <a:pt x="3739817" y="666451"/>
                    <a:pt x="3673801" y="676154"/>
                    <a:pt x="3609177" y="687459"/>
                  </a:cubicBezTo>
                  <a:cubicBezTo>
                    <a:pt x="3584288" y="691878"/>
                    <a:pt x="3558597" y="697589"/>
                    <a:pt x="3539727" y="706521"/>
                  </a:cubicBezTo>
                  <a:cubicBezTo>
                    <a:pt x="3496714" y="726780"/>
                    <a:pt x="3457268" y="749132"/>
                    <a:pt x="3396572" y="755681"/>
                  </a:cubicBezTo>
                  <a:cubicBezTo>
                    <a:pt x="3378807" y="757611"/>
                    <a:pt x="3357809" y="758036"/>
                    <a:pt x="3341054" y="754679"/>
                  </a:cubicBezTo>
                  <a:cubicBezTo>
                    <a:pt x="3272962" y="740809"/>
                    <a:pt x="3206471" y="724541"/>
                    <a:pt x="3138775" y="710120"/>
                  </a:cubicBezTo>
                  <a:cubicBezTo>
                    <a:pt x="3095820" y="701191"/>
                    <a:pt x="3056969" y="691141"/>
                    <a:pt x="3037283" y="666453"/>
                  </a:cubicBezTo>
                  <a:cubicBezTo>
                    <a:pt x="3031764" y="659487"/>
                    <a:pt x="3015626" y="651391"/>
                    <a:pt x="3002117" y="649347"/>
                  </a:cubicBezTo>
                  <a:cubicBezTo>
                    <a:pt x="2915220" y="636209"/>
                    <a:pt x="2829194" y="627503"/>
                    <a:pt x="2747294" y="652400"/>
                  </a:cubicBezTo>
                  <a:cubicBezTo>
                    <a:pt x="2730084" y="657794"/>
                    <a:pt x="2698519" y="656140"/>
                    <a:pt x="2676273" y="652304"/>
                  </a:cubicBezTo>
                  <a:cubicBezTo>
                    <a:pt x="2590546" y="637890"/>
                    <a:pt x="2508883" y="630176"/>
                    <a:pt x="2432360" y="657836"/>
                  </a:cubicBezTo>
                  <a:cubicBezTo>
                    <a:pt x="2423352" y="661179"/>
                    <a:pt x="2395274" y="656272"/>
                    <a:pt x="2382311" y="650824"/>
                  </a:cubicBezTo>
                  <a:cubicBezTo>
                    <a:pt x="2257393" y="597728"/>
                    <a:pt x="2187724" y="592930"/>
                    <a:pt x="2055134" y="630053"/>
                  </a:cubicBezTo>
                  <a:cubicBezTo>
                    <a:pt x="2046542" y="632464"/>
                    <a:pt x="2035364" y="635121"/>
                    <a:pt x="2031829" y="639324"/>
                  </a:cubicBezTo>
                  <a:cubicBezTo>
                    <a:pt x="2007977" y="666120"/>
                    <a:pt x="1960229" y="664380"/>
                    <a:pt x="1912764" y="664183"/>
                  </a:cubicBezTo>
                  <a:cubicBezTo>
                    <a:pt x="1860521" y="663924"/>
                    <a:pt x="1808236" y="664426"/>
                    <a:pt x="1755637" y="663960"/>
                  </a:cubicBezTo>
                  <a:cubicBezTo>
                    <a:pt x="1746439" y="663859"/>
                    <a:pt x="1736243" y="661799"/>
                    <a:pt x="1727159" y="659605"/>
                  </a:cubicBezTo>
                  <a:cubicBezTo>
                    <a:pt x="1692256" y="651480"/>
                    <a:pt x="1658604" y="640559"/>
                    <a:pt x="1622470" y="634850"/>
                  </a:cubicBezTo>
                  <a:cubicBezTo>
                    <a:pt x="1544362" y="622552"/>
                    <a:pt x="1469248" y="602210"/>
                    <a:pt x="1385955" y="604522"/>
                  </a:cubicBezTo>
                  <a:cubicBezTo>
                    <a:pt x="1371585" y="604913"/>
                    <a:pt x="1355357" y="598530"/>
                    <a:pt x="1340055" y="595629"/>
                  </a:cubicBezTo>
                  <a:cubicBezTo>
                    <a:pt x="1312351" y="590552"/>
                    <a:pt x="1285460" y="583993"/>
                    <a:pt x="1257271" y="581180"/>
                  </a:cubicBezTo>
                  <a:cubicBezTo>
                    <a:pt x="1182583" y="573830"/>
                    <a:pt x="1107142" y="566824"/>
                    <a:pt x="1031914" y="562692"/>
                  </a:cubicBezTo>
                  <a:cubicBezTo>
                    <a:pt x="995593" y="560597"/>
                    <a:pt x="958880" y="565923"/>
                    <a:pt x="922031" y="566853"/>
                  </a:cubicBezTo>
                  <a:cubicBezTo>
                    <a:pt x="905446" y="567320"/>
                    <a:pt x="878533" y="568199"/>
                    <a:pt x="873250" y="563724"/>
                  </a:cubicBezTo>
                  <a:cubicBezTo>
                    <a:pt x="832343" y="529722"/>
                    <a:pt x="772202" y="532674"/>
                    <a:pt x="711627" y="529880"/>
                  </a:cubicBezTo>
                  <a:cubicBezTo>
                    <a:pt x="577999" y="523641"/>
                    <a:pt x="447408" y="543696"/>
                    <a:pt x="311112" y="525106"/>
                  </a:cubicBezTo>
                  <a:cubicBezTo>
                    <a:pt x="271645" y="519795"/>
                    <a:pt x="226936" y="530235"/>
                    <a:pt x="184145" y="532188"/>
                  </a:cubicBezTo>
                  <a:cubicBezTo>
                    <a:pt x="162015" y="533128"/>
                    <a:pt x="137665" y="534333"/>
                    <a:pt x="116886" y="530572"/>
                  </a:cubicBezTo>
                  <a:cubicBezTo>
                    <a:pt x="84810" y="524693"/>
                    <a:pt x="54011" y="515448"/>
                    <a:pt x="23941" y="506433"/>
                  </a:cubicBezTo>
                  <a:lnTo>
                    <a:pt x="0" y="502149"/>
                  </a:lnTo>
                  <a:close/>
                </a:path>
              </a:pathLst>
            </a:custGeom>
            <a:solidFill>
              <a:srgbClr val="FFFFFF"/>
            </a:solidFill>
            <a:ln w="12700" cap="flat" cmpd="sng" algn="ctr">
              <a:noFill/>
              <a:prstDash val="solid"/>
              <a:miter lim="800000"/>
            </a:ln>
            <a:effectLst>
              <a:outerShdw blurRad="381000" dist="152400" dir="5400000" algn="t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325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9A1F0E66-9B5E-4980-8AEC-B4D144B4878A}"/>
                </a:ext>
                <a:ext uri="{C183D7F6-B498-43B3-948B-1728B52AA6E4}">
                  <adec:decorative xmlns:adec="http://schemas.microsoft.com/office/drawing/2017/decorative" xmlns="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959818"/>
              <a:ext cx="12192000" cy="757168"/>
            </a:xfrm>
            <a:custGeom>
              <a:avLst/>
              <a:gdLst>
                <a:gd name="connsiteX0" fmla="*/ 0 w 12192000"/>
                <a:gd name="connsiteY0" fmla="*/ 0 h 757168"/>
                <a:gd name="connsiteX1" fmla="*/ 41653 w 12192000"/>
                <a:gd name="connsiteY1" fmla="*/ 6945 h 757168"/>
                <a:gd name="connsiteX2" fmla="*/ 81317 w 12192000"/>
                <a:gd name="connsiteY2" fmla="*/ 15509 h 757168"/>
                <a:gd name="connsiteX3" fmla="*/ 114150 w 12192000"/>
                <a:gd name="connsiteY3" fmla="*/ 28105 h 757168"/>
                <a:gd name="connsiteX4" fmla="*/ 214865 w 12192000"/>
                <a:gd name="connsiteY4" fmla="*/ 58374 h 757168"/>
                <a:gd name="connsiteX5" fmla="*/ 299237 w 12192000"/>
                <a:gd name="connsiteY5" fmla="*/ 63560 h 757168"/>
                <a:gd name="connsiteX6" fmla="*/ 415570 w 12192000"/>
                <a:gd name="connsiteY6" fmla="*/ 83774 h 757168"/>
                <a:gd name="connsiteX7" fmla="*/ 633210 w 12192000"/>
                <a:gd name="connsiteY7" fmla="*/ 109108 h 757168"/>
                <a:gd name="connsiteX8" fmla="*/ 677567 w 12192000"/>
                <a:gd name="connsiteY8" fmla="*/ 119446 h 757168"/>
                <a:gd name="connsiteX9" fmla="*/ 946429 w 12192000"/>
                <a:gd name="connsiteY9" fmla="*/ 171502 h 757168"/>
                <a:gd name="connsiteX10" fmla="*/ 1163367 w 12192000"/>
                <a:gd name="connsiteY10" fmla="*/ 182106 h 757168"/>
                <a:gd name="connsiteX11" fmla="*/ 1180337 w 12192000"/>
                <a:gd name="connsiteY11" fmla="*/ 181279 h 757168"/>
                <a:gd name="connsiteX12" fmla="*/ 1263939 w 12192000"/>
                <a:gd name="connsiteY12" fmla="*/ 173070 h 757168"/>
                <a:gd name="connsiteX13" fmla="*/ 1392213 w 12192000"/>
                <a:gd name="connsiteY13" fmla="*/ 183225 h 757168"/>
                <a:gd name="connsiteX14" fmla="*/ 1479752 w 12192000"/>
                <a:gd name="connsiteY14" fmla="*/ 205174 h 757168"/>
                <a:gd name="connsiteX15" fmla="*/ 1589813 w 12192000"/>
                <a:gd name="connsiteY15" fmla="*/ 211706 h 757168"/>
                <a:gd name="connsiteX16" fmla="*/ 1716264 w 12192000"/>
                <a:gd name="connsiteY16" fmla="*/ 207459 h 757168"/>
                <a:gd name="connsiteX17" fmla="*/ 1772900 w 12192000"/>
                <a:gd name="connsiteY17" fmla="*/ 208137 h 757168"/>
                <a:gd name="connsiteX18" fmla="*/ 1929319 w 12192000"/>
                <a:gd name="connsiteY18" fmla="*/ 193822 h 757168"/>
                <a:gd name="connsiteX19" fmla="*/ 2021514 w 12192000"/>
                <a:gd name="connsiteY19" fmla="*/ 204186 h 757168"/>
                <a:gd name="connsiteX20" fmla="*/ 2111753 w 12192000"/>
                <a:gd name="connsiteY20" fmla="*/ 223797 h 757168"/>
                <a:gd name="connsiteX21" fmla="*/ 2169356 w 12192000"/>
                <a:gd name="connsiteY21" fmla="*/ 241125 h 757168"/>
                <a:gd name="connsiteX22" fmla="*/ 2286638 w 12192000"/>
                <a:gd name="connsiteY22" fmla="*/ 257382 h 757168"/>
                <a:gd name="connsiteX23" fmla="*/ 2308368 w 12192000"/>
                <a:gd name="connsiteY23" fmla="*/ 256995 h 757168"/>
                <a:gd name="connsiteX24" fmla="*/ 2660621 w 12192000"/>
                <a:gd name="connsiteY24" fmla="*/ 262863 h 757168"/>
                <a:gd name="connsiteX25" fmla="*/ 2801134 w 12192000"/>
                <a:gd name="connsiteY25" fmla="*/ 250006 h 757168"/>
                <a:gd name="connsiteX26" fmla="*/ 2830994 w 12192000"/>
                <a:gd name="connsiteY26" fmla="*/ 249091 h 757168"/>
                <a:gd name="connsiteX27" fmla="*/ 3129084 w 12192000"/>
                <a:gd name="connsiteY27" fmla="*/ 242009 h 757168"/>
                <a:gd name="connsiteX28" fmla="*/ 3162162 w 12192000"/>
                <a:gd name="connsiteY28" fmla="*/ 242789 h 757168"/>
                <a:gd name="connsiteX29" fmla="*/ 3254072 w 12192000"/>
                <a:gd name="connsiteY29" fmla="*/ 251612 h 757168"/>
                <a:gd name="connsiteX30" fmla="*/ 3473491 w 12192000"/>
                <a:gd name="connsiteY30" fmla="*/ 221903 h 757168"/>
                <a:gd name="connsiteX31" fmla="*/ 3691860 w 12192000"/>
                <a:gd name="connsiteY31" fmla="*/ 219228 h 757168"/>
                <a:gd name="connsiteX32" fmla="*/ 3811494 w 12192000"/>
                <a:gd name="connsiteY32" fmla="*/ 225691 h 757168"/>
                <a:gd name="connsiteX33" fmla="*/ 3897533 w 12192000"/>
                <a:gd name="connsiteY33" fmla="*/ 220087 h 757168"/>
                <a:gd name="connsiteX34" fmla="*/ 4109430 w 12192000"/>
                <a:gd name="connsiteY34" fmla="*/ 200477 h 757168"/>
                <a:gd name="connsiteX35" fmla="*/ 4208772 w 12192000"/>
                <a:gd name="connsiteY35" fmla="*/ 200914 h 757168"/>
                <a:gd name="connsiteX36" fmla="*/ 4314641 w 12192000"/>
                <a:gd name="connsiteY36" fmla="*/ 196159 h 757168"/>
                <a:gd name="connsiteX37" fmla="*/ 4577622 w 12192000"/>
                <a:gd name="connsiteY37" fmla="*/ 163774 h 757168"/>
                <a:gd name="connsiteX38" fmla="*/ 4790345 w 12192000"/>
                <a:gd name="connsiteY38" fmla="*/ 177592 h 757168"/>
                <a:gd name="connsiteX39" fmla="*/ 4926164 w 12192000"/>
                <a:gd name="connsiteY39" fmla="*/ 184139 h 757168"/>
                <a:gd name="connsiteX40" fmla="*/ 5088812 w 12192000"/>
                <a:gd name="connsiteY40" fmla="*/ 177401 h 757168"/>
                <a:gd name="connsiteX41" fmla="*/ 5222466 w 12192000"/>
                <a:gd name="connsiteY41" fmla="*/ 162082 h 757168"/>
                <a:gd name="connsiteX42" fmla="*/ 5406528 w 12192000"/>
                <a:gd name="connsiteY42" fmla="*/ 153987 h 757168"/>
                <a:gd name="connsiteX43" fmla="*/ 5590716 w 12192000"/>
                <a:gd name="connsiteY43" fmla="*/ 129490 h 757168"/>
                <a:gd name="connsiteX44" fmla="*/ 5719429 w 12192000"/>
                <a:gd name="connsiteY44" fmla="*/ 110099 h 757168"/>
                <a:gd name="connsiteX45" fmla="*/ 5897895 w 12192000"/>
                <a:gd name="connsiteY45" fmla="*/ 96368 h 757168"/>
                <a:gd name="connsiteX46" fmla="*/ 6169957 w 12192000"/>
                <a:gd name="connsiteY46" fmla="*/ 94411 h 757168"/>
                <a:gd name="connsiteX47" fmla="*/ 6294827 w 12192000"/>
                <a:gd name="connsiteY47" fmla="*/ 99236 h 757168"/>
                <a:gd name="connsiteX48" fmla="*/ 6494261 w 12192000"/>
                <a:gd name="connsiteY48" fmla="*/ 71724 h 757168"/>
                <a:gd name="connsiteX49" fmla="*/ 6579627 w 12192000"/>
                <a:gd name="connsiteY49" fmla="*/ 57883 h 757168"/>
                <a:gd name="connsiteX50" fmla="*/ 6654800 w 12192000"/>
                <a:gd name="connsiteY50" fmla="*/ 77086 h 757168"/>
                <a:gd name="connsiteX51" fmla="*/ 6703059 w 12192000"/>
                <a:gd name="connsiteY51" fmla="*/ 97166 h 757168"/>
                <a:gd name="connsiteX52" fmla="*/ 6859445 w 12192000"/>
                <a:gd name="connsiteY52" fmla="*/ 90481 h 757168"/>
                <a:gd name="connsiteX53" fmla="*/ 7025414 w 12192000"/>
                <a:gd name="connsiteY53" fmla="*/ 83536 h 757168"/>
                <a:gd name="connsiteX54" fmla="*/ 7144137 w 12192000"/>
                <a:gd name="connsiteY54" fmla="*/ 79264 h 757168"/>
                <a:gd name="connsiteX55" fmla="*/ 7291235 w 12192000"/>
                <a:gd name="connsiteY55" fmla="*/ 95367 h 757168"/>
                <a:gd name="connsiteX56" fmla="*/ 7407395 w 12192000"/>
                <a:gd name="connsiteY56" fmla="*/ 104888 h 757168"/>
                <a:gd name="connsiteX57" fmla="*/ 7500837 w 12192000"/>
                <a:gd name="connsiteY57" fmla="*/ 119515 h 757168"/>
                <a:gd name="connsiteX58" fmla="*/ 7533567 w 12192000"/>
                <a:gd name="connsiteY58" fmla="*/ 126955 h 757168"/>
                <a:gd name="connsiteX59" fmla="*/ 7792910 w 12192000"/>
                <a:gd name="connsiteY59" fmla="*/ 185188 h 757168"/>
                <a:gd name="connsiteX60" fmla="*/ 8070699 w 12192000"/>
                <a:gd name="connsiteY60" fmla="*/ 235423 h 757168"/>
                <a:gd name="connsiteX61" fmla="*/ 8253177 w 12192000"/>
                <a:gd name="connsiteY61" fmla="*/ 222473 h 757168"/>
                <a:gd name="connsiteX62" fmla="*/ 8320683 w 12192000"/>
                <a:gd name="connsiteY62" fmla="*/ 226393 h 757168"/>
                <a:gd name="connsiteX63" fmla="*/ 8631438 w 12192000"/>
                <a:gd name="connsiteY63" fmla="*/ 237528 h 757168"/>
                <a:gd name="connsiteX64" fmla="*/ 8686410 w 12192000"/>
                <a:gd name="connsiteY64" fmla="*/ 234877 h 757168"/>
                <a:gd name="connsiteX65" fmla="*/ 8980658 w 12192000"/>
                <a:gd name="connsiteY65" fmla="*/ 273001 h 757168"/>
                <a:gd name="connsiteX66" fmla="*/ 9087625 w 12192000"/>
                <a:gd name="connsiteY66" fmla="*/ 282423 h 757168"/>
                <a:gd name="connsiteX67" fmla="*/ 9186017 w 12192000"/>
                <a:gd name="connsiteY67" fmla="*/ 293875 h 757168"/>
                <a:gd name="connsiteX68" fmla="*/ 9323931 w 12192000"/>
                <a:gd name="connsiteY68" fmla="*/ 302628 h 757168"/>
                <a:gd name="connsiteX69" fmla="*/ 9467213 w 12192000"/>
                <a:gd name="connsiteY69" fmla="*/ 307275 h 757168"/>
                <a:gd name="connsiteX70" fmla="*/ 9626826 w 12192000"/>
                <a:gd name="connsiteY70" fmla="*/ 316213 h 757168"/>
                <a:gd name="connsiteX71" fmla="*/ 9689696 w 12192000"/>
                <a:gd name="connsiteY71" fmla="*/ 324467 h 757168"/>
                <a:gd name="connsiteX72" fmla="*/ 9860526 w 12192000"/>
                <a:gd name="connsiteY72" fmla="*/ 329986 h 757168"/>
                <a:gd name="connsiteX73" fmla="*/ 9949775 w 12192000"/>
                <a:gd name="connsiteY73" fmla="*/ 340386 h 757168"/>
                <a:gd name="connsiteX74" fmla="*/ 10097252 w 12192000"/>
                <a:gd name="connsiteY74" fmla="*/ 349262 h 757168"/>
                <a:gd name="connsiteX75" fmla="*/ 10145261 w 12192000"/>
                <a:gd name="connsiteY75" fmla="*/ 353113 h 757168"/>
                <a:gd name="connsiteX76" fmla="*/ 10188159 w 12192000"/>
                <a:gd name="connsiteY76" fmla="*/ 356124 h 757168"/>
                <a:gd name="connsiteX77" fmla="*/ 10336144 w 12192000"/>
                <a:gd name="connsiteY77" fmla="*/ 348235 h 757168"/>
                <a:gd name="connsiteX78" fmla="*/ 10466847 w 12192000"/>
                <a:gd name="connsiteY78" fmla="*/ 354131 h 757168"/>
                <a:gd name="connsiteX79" fmla="*/ 10696514 w 12192000"/>
                <a:gd name="connsiteY79" fmla="*/ 353575 h 757168"/>
                <a:gd name="connsiteX80" fmla="*/ 10746932 w 12192000"/>
                <a:gd name="connsiteY80" fmla="*/ 360606 h 757168"/>
                <a:gd name="connsiteX81" fmla="*/ 10905388 w 12192000"/>
                <a:gd name="connsiteY81" fmla="*/ 370627 h 757168"/>
                <a:gd name="connsiteX82" fmla="*/ 10995602 w 12192000"/>
                <a:gd name="connsiteY82" fmla="*/ 376691 h 757168"/>
                <a:gd name="connsiteX83" fmla="*/ 11107647 w 12192000"/>
                <a:gd name="connsiteY83" fmla="*/ 373405 h 757168"/>
                <a:gd name="connsiteX84" fmla="*/ 11302440 w 12192000"/>
                <a:gd name="connsiteY84" fmla="*/ 364156 h 757168"/>
                <a:gd name="connsiteX85" fmla="*/ 11353613 w 12192000"/>
                <a:gd name="connsiteY85" fmla="*/ 363785 h 757168"/>
                <a:gd name="connsiteX86" fmla="*/ 11447323 w 12192000"/>
                <a:gd name="connsiteY86" fmla="*/ 359346 h 757168"/>
                <a:gd name="connsiteX87" fmla="*/ 11464292 w 12192000"/>
                <a:gd name="connsiteY87" fmla="*/ 358519 h 757168"/>
                <a:gd name="connsiteX88" fmla="*/ 11607560 w 12192000"/>
                <a:gd name="connsiteY88" fmla="*/ 342370 h 757168"/>
                <a:gd name="connsiteX89" fmla="*/ 11681426 w 12192000"/>
                <a:gd name="connsiteY89" fmla="*/ 344335 h 757168"/>
                <a:gd name="connsiteX90" fmla="*/ 11893565 w 12192000"/>
                <a:gd name="connsiteY90" fmla="*/ 355261 h 757168"/>
                <a:gd name="connsiteX91" fmla="*/ 11983290 w 12192000"/>
                <a:gd name="connsiteY91" fmla="*/ 363588 h 757168"/>
                <a:gd name="connsiteX92" fmla="*/ 12192000 w 12192000"/>
                <a:gd name="connsiteY92" fmla="*/ 388018 h 757168"/>
                <a:gd name="connsiteX93" fmla="*/ 12192000 w 12192000"/>
                <a:gd name="connsiteY93" fmla="*/ 577115 h 757168"/>
                <a:gd name="connsiteX94" fmla="*/ 12157329 w 12192000"/>
                <a:gd name="connsiteY94" fmla="*/ 588862 h 757168"/>
                <a:gd name="connsiteX95" fmla="*/ 12066948 w 12192000"/>
                <a:gd name="connsiteY95" fmla="*/ 586034 h 757168"/>
                <a:gd name="connsiteX96" fmla="*/ 11911344 w 12192000"/>
                <a:gd name="connsiteY96" fmla="*/ 521599 h 757168"/>
                <a:gd name="connsiteX97" fmla="*/ 11847823 w 12192000"/>
                <a:gd name="connsiteY97" fmla="*/ 511785 h 757168"/>
                <a:gd name="connsiteX98" fmla="*/ 11737547 w 12192000"/>
                <a:gd name="connsiteY98" fmla="*/ 502380 h 757168"/>
                <a:gd name="connsiteX99" fmla="*/ 11636052 w 12192000"/>
                <a:gd name="connsiteY99" fmla="*/ 514993 h 757168"/>
                <a:gd name="connsiteX100" fmla="*/ 11394706 w 12192000"/>
                <a:gd name="connsiteY100" fmla="*/ 590867 h 757168"/>
                <a:gd name="connsiteX101" fmla="*/ 11354978 w 12192000"/>
                <a:gd name="connsiteY101" fmla="*/ 597561 h 757168"/>
                <a:gd name="connsiteX102" fmla="*/ 11285306 w 12192000"/>
                <a:gd name="connsiteY102" fmla="*/ 599825 h 757168"/>
                <a:gd name="connsiteX103" fmla="*/ 11008528 w 12192000"/>
                <a:gd name="connsiteY103" fmla="*/ 656670 h 757168"/>
                <a:gd name="connsiteX104" fmla="*/ 10948735 w 12192000"/>
                <a:gd name="connsiteY104" fmla="*/ 652964 h 757168"/>
                <a:gd name="connsiteX105" fmla="*/ 10850698 w 12192000"/>
                <a:gd name="connsiteY105" fmla="*/ 641721 h 757168"/>
                <a:gd name="connsiteX106" fmla="*/ 10744026 w 12192000"/>
                <a:gd name="connsiteY106" fmla="*/ 647769 h 757168"/>
                <a:gd name="connsiteX107" fmla="*/ 10666160 w 12192000"/>
                <a:gd name="connsiteY107" fmla="*/ 651891 h 757168"/>
                <a:gd name="connsiteX108" fmla="*/ 10450521 w 12192000"/>
                <a:gd name="connsiteY108" fmla="*/ 616552 h 757168"/>
                <a:gd name="connsiteX109" fmla="*/ 10271192 w 12192000"/>
                <a:gd name="connsiteY109" fmla="*/ 583498 h 757168"/>
                <a:gd name="connsiteX110" fmla="*/ 10246067 w 12192000"/>
                <a:gd name="connsiteY110" fmla="*/ 585423 h 757168"/>
                <a:gd name="connsiteX111" fmla="*/ 10005027 w 12192000"/>
                <a:gd name="connsiteY111" fmla="*/ 592252 h 757168"/>
                <a:gd name="connsiteX112" fmla="*/ 9898681 w 12192000"/>
                <a:gd name="connsiteY112" fmla="*/ 613195 h 757168"/>
                <a:gd name="connsiteX113" fmla="*/ 9753225 w 12192000"/>
                <a:gd name="connsiteY113" fmla="*/ 629038 h 757168"/>
                <a:gd name="connsiteX114" fmla="*/ 9591376 w 12192000"/>
                <a:gd name="connsiteY114" fmla="*/ 648601 h 757168"/>
                <a:gd name="connsiteX115" fmla="*/ 9472860 w 12192000"/>
                <a:gd name="connsiteY115" fmla="*/ 655936 h 757168"/>
                <a:gd name="connsiteX116" fmla="*/ 9299788 w 12192000"/>
                <a:gd name="connsiteY116" fmla="*/ 636945 h 757168"/>
                <a:gd name="connsiteX117" fmla="*/ 9264605 w 12192000"/>
                <a:gd name="connsiteY117" fmla="*/ 627087 h 757168"/>
                <a:gd name="connsiteX118" fmla="*/ 8926435 w 12192000"/>
                <a:gd name="connsiteY118" fmla="*/ 549269 h 757168"/>
                <a:gd name="connsiteX119" fmla="*/ 8698934 w 12192000"/>
                <a:gd name="connsiteY119" fmla="*/ 536583 h 757168"/>
                <a:gd name="connsiteX120" fmla="*/ 8622862 w 12192000"/>
                <a:gd name="connsiteY120" fmla="*/ 541563 h 757168"/>
                <a:gd name="connsiteX121" fmla="*/ 8482784 w 12192000"/>
                <a:gd name="connsiteY121" fmla="*/ 574094 h 757168"/>
                <a:gd name="connsiteX122" fmla="*/ 8421565 w 12192000"/>
                <a:gd name="connsiteY122" fmla="*/ 576610 h 757168"/>
                <a:gd name="connsiteX123" fmla="*/ 8313469 w 12192000"/>
                <a:gd name="connsiteY123" fmla="*/ 574762 h 757168"/>
                <a:gd name="connsiteX124" fmla="*/ 8079520 w 12192000"/>
                <a:gd name="connsiteY124" fmla="*/ 558685 h 757168"/>
                <a:gd name="connsiteX125" fmla="*/ 7773327 w 12192000"/>
                <a:gd name="connsiteY125" fmla="*/ 558854 h 757168"/>
                <a:gd name="connsiteX126" fmla="*/ 7652477 w 12192000"/>
                <a:gd name="connsiteY126" fmla="*/ 547561 h 757168"/>
                <a:gd name="connsiteX127" fmla="*/ 7522274 w 12192000"/>
                <a:gd name="connsiteY127" fmla="*/ 532150 h 757168"/>
                <a:gd name="connsiteX128" fmla="*/ 7484080 w 12192000"/>
                <a:gd name="connsiteY128" fmla="*/ 530532 h 757168"/>
                <a:gd name="connsiteX129" fmla="*/ 7282277 w 12192000"/>
                <a:gd name="connsiteY129" fmla="*/ 540177 h 757168"/>
                <a:gd name="connsiteX130" fmla="*/ 7235690 w 12192000"/>
                <a:gd name="connsiteY130" fmla="*/ 551282 h 757168"/>
                <a:gd name="connsiteX131" fmla="*/ 7116339 w 12192000"/>
                <a:gd name="connsiteY131" fmla="*/ 539494 h 757168"/>
                <a:gd name="connsiteX132" fmla="*/ 7011067 w 12192000"/>
                <a:gd name="connsiteY132" fmla="*/ 511848 h 757168"/>
                <a:gd name="connsiteX133" fmla="*/ 6403234 w 12192000"/>
                <a:gd name="connsiteY133" fmla="*/ 432296 h 757168"/>
                <a:gd name="connsiteX134" fmla="*/ 6036273 w 12192000"/>
                <a:gd name="connsiteY134" fmla="*/ 412301 h 757168"/>
                <a:gd name="connsiteX135" fmla="*/ 5780467 w 12192000"/>
                <a:gd name="connsiteY135" fmla="*/ 377910 h 757168"/>
                <a:gd name="connsiteX136" fmla="*/ 5739051 w 12192000"/>
                <a:gd name="connsiteY136" fmla="*/ 353609 h 757168"/>
                <a:gd name="connsiteX137" fmla="*/ 5583566 w 12192000"/>
                <a:gd name="connsiteY137" fmla="*/ 321995 h 757168"/>
                <a:gd name="connsiteX138" fmla="*/ 5432030 w 12192000"/>
                <a:gd name="connsiteY138" fmla="*/ 362512 h 757168"/>
                <a:gd name="connsiteX139" fmla="*/ 5241398 w 12192000"/>
                <a:gd name="connsiteY139" fmla="*/ 425781 h 757168"/>
                <a:gd name="connsiteX140" fmla="*/ 5139710 w 12192000"/>
                <a:gd name="connsiteY140" fmla="*/ 421022 h 757168"/>
                <a:gd name="connsiteX141" fmla="*/ 4929402 w 12192000"/>
                <a:gd name="connsiteY141" fmla="*/ 424310 h 757168"/>
                <a:gd name="connsiteX142" fmla="*/ 4782793 w 12192000"/>
                <a:gd name="connsiteY142" fmla="*/ 441046 h 757168"/>
                <a:gd name="connsiteX143" fmla="*/ 4577594 w 12192000"/>
                <a:gd name="connsiteY143" fmla="*/ 459290 h 757168"/>
                <a:gd name="connsiteX144" fmla="*/ 4500826 w 12192000"/>
                <a:gd name="connsiteY144" fmla="*/ 470529 h 757168"/>
                <a:gd name="connsiteX145" fmla="*/ 4317973 w 12192000"/>
                <a:gd name="connsiteY145" fmla="*/ 483649 h 757168"/>
                <a:gd name="connsiteX146" fmla="*/ 4166722 w 12192000"/>
                <a:gd name="connsiteY146" fmla="*/ 490602 h 757168"/>
                <a:gd name="connsiteX147" fmla="*/ 4042814 w 12192000"/>
                <a:gd name="connsiteY147" fmla="*/ 530660 h 757168"/>
                <a:gd name="connsiteX148" fmla="*/ 4002653 w 12192000"/>
                <a:gd name="connsiteY148" fmla="*/ 552594 h 757168"/>
                <a:gd name="connsiteX149" fmla="*/ 3969549 w 12192000"/>
                <a:gd name="connsiteY149" fmla="*/ 566312 h 757168"/>
                <a:gd name="connsiteX150" fmla="*/ 3821685 w 12192000"/>
                <a:gd name="connsiteY150" fmla="*/ 649183 h 757168"/>
                <a:gd name="connsiteX151" fmla="*/ 3805138 w 12192000"/>
                <a:gd name="connsiteY151" fmla="*/ 655947 h 757168"/>
                <a:gd name="connsiteX152" fmla="*/ 3609177 w 12192000"/>
                <a:gd name="connsiteY152" fmla="*/ 687459 h 757168"/>
                <a:gd name="connsiteX153" fmla="*/ 3539727 w 12192000"/>
                <a:gd name="connsiteY153" fmla="*/ 706521 h 757168"/>
                <a:gd name="connsiteX154" fmla="*/ 3396572 w 12192000"/>
                <a:gd name="connsiteY154" fmla="*/ 755681 h 757168"/>
                <a:gd name="connsiteX155" fmla="*/ 3341054 w 12192000"/>
                <a:gd name="connsiteY155" fmla="*/ 754679 h 757168"/>
                <a:gd name="connsiteX156" fmla="*/ 3138775 w 12192000"/>
                <a:gd name="connsiteY156" fmla="*/ 710120 h 757168"/>
                <a:gd name="connsiteX157" fmla="*/ 3037283 w 12192000"/>
                <a:gd name="connsiteY157" fmla="*/ 666453 h 757168"/>
                <a:gd name="connsiteX158" fmla="*/ 3002117 w 12192000"/>
                <a:gd name="connsiteY158" fmla="*/ 649347 h 757168"/>
                <a:gd name="connsiteX159" fmla="*/ 2747294 w 12192000"/>
                <a:gd name="connsiteY159" fmla="*/ 652400 h 757168"/>
                <a:gd name="connsiteX160" fmla="*/ 2676273 w 12192000"/>
                <a:gd name="connsiteY160" fmla="*/ 652304 h 757168"/>
                <a:gd name="connsiteX161" fmla="*/ 2432360 w 12192000"/>
                <a:gd name="connsiteY161" fmla="*/ 657836 h 757168"/>
                <a:gd name="connsiteX162" fmla="*/ 2382311 w 12192000"/>
                <a:gd name="connsiteY162" fmla="*/ 650824 h 757168"/>
                <a:gd name="connsiteX163" fmla="*/ 2055134 w 12192000"/>
                <a:gd name="connsiteY163" fmla="*/ 630053 h 757168"/>
                <a:gd name="connsiteX164" fmla="*/ 2031829 w 12192000"/>
                <a:gd name="connsiteY164" fmla="*/ 639324 h 757168"/>
                <a:gd name="connsiteX165" fmla="*/ 1912764 w 12192000"/>
                <a:gd name="connsiteY165" fmla="*/ 664183 h 757168"/>
                <a:gd name="connsiteX166" fmla="*/ 1755637 w 12192000"/>
                <a:gd name="connsiteY166" fmla="*/ 663960 h 757168"/>
                <a:gd name="connsiteX167" fmla="*/ 1727159 w 12192000"/>
                <a:gd name="connsiteY167" fmla="*/ 659605 h 757168"/>
                <a:gd name="connsiteX168" fmla="*/ 1622470 w 12192000"/>
                <a:gd name="connsiteY168" fmla="*/ 634850 h 757168"/>
                <a:gd name="connsiteX169" fmla="*/ 1385955 w 12192000"/>
                <a:gd name="connsiteY169" fmla="*/ 604522 h 757168"/>
                <a:gd name="connsiteX170" fmla="*/ 1340055 w 12192000"/>
                <a:gd name="connsiteY170" fmla="*/ 595629 h 757168"/>
                <a:gd name="connsiteX171" fmla="*/ 1257271 w 12192000"/>
                <a:gd name="connsiteY171" fmla="*/ 581180 h 757168"/>
                <a:gd name="connsiteX172" fmla="*/ 1031914 w 12192000"/>
                <a:gd name="connsiteY172" fmla="*/ 562692 h 757168"/>
                <a:gd name="connsiteX173" fmla="*/ 922031 w 12192000"/>
                <a:gd name="connsiteY173" fmla="*/ 566853 h 757168"/>
                <a:gd name="connsiteX174" fmla="*/ 873250 w 12192000"/>
                <a:gd name="connsiteY174" fmla="*/ 563724 h 757168"/>
                <a:gd name="connsiteX175" fmla="*/ 711627 w 12192000"/>
                <a:gd name="connsiteY175" fmla="*/ 529880 h 757168"/>
                <a:gd name="connsiteX176" fmla="*/ 311112 w 12192000"/>
                <a:gd name="connsiteY176" fmla="*/ 525106 h 757168"/>
                <a:gd name="connsiteX177" fmla="*/ 184145 w 12192000"/>
                <a:gd name="connsiteY177" fmla="*/ 532188 h 757168"/>
                <a:gd name="connsiteX178" fmla="*/ 116886 w 12192000"/>
                <a:gd name="connsiteY178" fmla="*/ 530572 h 757168"/>
                <a:gd name="connsiteX179" fmla="*/ 23941 w 12192000"/>
                <a:gd name="connsiteY179" fmla="*/ 506433 h 757168"/>
                <a:gd name="connsiteX180" fmla="*/ 0 w 12192000"/>
                <a:gd name="connsiteY180" fmla="*/ 502149 h 7571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</a:cxnLst>
              <a:rect l="l" t="t" r="r" b="b"/>
              <a:pathLst>
                <a:path w="12192000" h="757168">
                  <a:moveTo>
                    <a:pt x="0" y="0"/>
                  </a:moveTo>
                  <a:lnTo>
                    <a:pt x="41653" y="6945"/>
                  </a:lnTo>
                  <a:cubicBezTo>
                    <a:pt x="55151" y="9178"/>
                    <a:pt x="68996" y="11810"/>
                    <a:pt x="81317" y="15509"/>
                  </a:cubicBezTo>
                  <a:cubicBezTo>
                    <a:pt x="92911" y="18978"/>
                    <a:pt x="102562" y="24446"/>
                    <a:pt x="114150" y="28105"/>
                  </a:cubicBezTo>
                  <a:cubicBezTo>
                    <a:pt x="145644" y="37958"/>
                    <a:pt x="177914" y="47281"/>
                    <a:pt x="214865" y="58374"/>
                  </a:cubicBezTo>
                  <a:cubicBezTo>
                    <a:pt x="236680" y="42349"/>
                    <a:pt x="264438" y="53534"/>
                    <a:pt x="299237" y="63560"/>
                  </a:cubicBezTo>
                  <a:cubicBezTo>
                    <a:pt x="334763" y="73816"/>
                    <a:pt x="376093" y="78654"/>
                    <a:pt x="415570" y="83774"/>
                  </a:cubicBezTo>
                  <a:cubicBezTo>
                    <a:pt x="487949" y="93100"/>
                    <a:pt x="560804" y="100354"/>
                    <a:pt x="633210" y="109108"/>
                  </a:cubicBezTo>
                  <a:cubicBezTo>
                    <a:pt x="648566" y="111058"/>
                    <a:pt x="666073" y="114072"/>
                    <a:pt x="677567" y="119446"/>
                  </a:cubicBezTo>
                  <a:cubicBezTo>
                    <a:pt x="756262" y="155621"/>
                    <a:pt x="853422" y="169678"/>
                    <a:pt x="946429" y="171502"/>
                  </a:cubicBezTo>
                  <a:cubicBezTo>
                    <a:pt x="1019582" y="173044"/>
                    <a:pt x="1091239" y="175083"/>
                    <a:pt x="1163367" y="182106"/>
                  </a:cubicBezTo>
                  <a:cubicBezTo>
                    <a:pt x="1168863" y="182586"/>
                    <a:pt x="1176224" y="182589"/>
                    <a:pt x="1180337" y="181279"/>
                  </a:cubicBezTo>
                  <a:cubicBezTo>
                    <a:pt x="1205822" y="172503"/>
                    <a:pt x="1231920" y="173109"/>
                    <a:pt x="1263939" y="173070"/>
                  </a:cubicBezTo>
                  <a:cubicBezTo>
                    <a:pt x="1309211" y="172961"/>
                    <a:pt x="1350592" y="176848"/>
                    <a:pt x="1392213" y="183225"/>
                  </a:cubicBezTo>
                  <a:cubicBezTo>
                    <a:pt x="1422516" y="187866"/>
                    <a:pt x="1453010" y="195759"/>
                    <a:pt x="1479752" y="205174"/>
                  </a:cubicBezTo>
                  <a:cubicBezTo>
                    <a:pt x="1516962" y="218381"/>
                    <a:pt x="1553071" y="224660"/>
                    <a:pt x="1589813" y="211706"/>
                  </a:cubicBezTo>
                  <a:cubicBezTo>
                    <a:pt x="1629541" y="197953"/>
                    <a:pt x="1673292" y="205778"/>
                    <a:pt x="1716264" y="207459"/>
                  </a:cubicBezTo>
                  <a:cubicBezTo>
                    <a:pt x="1734988" y="208248"/>
                    <a:pt x="1754789" y="209668"/>
                    <a:pt x="1772900" y="208137"/>
                  </a:cubicBezTo>
                  <a:cubicBezTo>
                    <a:pt x="1825381" y="203828"/>
                    <a:pt x="1876222" y="195808"/>
                    <a:pt x="1929319" y="193822"/>
                  </a:cubicBezTo>
                  <a:cubicBezTo>
                    <a:pt x="1958819" y="192698"/>
                    <a:pt x="1991232" y="199166"/>
                    <a:pt x="2021514" y="204186"/>
                  </a:cubicBezTo>
                  <a:cubicBezTo>
                    <a:pt x="2052154" y="209417"/>
                    <a:pt x="2082323" y="216530"/>
                    <a:pt x="2111753" y="223797"/>
                  </a:cubicBezTo>
                  <a:cubicBezTo>
                    <a:pt x="2131736" y="228659"/>
                    <a:pt x="2153567" y="233429"/>
                    <a:pt x="2169356" y="241125"/>
                  </a:cubicBezTo>
                  <a:cubicBezTo>
                    <a:pt x="2205243" y="258649"/>
                    <a:pt x="2242901" y="263295"/>
                    <a:pt x="2286638" y="257382"/>
                  </a:cubicBezTo>
                  <a:cubicBezTo>
                    <a:pt x="2293313" y="256396"/>
                    <a:pt x="2301018" y="256799"/>
                    <a:pt x="2308368" y="256995"/>
                  </a:cubicBezTo>
                  <a:cubicBezTo>
                    <a:pt x="2426026" y="259155"/>
                    <a:pt x="2543593" y="262834"/>
                    <a:pt x="2660621" y="262863"/>
                  </a:cubicBezTo>
                  <a:cubicBezTo>
                    <a:pt x="2708088" y="262871"/>
                    <a:pt x="2754165" y="254412"/>
                    <a:pt x="2801134" y="250006"/>
                  </a:cubicBezTo>
                  <a:cubicBezTo>
                    <a:pt x="2810748" y="249174"/>
                    <a:pt x="2821504" y="247638"/>
                    <a:pt x="2830994" y="249091"/>
                  </a:cubicBezTo>
                  <a:cubicBezTo>
                    <a:pt x="2934354" y="264045"/>
                    <a:pt x="3032340" y="255254"/>
                    <a:pt x="3129084" y="242009"/>
                  </a:cubicBezTo>
                  <a:cubicBezTo>
                    <a:pt x="3139090" y="240625"/>
                    <a:pt x="3151170" y="241831"/>
                    <a:pt x="3162162" y="242789"/>
                  </a:cubicBezTo>
                  <a:cubicBezTo>
                    <a:pt x="3192925" y="245736"/>
                    <a:pt x="3225969" y="254145"/>
                    <a:pt x="3254072" y="251612"/>
                  </a:cubicBezTo>
                  <a:cubicBezTo>
                    <a:pt x="3328782" y="244461"/>
                    <a:pt x="3402881" y="234992"/>
                    <a:pt x="3473491" y="221903"/>
                  </a:cubicBezTo>
                  <a:cubicBezTo>
                    <a:pt x="3545212" y="208683"/>
                    <a:pt x="3611651" y="197856"/>
                    <a:pt x="3691860" y="219228"/>
                  </a:cubicBezTo>
                  <a:cubicBezTo>
                    <a:pt x="3725977" y="228268"/>
                    <a:pt x="3771754" y="225515"/>
                    <a:pt x="3811494" y="225691"/>
                  </a:cubicBezTo>
                  <a:cubicBezTo>
                    <a:pt x="3840564" y="225687"/>
                    <a:pt x="3868906" y="218586"/>
                    <a:pt x="3897533" y="220087"/>
                  </a:cubicBezTo>
                  <a:cubicBezTo>
                    <a:pt x="3973874" y="224087"/>
                    <a:pt x="4042293" y="217563"/>
                    <a:pt x="4109430" y="200477"/>
                  </a:cubicBezTo>
                  <a:cubicBezTo>
                    <a:pt x="4135544" y="193834"/>
                    <a:pt x="4175268" y="201258"/>
                    <a:pt x="4208772" y="200914"/>
                  </a:cubicBezTo>
                  <a:cubicBezTo>
                    <a:pt x="4244136" y="200288"/>
                    <a:pt x="4280583" y="199908"/>
                    <a:pt x="4314641" y="196159"/>
                  </a:cubicBezTo>
                  <a:cubicBezTo>
                    <a:pt x="4402743" y="186278"/>
                    <a:pt x="4489848" y="174436"/>
                    <a:pt x="4577622" y="163774"/>
                  </a:cubicBezTo>
                  <a:cubicBezTo>
                    <a:pt x="4649843" y="154967"/>
                    <a:pt x="4719794" y="168553"/>
                    <a:pt x="4790345" y="177592"/>
                  </a:cubicBezTo>
                  <a:cubicBezTo>
                    <a:pt x="4834576" y="183345"/>
                    <a:pt x="4875614" y="193701"/>
                    <a:pt x="4926164" y="184139"/>
                  </a:cubicBezTo>
                  <a:cubicBezTo>
                    <a:pt x="4974485" y="175032"/>
                    <a:pt x="5034899" y="180870"/>
                    <a:pt x="5088812" y="177401"/>
                  </a:cubicBezTo>
                  <a:cubicBezTo>
                    <a:pt x="5134238" y="174439"/>
                    <a:pt x="5178353" y="168165"/>
                    <a:pt x="5222466" y="162082"/>
                  </a:cubicBezTo>
                  <a:cubicBezTo>
                    <a:pt x="5282519" y="153783"/>
                    <a:pt x="5341864" y="144876"/>
                    <a:pt x="5406528" y="153987"/>
                  </a:cubicBezTo>
                  <a:cubicBezTo>
                    <a:pt x="5479960" y="164323"/>
                    <a:pt x="5531876" y="142624"/>
                    <a:pt x="5590716" y="129490"/>
                  </a:cubicBezTo>
                  <a:cubicBezTo>
                    <a:pt x="5631296" y="120553"/>
                    <a:pt x="5675395" y="114659"/>
                    <a:pt x="5719429" y="110099"/>
                  </a:cubicBezTo>
                  <a:cubicBezTo>
                    <a:pt x="5778247" y="104215"/>
                    <a:pt x="5838715" y="102042"/>
                    <a:pt x="5897895" y="96368"/>
                  </a:cubicBezTo>
                  <a:cubicBezTo>
                    <a:pt x="5987399" y="87895"/>
                    <a:pt x="6077855" y="82333"/>
                    <a:pt x="6169957" y="94411"/>
                  </a:cubicBezTo>
                  <a:cubicBezTo>
                    <a:pt x="6212360" y="99875"/>
                    <a:pt x="6252010" y="101763"/>
                    <a:pt x="6294827" y="99236"/>
                  </a:cubicBezTo>
                  <a:cubicBezTo>
                    <a:pt x="6364965" y="95091"/>
                    <a:pt x="6436581" y="97891"/>
                    <a:pt x="6494261" y="71724"/>
                  </a:cubicBezTo>
                  <a:cubicBezTo>
                    <a:pt x="6514615" y="62488"/>
                    <a:pt x="6550354" y="61691"/>
                    <a:pt x="6579627" y="57883"/>
                  </a:cubicBezTo>
                  <a:cubicBezTo>
                    <a:pt x="6613354" y="53353"/>
                    <a:pt x="6637770" y="57878"/>
                    <a:pt x="6654800" y="77086"/>
                  </a:cubicBezTo>
                  <a:cubicBezTo>
                    <a:pt x="6662444" y="85688"/>
                    <a:pt x="6685147" y="94892"/>
                    <a:pt x="6703059" y="97166"/>
                  </a:cubicBezTo>
                  <a:cubicBezTo>
                    <a:pt x="6756799" y="103989"/>
                    <a:pt x="6806654" y="100687"/>
                    <a:pt x="6859445" y="90481"/>
                  </a:cubicBezTo>
                  <a:cubicBezTo>
                    <a:pt x="6908894" y="80861"/>
                    <a:pt x="6969747" y="85387"/>
                    <a:pt x="7025414" y="83536"/>
                  </a:cubicBezTo>
                  <a:cubicBezTo>
                    <a:pt x="7064862" y="82168"/>
                    <a:pt x="7104501" y="77186"/>
                    <a:pt x="7144137" y="79264"/>
                  </a:cubicBezTo>
                  <a:cubicBezTo>
                    <a:pt x="7193316" y="81841"/>
                    <a:pt x="7241809" y="90488"/>
                    <a:pt x="7291235" y="95367"/>
                  </a:cubicBezTo>
                  <a:cubicBezTo>
                    <a:pt x="7329668" y="99288"/>
                    <a:pt x="7368978" y="100585"/>
                    <a:pt x="7407395" y="104888"/>
                  </a:cubicBezTo>
                  <a:cubicBezTo>
                    <a:pt x="7438868" y="108256"/>
                    <a:pt x="7469832" y="114265"/>
                    <a:pt x="7500837" y="119515"/>
                  </a:cubicBezTo>
                  <a:cubicBezTo>
                    <a:pt x="7512146" y="121444"/>
                    <a:pt x="7523255" y="127178"/>
                    <a:pt x="7533567" y="126955"/>
                  </a:cubicBezTo>
                  <a:cubicBezTo>
                    <a:pt x="7636025" y="124121"/>
                    <a:pt x="7707510" y="164497"/>
                    <a:pt x="7792910" y="185188"/>
                  </a:cubicBezTo>
                  <a:cubicBezTo>
                    <a:pt x="7882663" y="207063"/>
                    <a:pt x="7969001" y="237914"/>
                    <a:pt x="8070699" y="235423"/>
                  </a:cubicBezTo>
                  <a:cubicBezTo>
                    <a:pt x="8132239" y="233879"/>
                    <a:pt x="8191903" y="225939"/>
                    <a:pt x="8253177" y="222473"/>
                  </a:cubicBezTo>
                  <a:cubicBezTo>
                    <a:pt x="8274949" y="221324"/>
                    <a:pt x="8299150" y="222976"/>
                    <a:pt x="8320683" y="226393"/>
                  </a:cubicBezTo>
                  <a:cubicBezTo>
                    <a:pt x="8424731" y="242340"/>
                    <a:pt x="8527777" y="249266"/>
                    <a:pt x="8631438" y="237528"/>
                  </a:cubicBezTo>
                  <a:cubicBezTo>
                    <a:pt x="8649201" y="235596"/>
                    <a:pt x="8668058" y="233915"/>
                    <a:pt x="8686410" y="234877"/>
                  </a:cubicBezTo>
                  <a:cubicBezTo>
                    <a:pt x="8786966" y="240146"/>
                    <a:pt x="8885480" y="249315"/>
                    <a:pt x="8980658" y="273001"/>
                  </a:cubicBezTo>
                  <a:cubicBezTo>
                    <a:pt x="9012626" y="280972"/>
                    <a:pt x="9052108" y="279035"/>
                    <a:pt x="9087625" y="282423"/>
                  </a:cubicBezTo>
                  <a:cubicBezTo>
                    <a:pt x="9120583" y="285484"/>
                    <a:pt x="9154319" y="287825"/>
                    <a:pt x="9186017" y="293875"/>
                  </a:cubicBezTo>
                  <a:cubicBezTo>
                    <a:pt x="9232288" y="302785"/>
                    <a:pt x="9275554" y="305815"/>
                    <a:pt x="9323931" y="302628"/>
                  </a:cubicBezTo>
                  <a:cubicBezTo>
                    <a:pt x="9370084" y="299705"/>
                    <a:pt x="9419491" y="304964"/>
                    <a:pt x="9467213" y="307275"/>
                  </a:cubicBezTo>
                  <a:cubicBezTo>
                    <a:pt x="9520438" y="309874"/>
                    <a:pt x="9573661" y="312473"/>
                    <a:pt x="9626826" y="316213"/>
                  </a:cubicBezTo>
                  <a:cubicBezTo>
                    <a:pt x="9648094" y="317708"/>
                    <a:pt x="9671915" y="326588"/>
                    <a:pt x="9689696" y="324467"/>
                  </a:cubicBezTo>
                  <a:cubicBezTo>
                    <a:pt x="9747117" y="317175"/>
                    <a:pt x="9803355" y="332523"/>
                    <a:pt x="9860526" y="329986"/>
                  </a:cubicBezTo>
                  <a:cubicBezTo>
                    <a:pt x="9888572" y="328594"/>
                    <a:pt x="9919723" y="338048"/>
                    <a:pt x="9949775" y="340386"/>
                  </a:cubicBezTo>
                  <a:cubicBezTo>
                    <a:pt x="9998886" y="344296"/>
                    <a:pt x="10048092" y="346302"/>
                    <a:pt x="10097252" y="349262"/>
                  </a:cubicBezTo>
                  <a:cubicBezTo>
                    <a:pt x="10113390" y="350297"/>
                    <a:pt x="10129133" y="351886"/>
                    <a:pt x="10145261" y="353113"/>
                  </a:cubicBezTo>
                  <a:cubicBezTo>
                    <a:pt x="10159555" y="354243"/>
                    <a:pt x="10174512" y="356743"/>
                    <a:pt x="10188159" y="356124"/>
                  </a:cubicBezTo>
                  <a:cubicBezTo>
                    <a:pt x="10237589" y="353944"/>
                    <a:pt x="10286441" y="348682"/>
                    <a:pt x="10336144" y="348235"/>
                  </a:cubicBezTo>
                  <a:cubicBezTo>
                    <a:pt x="10379222" y="347822"/>
                    <a:pt x="10423443" y="353764"/>
                    <a:pt x="10466847" y="354131"/>
                  </a:cubicBezTo>
                  <a:cubicBezTo>
                    <a:pt x="10543353" y="354898"/>
                    <a:pt x="10619988" y="353190"/>
                    <a:pt x="10696514" y="353575"/>
                  </a:cubicBezTo>
                  <a:cubicBezTo>
                    <a:pt x="10713071" y="353680"/>
                    <a:pt x="10730069" y="359342"/>
                    <a:pt x="10746932" y="360606"/>
                  </a:cubicBezTo>
                  <a:cubicBezTo>
                    <a:pt x="10799731" y="364326"/>
                    <a:pt x="10852569" y="367289"/>
                    <a:pt x="10905388" y="370627"/>
                  </a:cubicBezTo>
                  <a:cubicBezTo>
                    <a:pt x="10935470" y="372396"/>
                    <a:pt x="10965963" y="373421"/>
                    <a:pt x="10995602" y="376691"/>
                  </a:cubicBezTo>
                  <a:cubicBezTo>
                    <a:pt x="11034750" y="381032"/>
                    <a:pt x="11070168" y="386324"/>
                    <a:pt x="11107647" y="373405"/>
                  </a:cubicBezTo>
                  <a:cubicBezTo>
                    <a:pt x="11165372" y="353347"/>
                    <a:pt x="11236837" y="366060"/>
                    <a:pt x="11302440" y="364156"/>
                  </a:cubicBezTo>
                  <a:cubicBezTo>
                    <a:pt x="11319394" y="363708"/>
                    <a:pt x="11336655" y="364422"/>
                    <a:pt x="11353613" y="363785"/>
                  </a:cubicBezTo>
                  <a:cubicBezTo>
                    <a:pt x="11384961" y="362566"/>
                    <a:pt x="11415955" y="360947"/>
                    <a:pt x="11447323" y="359346"/>
                  </a:cubicBezTo>
                  <a:cubicBezTo>
                    <a:pt x="11452855" y="359066"/>
                    <a:pt x="11459104" y="359200"/>
                    <a:pt x="11464292" y="358519"/>
                  </a:cubicBezTo>
                  <a:cubicBezTo>
                    <a:pt x="11512058" y="353010"/>
                    <a:pt x="11559143" y="346321"/>
                    <a:pt x="11607560" y="342370"/>
                  </a:cubicBezTo>
                  <a:cubicBezTo>
                    <a:pt x="11631218" y="340368"/>
                    <a:pt x="11657295" y="341352"/>
                    <a:pt x="11681426" y="344335"/>
                  </a:cubicBezTo>
                  <a:cubicBezTo>
                    <a:pt x="11751997" y="352993"/>
                    <a:pt x="11821986" y="358760"/>
                    <a:pt x="11893565" y="355261"/>
                  </a:cubicBezTo>
                  <a:cubicBezTo>
                    <a:pt x="11921973" y="353889"/>
                    <a:pt x="11953288" y="360300"/>
                    <a:pt x="11983290" y="363588"/>
                  </a:cubicBezTo>
                  <a:lnTo>
                    <a:pt x="12192000" y="388018"/>
                  </a:lnTo>
                  <a:lnTo>
                    <a:pt x="12192000" y="577115"/>
                  </a:lnTo>
                  <a:lnTo>
                    <a:pt x="12157329" y="588862"/>
                  </a:lnTo>
                  <a:cubicBezTo>
                    <a:pt x="12118393" y="608572"/>
                    <a:pt x="12109715" y="605637"/>
                    <a:pt x="12066948" y="586034"/>
                  </a:cubicBezTo>
                  <a:cubicBezTo>
                    <a:pt x="12016991" y="563193"/>
                    <a:pt x="11965119" y="541779"/>
                    <a:pt x="11911344" y="521599"/>
                  </a:cubicBezTo>
                  <a:cubicBezTo>
                    <a:pt x="11894383" y="515178"/>
                    <a:pt x="11869417" y="514060"/>
                    <a:pt x="11847823" y="511785"/>
                  </a:cubicBezTo>
                  <a:cubicBezTo>
                    <a:pt x="11811233" y="507768"/>
                    <a:pt x="11773630" y="501982"/>
                    <a:pt x="11737547" y="502380"/>
                  </a:cubicBezTo>
                  <a:cubicBezTo>
                    <a:pt x="11702930" y="502855"/>
                    <a:pt x="11668388" y="508866"/>
                    <a:pt x="11636052" y="514993"/>
                  </a:cubicBezTo>
                  <a:cubicBezTo>
                    <a:pt x="11545722" y="532199"/>
                    <a:pt x="11462455" y="555118"/>
                    <a:pt x="11394706" y="590867"/>
                  </a:cubicBezTo>
                  <a:cubicBezTo>
                    <a:pt x="11385999" y="595562"/>
                    <a:pt x="11369016" y="596581"/>
                    <a:pt x="11354978" y="597561"/>
                  </a:cubicBezTo>
                  <a:cubicBezTo>
                    <a:pt x="11332076" y="599224"/>
                    <a:pt x="11308448" y="600655"/>
                    <a:pt x="11285306" y="599825"/>
                  </a:cubicBezTo>
                  <a:cubicBezTo>
                    <a:pt x="11172906" y="595841"/>
                    <a:pt x="11083430" y="617861"/>
                    <a:pt x="11008528" y="656670"/>
                  </a:cubicBezTo>
                  <a:cubicBezTo>
                    <a:pt x="10986971" y="667750"/>
                    <a:pt x="10970753" y="668236"/>
                    <a:pt x="10948735" y="652964"/>
                  </a:cubicBezTo>
                  <a:cubicBezTo>
                    <a:pt x="10923173" y="635218"/>
                    <a:pt x="10885031" y="639705"/>
                    <a:pt x="10850698" y="641721"/>
                  </a:cubicBezTo>
                  <a:cubicBezTo>
                    <a:pt x="10815269" y="643680"/>
                    <a:pt x="10779458" y="645811"/>
                    <a:pt x="10744026" y="647769"/>
                  </a:cubicBezTo>
                  <a:cubicBezTo>
                    <a:pt x="10717832" y="649066"/>
                    <a:pt x="10692021" y="650003"/>
                    <a:pt x="10666160" y="651891"/>
                  </a:cubicBezTo>
                  <a:cubicBezTo>
                    <a:pt x="10585627" y="657783"/>
                    <a:pt x="10513854" y="650969"/>
                    <a:pt x="10450521" y="616552"/>
                  </a:cubicBezTo>
                  <a:cubicBezTo>
                    <a:pt x="10402221" y="590175"/>
                    <a:pt x="10339099" y="579806"/>
                    <a:pt x="10271192" y="583498"/>
                  </a:cubicBezTo>
                  <a:cubicBezTo>
                    <a:pt x="10262701" y="584006"/>
                    <a:pt x="10251859" y="587254"/>
                    <a:pt x="10246067" y="585423"/>
                  </a:cubicBezTo>
                  <a:cubicBezTo>
                    <a:pt x="10158786" y="558528"/>
                    <a:pt x="10086634" y="594049"/>
                    <a:pt x="10005027" y="592252"/>
                  </a:cubicBezTo>
                  <a:cubicBezTo>
                    <a:pt x="9969004" y="591507"/>
                    <a:pt x="9931565" y="603664"/>
                    <a:pt x="9898681" y="613195"/>
                  </a:cubicBezTo>
                  <a:cubicBezTo>
                    <a:pt x="9853463" y="626281"/>
                    <a:pt x="9813049" y="639042"/>
                    <a:pt x="9753225" y="629038"/>
                  </a:cubicBezTo>
                  <a:cubicBezTo>
                    <a:pt x="9693404" y="618845"/>
                    <a:pt x="9637675" y="628898"/>
                    <a:pt x="9591376" y="648601"/>
                  </a:cubicBezTo>
                  <a:cubicBezTo>
                    <a:pt x="9556001" y="663537"/>
                    <a:pt x="9518120" y="663077"/>
                    <a:pt x="9472860" y="655936"/>
                  </a:cubicBezTo>
                  <a:cubicBezTo>
                    <a:pt x="9416283" y="647056"/>
                    <a:pt x="9357217" y="643578"/>
                    <a:pt x="9299788" y="636945"/>
                  </a:cubicBezTo>
                  <a:cubicBezTo>
                    <a:pt x="9287347" y="635531"/>
                    <a:pt x="9271710" y="632039"/>
                    <a:pt x="9264605" y="627087"/>
                  </a:cubicBezTo>
                  <a:cubicBezTo>
                    <a:pt x="9177661" y="565680"/>
                    <a:pt x="9051076" y="558473"/>
                    <a:pt x="8926435" y="549269"/>
                  </a:cubicBezTo>
                  <a:cubicBezTo>
                    <a:pt x="8850925" y="543595"/>
                    <a:pt x="8774954" y="539613"/>
                    <a:pt x="8698934" y="536583"/>
                  </a:cubicBezTo>
                  <a:cubicBezTo>
                    <a:pt x="8673232" y="535428"/>
                    <a:pt x="8645916" y="537050"/>
                    <a:pt x="8622862" y="541563"/>
                  </a:cubicBezTo>
                  <a:cubicBezTo>
                    <a:pt x="8574890" y="551069"/>
                    <a:pt x="8530403" y="564380"/>
                    <a:pt x="8482784" y="574094"/>
                  </a:cubicBezTo>
                  <a:cubicBezTo>
                    <a:pt x="8464923" y="577929"/>
                    <a:pt x="8442157" y="576927"/>
                    <a:pt x="8421565" y="576610"/>
                  </a:cubicBezTo>
                  <a:cubicBezTo>
                    <a:pt x="8385152" y="576229"/>
                    <a:pt x="8345023" y="569546"/>
                    <a:pt x="8313469" y="574762"/>
                  </a:cubicBezTo>
                  <a:cubicBezTo>
                    <a:pt x="8231431" y="588203"/>
                    <a:pt x="8155671" y="580227"/>
                    <a:pt x="8079520" y="558685"/>
                  </a:cubicBezTo>
                  <a:cubicBezTo>
                    <a:pt x="7972906" y="528487"/>
                    <a:pt x="7870782" y="525043"/>
                    <a:pt x="7773327" y="558854"/>
                  </a:cubicBezTo>
                  <a:cubicBezTo>
                    <a:pt x="7729470" y="574107"/>
                    <a:pt x="7688069" y="563543"/>
                    <a:pt x="7652477" y="547561"/>
                  </a:cubicBezTo>
                  <a:cubicBezTo>
                    <a:pt x="7611494" y="529005"/>
                    <a:pt x="7570974" y="522685"/>
                    <a:pt x="7522274" y="532150"/>
                  </a:cubicBezTo>
                  <a:cubicBezTo>
                    <a:pt x="7511488" y="534257"/>
                    <a:pt x="7496511" y="532136"/>
                    <a:pt x="7484080" y="530532"/>
                  </a:cubicBezTo>
                  <a:cubicBezTo>
                    <a:pt x="7413133" y="522044"/>
                    <a:pt x="7341987" y="510303"/>
                    <a:pt x="7282277" y="540177"/>
                  </a:cubicBezTo>
                  <a:cubicBezTo>
                    <a:pt x="7270558" y="546051"/>
                    <a:pt x="7251336" y="547713"/>
                    <a:pt x="7235690" y="551282"/>
                  </a:cubicBezTo>
                  <a:cubicBezTo>
                    <a:pt x="7170161" y="565782"/>
                    <a:pt x="7172820" y="564203"/>
                    <a:pt x="7116339" y="539494"/>
                  </a:cubicBezTo>
                  <a:cubicBezTo>
                    <a:pt x="7086841" y="526502"/>
                    <a:pt x="7045980" y="512724"/>
                    <a:pt x="7011067" y="511848"/>
                  </a:cubicBezTo>
                  <a:cubicBezTo>
                    <a:pt x="6800473" y="506533"/>
                    <a:pt x="6601893" y="468653"/>
                    <a:pt x="6403234" y="432296"/>
                  </a:cubicBezTo>
                  <a:cubicBezTo>
                    <a:pt x="6280760" y="409851"/>
                    <a:pt x="6160432" y="402592"/>
                    <a:pt x="6036273" y="412301"/>
                  </a:cubicBezTo>
                  <a:cubicBezTo>
                    <a:pt x="5946471" y="419425"/>
                    <a:pt x="5863077" y="395593"/>
                    <a:pt x="5780467" y="377910"/>
                  </a:cubicBezTo>
                  <a:cubicBezTo>
                    <a:pt x="5763357" y="374343"/>
                    <a:pt x="5747757" y="363033"/>
                    <a:pt x="5739051" y="353609"/>
                  </a:cubicBezTo>
                  <a:cubicBezTo>
                    <a:pt x="5707675" y="320294"/>
                    <a:pt x="5653252" y="312483"/>
                    <a:pt x="5583566" y="321995"/>
                  </a:cubicBezTo>
                  <a:cubicBezTo>
                    <a:pt x="5528347" y="329404"/>
                    <a:pt x="5477716" y="340486"/>
                    <a:pt x="5432030" y="362512"/>
                  </a:cubicBezTo>
                  <a:cubicBezTo>
                    <a:pt x="5378421" y="388318"/>
                    <a:pt x="5322767" y="418026"/>
                    <a:pt x="5241398" y="425781"/>
                  </a:cubicBezTo>
                  <a:cubicBezTo>
                    <a:pt x="5206262" y="429089"/>
                    <a:pt x="5176131" y="428273"/>
                    <a:pt x="5139710" y="421022"/>
                  </a:cubicBezTo>
                  <a:cubicBezTo>
                    <a:pt x="5069048" y="407018"/>
                    <a:pt x="4997864" y="396037"/>
                    <a:pt x="4929402" y="424310"/>
                  </a:cubicBezTo>
                  <a:cubicBezTo>
                    <a:pt x="4891785" y="439890"/>
                    <a:pt x="4841650" y="448519"/>
                    <a:pt x="4782793" y="441046"/>
                  </a:cubicBezTo>
                  <a:cubicBezTo>
                    <a:pt x="4709316" y="431663"/>
                    <a:pt x="4641426" y="442031"/>
                    <a:pt x="4577594" y="459290"/>
                  </a:cubicBezTo>
                  <a:cubicBezTo>
                    <a:pt x="4554816" y="465538"/>
                    <a:pt x="4527069" y="468279"/>
                    <a:pt x="4500826" y="470529"/>
                  </a:cubicBezTo>
                  <a:cubicBezTo>
                    <a:pt x="4440199" y="475746"/>
                    <a:pt x="4379252" y="479993"/>
                    <a:pt x="4317973" y="483649"/>
                  </a:cubicBezTo>
                  <a:cubicBezTo>
                    <a:pt x="4267762" y="486741"/>
                    <a:pt x="4217264" y="488292"/>
                    <a:pt x="4166722" y="490602"/>
                  </a:cubicBezTo>
                  <a:cubicBezTo>
                    <a:pt x="4111394" y="493045"/>
                    <a:pt x="4067073" y="503124"/>
                    <a:pt x="4042814" y="530660"/>
                  </a:cubicBezTo>
                  <a:cubicBezTo>
                    <a:pt x="4034996" y="539407"/>
                    <a:pt x="4017001" y="545715"/>
                    <a:pt x="4002653" y="552594"/>
                  </a:cubicBezTo>
                  <a:cubicBezTo>
                    <a:pt x="3992459" y="557592"/>
                    <a:pt x="3979023" y="561086"/>
                    <a:pt x="3969549" y="566312"/>
                  </a:cubicBezTo>
                  <a:cubicBezTo>
                    <a:pt x="3919896" y="593854"/>
                    <a:pt x="3870968" y="621622"/>
                    <a:pt x="3821685" y="649183"/>
                  </a:cubicBezTo>
                  <a:cubicBezTo>
                    <a:pt x="3816761" y="651788"/>
                    <a:pt x="3811445" y="654943"/>
                    <a:pt x="3805138" y="655947"/>
                  </a:cubicBezTo>
                  <a:cubicBezTo>
                    <a:pt x="3739817" y="666451"/>
                    <a:pt x="3673801" y="676154"/>
                    <a:pt x="3609177" y="687459"/>
                  </a:cubicBezTo>
                  <a:cubicBezTo>
                    <a:pt x="3584288" y="691878"/>
                    <a:pt x="3558597" y="697589"/>
                    <a:pt x="3539727" y="706521"/>
                  </a:cubicBezTo>
                  <a:cubicBezTo>
                    <a:pt x="3496714" y="726780"/>
                    <a:pt x="3457268" y="749132"/>
                    <a:pt x="3396572" y="755681"/>
                  </a:cubicBezTo>
                  <a:cubicBezTo>
                    <a:pt x="3378807" y="757611"/>
                    <a:pt x="3357809" y="758036"/>
                    <a:pt x="3341054" y="754679"/>
                  </a:cubicBezTo>
                  <a:cubicBezTo>
                    <a:pt x="3272962" y="740809"/>
                    <a:pt x="3206471" y="724541"/>
                    <a:pt x="3138775" y="710120"/>
                  </a:cubicBezTo>
                  <a:cubicBezTo>
                    <a:pt x="3095820" y="701191"/>
                    <a:pt x="3056969" y="691141"/>
                    <a:pt x="3037283" y="666453"/>
                  </a:cubicBezTo>
                  <a:cubicBezTo>
                    <a:pt x="3031764" y="659487"/>
                    <a:pt x="3015626" y="651391"/>
                    <a:pt x="3002117" y="649347"/>
                  </a:cubicBezTo>
                  <a:cubicBezTo>
                    <a:pt x="2915220" y="636209"/>
                    <a:pt x="2829194" y="627503"/>
                    <a:pt x="2747294" y="652400"/>
                  </a:cubicBezTo>
                  <a:cubicBezTo>
                    <a:pt x="2730084" y="657794"/>
                    <a:pt x="2698519" y="656140"/>
                    <a:pt x="2676273" y="652304"/>
                  </a:cubicBezTo>
                  <a:cubicBezTo>
                    <a:pt x="2590546" y="637890"/>
                    <a:pt x="2508883" y="630176"/>
                    <a:pt x="2432360" y="657836"/>
                  </a:cubicBezTo>
                  <a:cubicBezTo>
                    <a:pt x="2423352" y="661179"/>
                    <a:pt x="2395274" y="656272"/>
                    <a:pt x="2382311" y="650824"/>
                  </a:cubicBezTo>
                  <a:cubicBezTo>
                    <a:pt x="2257393" y="597728"/>
                    <a:pt x="2187724" y="592930"/>
                    <a:pt x="2055134" y="630053"/>
                  </a:cubicBezTo>
                  <a:cubicBezTo>
                    <a:pt x="2046542" y="632464"/>
                    <a:pt x="2035364" y="635121"/>
                    <a:pt x="2031829" y="639324"/>
                  </a:cubicBezTo>
                  <a:cubicBezTo>
                    <a:pt x="2007977" y="666120"/>
                    <a:pt x="1960229" y="664380"/>
                    <a:pt x="1912764" y="664183"/>
                  </a:cubicBezTo>
                  <a:cubicBezTo>
                    <a:pt x="1860521" y="663924"/>
                    <a:pt x="1808236" y="664426"/>
                    <a:pt x="1755637" y="663960"/>
                  </a:cubicBezTo>
                  <a:cubicBezTo>
                    <a:pt x="1746439" y="663859"/>
                    <a:pt x="1736243" y="661799"/>
                    <a:pt x="1727159" y="659605"/>
                  </a:cubicBezTo>
                  <a:cubicBezTo>
                    <a:pt x="1692256" y="651480"/>
                    <a:pt x="1658604" y="640559"/>
                    <a:pt x="1622470" y="634850"/>
                  </a:cubicBezTo>
                  <a:cubicBezTo>
                    <a:pt x="1544362" y="622552"/>
                    <a:pt x="1469248" y="602210"/>
                    <a:pt x="1385955" y="604522"/>
                  </a:cubicBezTo>
                  <a:cubicBezTo>
                    <a:pt x="1371585" y="604913"/>
                    <a:pt x="1355357" y="598530"/>
                    <a:pt x="1340055" y="595629"/>
                  </a:cubicBezTo>
                  <a:cubicBezTo>
                    <a:pt x="1312351" y="590552"/>
                    <a:pt x="1285460" y="583993"/>
                    <a:pt x="1257271" y="581180"/>
                  </a:cubicBezTo>
                  <a:cubicBezTo>
                    <a:pt x="1182583" y="573830"/>
                    <a:pt x="1107142" y="566824"/>
                    <a:pt x="1031914" y="562692"/>
                  </a:cubicBezTo>
                  <a:cubicBezTo>
                    <a:pt x="995593" y="560597"/>
                    <a:pt x="958880" y="565923"/>
                    <a:pt x="922031" y="566853"/>
                  </a:cubicBezTo>
                  <a:cubicBezTo>
                    <a:pt x="905446" y="567320"/>
                    <a:pt x="878533" y="568199"/>
                    <a:pt x="873250" y="563724"/>
                  </a:cubicBezTo>
                  <a:cubicBezTo>
                    <a:pt x="832343" y="529722"/>
                    <a:pt x="772202" y="532674"/>
                    <a:pt x="711627" y="529880"/>
                  </a:cubicBezTo>
                  <a:cubicBezTo>
                    <a:pt x="577999" y="523641"/>
                    <a:pt x="447408" y="543696"/>
                    <a:pt x="311112" y="525106"/>
                  </a:cubicBezTo>
                  <a:cubicBezTo>
                    <a:pt x="271645" y="519795"/>
                    <a:pt x="226936" y="530235"/>
                    <a:pt x="184145" y="532188"/>
                  </a:cubicBezTo>
                  <a:cubicBezTo>
                    <a:pt x="162015" y="533128"/>
                    <a:pt x="137665" y="534333"/>
                    <a:pt x="116886" y="530572"/>
                  </a:cubicBezTo>
                  <a:cubicBezTo>
                    <a:pt x="84810" y="524693"/>
                    <a:pt x="54011" y="515448"/>
                    <a:pt x="23941" y="506433"/>
                  </a:cubicBezTo>
                  <a:lnTo>
                    <a:pt x="0" y="502149"/>
                  </a:lnTo>
                  <a:close/>
                </a:path>
              </a:pathLst>
            </a:custGeom>
            <a:blipFill>
              <a:blip r:embed="rId3">
                <a:alphaModFix amt="57000"/>
              </a:blip>
              <a:tile tx="0" ty="0" sx="100000" sy="100000" flip="none" algn="tl"/>
            </a:blip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325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36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C4AD90-2844-4E4E-A6A4-1881CCB60ED9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747838" y="3132138"/>
            <a:ext cx="10617200" cy="2995612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rmAutofit/>
          </a:bodyPr>
          <a:lstStyle/>
          <a:p>
            <a:pPr marL="0" marR="0" lvl="0" indent="0" algn="l" defTabSz="932597" rtl="0" eaLnBrk="1" fontAlgn="auto" latinLnBrk="0" hangingPunct="1">
              <a:lnSpc>
                <a:spcPct val="90000"/>
              </a:lnSpc>
              <a:spcBef>
                <a:spcPts val="102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AU" sz="8159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alpha val="80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e Myth of the Average</a:t>
            </a:r>
          </a:p>
        </p:txBody>
      </p:sp>
    </p:spTree>
    <p:extLst>
      <p:ext uri="{BB962C8B-B14F-4D97-AF65-F5344CB8AC3E}">
        <p14:creationId xmlns:p14="http://schemas.microsoft.com/office/powerpoint/2010/main" val="8943253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2436" y="-1"/>
            <a:ext cx="12431602" cy="69945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5" name="Content Placeholder 34" descr="4 people sitting in a row, all with different size and styles of shoes">
            <a:extLst>
              <a:ext uri="{FF2B5EF4-FFF2-40B4-BE49-F238E27FC236}">
                <a16:creationId xmlns:a16="http://schemas.microsoft.com/office/drawing/2014/main" id="{D2B4CEA6-380E-4D9D-B7EE-03CAC73554E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/>
          <a:srcRect l="1299" r="5794" b="-1"/>
          <a:stretch/>
        </p:blipFill>
        <p:spPr>
          <a:xfrm>
            <a:off x="902" y="1307"/>
            <a:ext cx="12434691" cy="699321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63D50FC-B380-4093-9D6A-B5839A95B8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5008" y="-1351952"/>
            <a:ext cx="10726460" cy="1351952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AU" dirty="0"/>
              <a:t>We need various sizes and styles</a:t>
            </a:r>
          </a:p>
        </p:txBody>
      </p:sp>
    </p:spTree>
    <p:extLst>
      <p:ext uri="{BB962C8B-B14F-4D97-AF65-F5344CB8AC3E}">
        <p14:creationId xmlns:p14="http://schemas.microsoft.com/office/powerpoint/2010/main" val="5621280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 44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2436" y="-1"/>
            <a:ext cx="12431602" cy="69945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325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36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3" descr="Text: Differentiation">
            <a:extLst>
              <a:ext uri="{FF2B5EF4-FFF2-40B4-BE49-F238E27FC236}">
                <a16:creationId xmlns:a16="http://schemas.microsoft.com/office/drawing/2014/main" id="{532C3692-E49D-4592-82E4-0BA0BB5337D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34" r="6070" b="-1"/>
          <a:stretch/>
        </p:blipFill>
        <p:spPr>
          <a:xfrm>
            <a:off x="902" y="1307"/>
            <a:ext cx="12434691" cy="699321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AC2D338-1966-4660-8372-5BF9E17FF6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5008" y="372394"/>
            <a:ext cx="3885434" cy="1351952"/>
          </a:xfrm>
        </p:spPr>
        <p:txBody>
          <a:bodyPr/>
          <a:lstStyle/>
          <a:p>
            <a:r>
              <a:rPr lang="en-AU" dirty="0">
                <a:solidFill>
                  <a:schemeClr val="bg1"/>
                </a:solidFill>
              </a:rPr>
              <a:t>Differentiation</a:t>
            </a:r>
          </a:p>
        </p:txBody>
      </p:sp>
    </p:spTree>
    <p:extLst>
      <p:ext uri="{BB962C8B-B14F-4D97-AF65-F5344CB8AC3E}">
        <p14:creationId xmlns:p14="http://schemas.microsoft.com/office/powerpoint/2010/main" val="5810077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PRESENTATIONINFO" val="{&quot;DocumentId&quot;:&quot;e0d8811a4e8f50a168d47262cce8006e&quot;,&quot;LanguageCode&quot;:&quot;en-US&quot;,&quot;SlideGuids&quot;:[&quot;8de735b1-aab3-4786-b74d-d93f98b4ff00&quot;,&quot;7c66c324-1963-4720-85e7-3bcfa63a8cb4&quot;,&quot;579dd098-ecbc-4587-8b8a-fa3250baf3ff&quot;,&quot;3b354497-8207-431c-9757-d3501d1df5f9&quot;,&quot;2054a66c-6ea7-4890-a9a3-648b4b68201d&quot;,&quot;8dab718f-1f0d-4117-a068-3e55ddb1e90f&quot;,&quot;040132a1-e06f-4048-8425-8650e036719d&quot;,&quot;c64e3ec1-2229-4c0e-9128-561176b76f0c&quot;,&quot;040132a1-e06f-4048-8425-8650e036719d&quot;,&quot;c64e3ec1-2229-4c0e-9128-561176b76f0c&quot;,&quot;c1e428c8-2316-4d11-8760-61f2591e98a4&quot;,&quot;c3da9108-c650-4cf1-aa5a-520b0c487571&quot;,&quot;5ac646b1-2a2a-4c84-9032-a3986a1d3aa6&quot;,&quot;088e67ca-1543-4907-87ce-7cd871cd7374&quot;,&quot;0287e5a1-cc25-40f6-8685-faebdfd6953f&quot;,&quot;f9ea09a0-db82-4c6f-a140-0b1c396d2c91&quot;,&quot;bd3ff127-da8a-4481-b5a9-fd1a3c3eedec&quot;,&quot;0e36ef0f-4fd5-4740-bd80-6fc8b2a1c94f&quot;,&quot;c39606b2-bd5b-4170-afa5-bd531b28d340&quot;,&quot;eb959559-8a0a-43a2-a063-d596be4b9218&quot;,&quot;040132a1-e06f-4048-8425-8650e036719d&quot;,&quot;c64e3ec1-2229-4c0e-9128-561176b76f0c&quot;,&quot;0f1ce2b9-1c4d-4b8c-a6e8-588234c34176&quot;,&quot;040132a1-e06f-4048-8425-8650e036719d&quot;,&quot;98924455-59d1-4ec5-be39-72c198d4fda3&quot;,&quot;1338c465-f1d9-41d9-bf70-282b8b94856c&quot;,&quot;7efc27cc-117a-4eb1-bc67-39fbbcf2c368&quot;,&quot;5459a198-1f8d-4fe7-8cd4-9c229ec13ca6&quot;,&quot;67e27458-c5c0-4b2c-8a32-c434fb693996&quot;,&quot;bd40b76d-bd66-4b00-b8e9-c14e208a008a&quot;,&quot;fb97747d-f1a3-45ec-b6ae-74bf8eb34ebe&quot;,&quot;beacdd91-b67d-4da3-881e-e61fb0698676&quot;,&quot;d3dded70-cc86-401d-bdd4-568e716b02a0&quot;,&quot;7b9fa4af-6157-490a-ab88-0225827aef95&quot;,&quot;1af564ff-bfbb-433c-bc70-bf7c7f2e5bab&quot;,&quot;1af564ff-bfbb-433c-bc70-bf7c7f2e5bab&quot;,&quot;beacdd91-b67d-4da3-881e-e61fb0698676&quot;,&quot;3c606056-b4a0-4c14-87f3-2f4ad59c8abe&quot;,&quot;b7c3a7a7-bfa5-4ad3-8904-ae7a1738444a&quot;,&quot;9d0a9245-2e9f-4443-b9ad-85f88b028011&quot;,&quot;d3f84749-f40c-4231-a93b-89cde708167e&quot;,&quot;67350254-8c31-4fd0-9d29-3039299b79fe&quot;,&quot;c4f749dc-a284-4b1b-84fb-a77cb10b4b18&quot;,&quot;a651570a-4c11-46bf-9ec7-b4c1ea10c5fe&quot;,&quot;0c19cee2-4fc9-4dfe-9060-7a79330dbb88&quot;,&quot;3a2a578c-5655-497a-aab6-4d750d81ba53&quot;,&quot;7efc27cc-117a-4eb1-bc67-39fbbcf2c368&quot;,&quot;923de63e-4955-4f16-8fb8-d84483916f26&quot;,&quot;8c681d8b-ac00-482e-b75e-8d9508d59c80&quot;,&quot;ecab23d5-4d20-49fa-bd65-ac63a66b10e0&quot;,&quot;d4a6c286-c50e-42d8-9017-f06a82bdf402&quot;,&quot;e445754b-8475-4544-823e-958aaaae5abd&quot;,&quot;315e1f8d-5503-4bc0-8d31-6e837cf8173c&quot;,&quot;5de26a86-a6cb-43d8-86ba-7b0b9e22d76f&quot;,&quot;7efc27cc-117a-4eb1-bc67-39fbbcf2c368&quot;,&quot;11cfce1a-0829-4a71-9ef9-eb66f2e0df93&quot;,&quot;86e5a9b1-30e3-4689-9268-32aa46446af3&quot;,&quot;dfe86a23-101d-4929-b508-f5534082eff3&quot;,&quot;6b4f1362-e902-4800-bdba-76abba78c2c1&quot;,&quot;4c4ac619-c0e7-457e-a5c2-97bbc7296f9e&quot;,&quot;9d3b82ac-0889-4c19-89b6-3850d035e1cd&quot;,&quot;e1b471d5-7615-43e6-b72c-327d398f9032&quot;],&quot;TimeStamp&quot;:&quot;2018-06-18T14:47:37.457618+10:00&quot;}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f9ea09a0-db82-4c6f-a140-0b1c396d2c91&quot;,&quot;TimeStamp&quot;:&quot;2018-03-02T07:56:53.9534545-08:00&quot;}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f9ea09a0-db82-4c6f-a140-0b1c396d2c91&quot;,&quot;TimeStamp&quot;:&quot;2018-03-02T07:56:53.9534545-08:00&quot;}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0f1ce2b9-1c4d-4b8c-a6e8-588234c34176&quot;,&quot;TimeStamp&quot;:&quot;2018-03-02T07:56:53.9556177-08:00&quot;}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0f1ce2b9-1c4d-4b8c-a6e8-588234c34176&quot;,&quot;TimeStamp&quot;:&quot;2018-03-02T07:56:53.9556177-08:00&quot;}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0f1ce2b9-1c4d-4b8c-a6e8-588234c34176&quot;,&quot;TimeStamp&quot;:&quot;2018-03-02T07:56:53.9556177-08:00&quot;}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0f1ce2b9-1c4d-4b8c-a6e8-588234c34176&quot;,&quot;TimeStamp&quot;:&quot;2018-03-02T07:56:53.9556177-08:00&quot;}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98924455-59d1-4ec5-be39-72c198d4fda3&quot;,&quot;TimeStamp&quot;:&quot;2018-03-02T07:56:53.9526655-08:00&quot;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98924455-59d1-4ec5-be39-72c198d4fda3&quot;,&quot;TimeStamp&quot;:&quot;2018-03-02T07:56:53.9526655-08:00&quot;}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0f1ce2b9-1c4d-4b8c-a6e8-588234c34176&quot;,&quot;TimeStamp&quot;:&quot;2018-03-02T07:56:53.9556177-08:00&quot;}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0f1ce2b9-1c4d-4b8c-a6e8-588234c34176&quot;,&quot;TimeStamp&quot;:&quot;2018-03-02T07:56:53.9556177-08:00&quot;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0f1ce2b9-1c4d-4b8c-a6e8-588234c34176&quot;,&quot;TimeStamp&quot;:&quot;2018-03-02T07:56:53.9556177-08:00&quot;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c1e428c8-2316-4d11-8760-61f2591e98a4&quot;,&quot;TimeStamp&quot;:&quot;2017-11-30T21:02:08.2201034-08:00&quot;}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62f45ba3-0474-4eab-a1a9-ccddff23f5e4&quot;,&quot;TimeStamp&quot;:&quot;2018-10-29T13:26:28.1300179+11:00&quot;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579dd098-ecbc-4587-8b8a-fa3250baf3ff&quot;,&quot;TimeStamp&quot;:&quot;2018-06-18T14:47:37.4546249+10:00&quot;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040132a1-e06f-4048-8425-8650e036719d&quot;,&quot;TimeStamp&quot;:&quot;2018-01-10T18:51:09.5216046-08:00&quot;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088e67ca-1543-4907-87ce-7cd871cd7374&quot;,&quot;TimeStamp&quot;:&quot;2018-03-02T07:56:53.951443-08:00&quot;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c39606b2-bd5b-4170-afa5-bd531b28d340&quot;,&quot;TimeStamp&quot;:&quot;2017-11-30T21:02:08.2220957-08:00&quot;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eb959559-8a0a-43a2-a063-d596be4b9218&quot;,&quot;TimeStamp&quot;:&quot;2017-11-30T21:02:08.2220957-08:00&quot;}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c1e428c8-2316-4d11-8760-61f2591e98a4&quot;,&quot;TimeStamp&quot;:&quot;2017-11-30T21:02:08.2201034-08:00&quot;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MICROSOFT_TRANSLATOR_CLM_SLIDEINFO" val="{&quot;Guid&quot;:&quot;bd3ff127-da8a-4481-b5a9-fd1a3c3eedec&quot;,&quot;TimeStamp&quot;:&quot;2017-11-30T21:02:08.2210946-08:00&quot;}"/>
</p:tagLst>
</file>

<file path=ppt/theme/theme1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COLOR TEMPLATE">
  <a:themeElements>
    <a:clrScheme name="Custom 1">
      <a:dk1>
        <a:srgbClr val="505050"/>
      </a:dk1>
      <a:lt1>
        <a:srgbClr val="FFFFFF"/>
      </a:lt1>
      <a:dk2>
        <a:srgbClr val="002050"/>
      </a:dk2>
      <a:lt2>
        <a:srgbClr val="CDF4FF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CDF4FF"/>
      </a:hlink>
      <a:folHlink>
        <a:srgbClr val="CDF4FF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rand_template_16-9_Business_DARK_BLUE_2015_1.potx" id="{2C267AC3-800A-4B70-92AD-0A45BB31B9D8}" vid="{5604394A-6938-4477-8E83-7917175FA09C}"/>
    </a:ext>
  </a:extLst>
</a:theme>
</file>

<file path=ppt/theme/theme11.xml><?xml version="1.0" encoding="utf-8"?>
<a:theme xmlns:a="http://schemas.openxmlformats.org/drawingml/2006/main" name="14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Hololens_Fonts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6_5-50109_Microsoft_Dark_Template">
  <a:themeElements>
    <a:clrScheme name="Microsoft 2017 Dark">
      <a:dk1>
        <a:srgbClr val="353535"/>
      </a:dk1>
      <a:lt1>
        <a:srgbClr val="FFFFFF"/>
      </a:lt1>
      <a:dk2>
        <a:srgbClr val="D83B01"/>
      </a:dk2>
      <a:lt2>
        <a:srgbClr val="CDF4FF"/>
      </a:lt2>
      <a:accent1>
        <a:srgbClr val="D83B01"/>
      </a:accent1>
      <a:accent2>
        <a:srgbClr val="FF8C00"/>
      </a:accent2>
      <a:accent3>
        <a:srgbClr val="FFB900"/>
      </a:accent3>
      <a:accent4>
        <a:srgbClr val="00BCF2"/>
      </a:accent4>
      <a:accent5>
        <a:srgbClr val="D2D2D2"/>
      </a:accent5>
      <a:accent6>
        <a:srgbClr val="737373"/>
      </a:accent6>
      <a:hlink>
        <a:srgbClr val="00BCF2"/>
      </a:hlink>
      <a:folHlink>
        <a:srgbClr val="00BCF2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2017_16x9_Template.potx" id="{2A99AE01-A11F-4F2C-9BCC-4E42F4CE769C}" vid="{7C638A3A-D771-4183-8214-2AFBE384714F}"/>
    </a:ext>
  </a:extLst>
</a:theme>
</file>

<file path=ppt/theme/theme13.xml><?xml version="1.0" encoding="utf-8"?>
<a:theme xmlns:a="http://schemas.openxmlformats.org/drawingml/2006/main" name="Orange">
  <a:themeElements>
    <a:clrScheme name="MICROSOFT">
      <a:dk1>
        <a:srgbClr val="505050"/>
      </a:dk1>
      <a:lt1>
        <a:srgbClr val="FFFFFF"/>
      </a:lt1>
      <a:dk2>
        <a:srgbClr val="002050"/>
      </a:dk2>
      <a:lt2>
        <a:srgbClr val="0078D6"/>
      </a:lt2>
      <a:accent1>
        <a:srgbClr val="008575"/>
      </a:accent1>
      <a:accent2>
        <a:srgbClr val="8661C5"/>
      </a:accent2>
      <a:accent3>
        <a:srgbClr val="FFB900"/>
      </a:accent3>
      <a:accent4>
        <a:srgbClr val="D83A01"/>
      </a:accent4>
      <a:accent5>
        <a:srgbClr val="107C10"/>
      </a:accent5>
      <a:accent6>
        <a:srgbClr val="B3009E"/>
      </a:accent6>
      <a:hlink>
        <a:srgbClr val="0078D6"/>
      </a:hlink>
      <a:folHlink>
        <a:srgbClr val="50505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icrosoft theme" id="{ED4EBFBB-A6C6-4E42-852A-9468EC1FEB69}" vid="{7E3A8789-5421-4F59-ABA4-3A5DCD5057FF}"/>
    </a:ext>
  </a:extLst>
</a:theme>
</file>

<file path=ppt/theme/theme14.xml><?xml version="1.0" encoding="utf-8"?>
<a:theme xmlns:a="http://schemas.openxmlformats.org/drawingml/2006/main" name="3_5-30055_Office Template 2012 - 16x9 - White Background">
  <a:themeElements>
    <a:clrScheme name="Custom 3">
      <a:dk1>
        <a:srgbClr val="333333"/>
      </a:dk1>
      <a:lt1>
        <a:sysClr val="window" lastClr="FFFFFF"/>
      </a:lt1>
      <a:dk2>
        <a:srgbClr val="323F4F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defTabSz="914099" fontAlgn="base">
          <a:spcBef>
            <a:spcPct val="0"/>
          </a:spcBef>
          <a:spcAft>
            <a:spcPct val="0"/>
          </a:spcAft>
          <a:defRPr sz="2200" dirty="0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400" spc="-70" dirty="0" smtClean="0">
            <a:solidFill>
              <a:schemeClr val="tx1">
                <a:lumMod val="60000"/>
                <a:lumOff val="40000"/>
              </a:schemeClr>
            </a:solidFill>
          </a:defRPr>
        </a:defPPr>
      </a:lstStyle>
    </a:txDef>
  </a:objectDefaults>
  <a:extraClrSchemeLst/>
</a:theme>
</file>

<file path=ppt/theme/theme15.xml><?xml version="1.0" encoding="utf-8"?>
<a:theme xmlns:a="http://schemas.openxmlformats.org/drawingml/2006/main" name="1_copy+imag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7_5-50109_Microsoft_Dark_Template">
  <a:themeElements>
    <a:clrScheme name="Microsoft 2017 Dark">
      <a:dk1>
        <a:srgbClr val="353535"/>
      </a:dk1>
      <a:lt1>
        <a:srgbClr val="FFFFFF"/>
      </a:lt1>
      <a:dk2>
        <a:srgbClr val="D83B01"/>
      </a:dk2>
      <a:lt2>
        <a:srgbClr val="CDF4FF"/>
      </a:lt2>
      <a:accent1>
        <a:srgbClr val="D83B01"/>
      </a:accent1>
      <a:accent2>
        <a:srgbClr val="FF8C00"/>
      </a:accent2>
      <a:accent3>
        <a:srgbClr val="FFB900"/>
      </a:accent3>
      <a:accent4>
        <a:srgbClr val="00BCF2"/>
      </a:accent4>
      <a:accent5>
        <a:srgbClr val="D2D2D2"/>
      </a:accent5>
      <a:accent6>
        <a:srgbClr val="737373"/>
      </a:accent6>
      <a:hlink>
        <a:srgbClr val="00BCF2"/>
      </a:hlink>
      <a:folHlink>
        <a:srgbClr val="00BCF2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2017_16x9_Template.potx" id="{2A99AE01-A11F-4F2C-9BCC-4E42F4CE769C}" vid="{7C638A3A-D771-4183-8214-2AFBE384714F}"/>
    </a:ext>
  </a:extLst>
</a:theme>
</file>

<file path=ppt/theme/theme17.xml><?xml version="1.0" encoding="utf-8"?>
<a:theme xmlns:a="http://schemas.openxmlformats.org/drawingml/2006/main" name="1_Orange">
  <a:themeElements>
    <a:clrScheme name="MICROSOFT">
      <a:dk1>
        <a:srgbClr val="505050"/>
      </a:dk1>
      <a:lt1>
        <a:srgbClr val="FFFFFF"/>
      </a:lt1>
      <a:dk2>
        <a:srgbClr val="002050"/>
      </a:dk2>
      <a:lt2>
        <a:srgbClr val="0078D6"/>
      </a:lt2>
      <a:accent1>
        <a:srgbClr val="008575"/>
      </a:accent1>
      <a:accent2>
        <a:srgbClr val="8661C5"/>
      </a:accent2>
      <a:accent3>
        <a:srgbClr val="FFB900"/>
      </a:accent3>
      <a:accent4>
        <a:srgbClr val="D83A01"/>
      </a:accent4>
      <a:accent5>
        <a:srgbClr val="107C10"/>
      </a:accent5>
      <a:accent6>
        <a:srgbClr val="B3009E"/>
      </a:accent6>
      <a:hlink>
        <a:srgbClr val="0078D6"/>
      </a:hlink>
      <a:folHlink>
        <a:srgbClr val="50505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icrosoft theme" id="{ED4EBFBB-A6C6-4E42-852A-9468EC1FEB69}" vid="{7E3A8789-5421-4F59-ABA4-3A5DCD5057FF}"/>
    </a:ext>
  </a:extLst>
</a:theme>
</file>

<file path=ppt/theme/theme18.xml><?xml version="1.0" encoding="utf-8"?>
<a:theme xmlns:a="http://schemas.openxmlformats.org/drawingml/2006/main" name="2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Hololens_Fonts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9.xml><?xml version="1.0" encoding="utf-8"?>
<a:theme xmlns:a="http://schemas.openxmlformats.org/drawingml/2006/main" name="6_MYR_2013_PPT_Template_8_5x14_final">
  <a:themeElements>
    <a:clrScheme name="MYR template">
      <a:dk1>
        <a:srgbClr val="505050"/>
      </a:dk1>
      <a:lt1>
        <a:srgbClr val="FFFFFF"/>
      </a:lt1>
      <a:dk2>
        <a:srgbClr val="0072C6"/>
      </a:dk2>
      <a:lt2>
        <a:srgbClr val="DDDDDD"/>
      </a:lt2>
      <a:accent1>
        <a:srgbClr val="4668C5"/>
      </a:accent1>
      <a:accent2>
        <a:srgbClr val="FF8C00"/>
      </a:accent2>
      <a:accent3>
        <a:srgbClr val="0072C6"/>
      </a:accent3>
      <a:accent4>
        <a:srgbClr val="7FBA00"/>
      </a:accent4>
      <a:accent5>
        <a:srgbClr val="002050"/>
      </a:accent5>
      <a:accent6>
        <a:srgbClr val="008272"/>
      </a:accent6>
      <a:hlink>
        <a:srgbClr val="0072C6"/>
      </a:hlink>
      <a:folHlink>
        <a:srgbClr val="0072C6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 w="57150">
          <a:solidFill>
            <a:schemeClr val="accent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4_Photography">
  <a:themeElements>
    <a:clrScheme name="EDU_v2_lite">
      <a:dk1>
        <a:srgbClr val="505050"/>
      </a:dk1>
      <a:lt1>
        <a:srgbClr val="FFFFFF"/>
      </a:lt1>
      <a:dk2>
        <a:srgbClr val="0068C5"/>
      </a:dk2>
      <a:lt2>
        <a:srgbClr val="FFFFFF"/>
      </a:lt2>
      <a:accent1>
        <a:srgbClr val="0068C5"/>
      </a:accent1>
      <a:accent2>
        <a:srgbClr val="7FBA00"/>
      </a:accent2>
      <a:accent3>
        <a:srgbClr val="EB3C00"/>
      </a:accent3>
      <a:accent4>
        <a:srgbClr val="00188F"/>
      </a:accent4>
      <a:accent5>
        <a:srgbClr val="FFB900"/>
      </a:accent5>
      <a:accent6>
        <a:srgbClr val="FF8C00"/>
      </a:accent6>
      <a:hlink>
        <a:srgbClr val="0000FF"/>
      </a:hlink>
      <a:folHlink>
        <a:srgbClr val="7030A0"/>
      </a:folHlink>
    </a:clrScheme>
    <a:fontScheme name="EDU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chemeClr val="bg2"/>
            </a:solidFill>
          </a:defRPr>
        </a:defPPr>
      </a:lstStyle>
    </a:txDef>
  </a:objectDefaults>
  <a:extraClrSchemeLst/>
</a:theme>
</file>

<file path=ppt/theme/theme20.xml><?xml version="1.0" encoding="utf-8"?>
<a:theme xmlns:a="http://schemas.openxmlformats.org/drawingml/2006/main" name="Black Template">
  <a:themeElements>
    <a:clrScheme name="2019 Brand BLUE Dark Bak">
      <a:dk1>
        <a:srgbClr val="000000"/>
      </a:dk1>
      <a:lt1>
        <a:srgbClr val="FFFFFF"/>
      </a:lt1>
      <a:dk2>
        <a:srgbClr val="243A5E"/>
      </a:dk2>
      <a:lt2>
        <a:srgbClr val="E6E6E6"/>
      </a:lt2>
      <a:accent1>
        <a:srgbClr val="0078D4"/>
      </a:accent1>
      <a:accent2>
        <a:srgbClr val="50E6FF"/>
      </a:accent2>
      <a:accent3>
        <a:srgbClr val="D83B01"/>
      </a:accent3>
      <a:accent4>
        <a:srgbClr val="9BF00B"/>
      </a:accent4>
      <a:accent5>
        <a:srgbClr val="FFB900"/>
      </a:accent5>
      <a:accent6>
        <a:srgbClr val="E6E6E6"/>
      </a:accent6>
      <a:hlink>
        <a:srgbClr val="50E6FF"/>
      </a:hlink>
      <a:folHlink>
        <a:srgbClr val="50E6FF"/>
      </a:folHlink>
    </a:clrScheme>
    <a:fontScheme name="Segoe UI Semibold - Segoe UI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16-9_Blue_Education_2019_01.potx  -  AutoRecovered" id="{F3E390C7-0ABB-4144-B58E-02C6CE5AF826}" vid="{A70DB8EF-7C01-4210-A679-4DFE6EC04C20}"/>
    </a:ext>
  </a:extLst>
</a:theme>
</file>

<file path=ppt/theme/theme21.xml><?xml version="1.0" encoding="utf-8"?>
<a:theme xmlns:a="http://schemas.openxmlformats.org/drawingml/2006/main" name="2_COLOR TEMPLATE">
  <a:themeElements>
    <a:clrScheme name="Custom 1">
      <a:dk1>
        <a:srgbClr val="505050"/>
      </a:dk1>
      <a:lt1>
        <a:srgbClr val="FFFFFF"/>
      </a:lt1>
      <a:dk2>
        <a:srgbClr val="002050"/>
      </a:dk2>
      <a:lt2>
        <a:srgbClr val="CDF4FF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CDF4FF"/>
      </a:hlink>
      <a:folHlink>
        <a:srgbClr val="CDF4FF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rand_template_16-9_Business_DARK_BLUE_2015_1.potx" id="{2C267AC3-800A-4B70-92AD-0A45BB31B9D8}" vid="{5604394A-6938-4477-8E83-7917175FA09C}"/>
    </a:ext>
  </a:extLst>
</a:theme>
</file>

<file path=ppt/theme/theme22.xml><?xml version="1.0" encoding="utf-8"?>
<a:theme xmlns:a="http://schemas.openxmlformats.org/drawingml/2006/main" name="2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3.xml><?xml version="1.0" encoding="utf-8"?>
<a:theme xmlns:a="http://schemas.openxmlformats.org/drawingml/2006/main" name="3_COLOR TEMPLATE">
  <a:themeElements>
    <a:clrScheme name="Custom 1">
      <a:dk1>
        <a:srgbClr val="505050"/>
      </a:dk1>
      <a:lt1>
        <a:srgbClr val="FFFFFF"/>
      </a:lt1>
      <a:dk2>
        <a:srgbClr val="002050"/>
      </a:dk2>
      <a:lt2>
        <a:srgbClr val="CDF4FF"/>
      </a:lt2>
      <a:accent1>
        <a:srgbClr val="0078D7"/>
      </a:accent1>
      <a:accent2>
        <a:srgbClr val="B4009E"/>
      </a:accent2>
      <a:accent3>
        <a:srgbClr val="107C10"/>
      </a:accent3>
      <a:accent4>
        <a:srgbClr val="5C2D91"/>
      </a:accent4>
      <a:accent5>
        <a:srgbClr val="008272"/>
      </a:accent5>
      <a:accent6>
        <a:srgbClr val="D83B01"/>
      </a:accent6>
      <a:hlink>
        <a:srgbClr val="CDF4FF"/>
      </a:hlink>
      <a:folHlink>
        <a:srgbClr val="CDF4FF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rand_template_16-9_Business_DARK_BLUE_2015_1.potx" id="{2C267AC3-800A-4B70-92AD-0A45BB31B9D8}" vid="{5604394A-6938-4477-8E83-7917175FA09C}"/>
    </a:ext>
  </a:extLst>
</a:theme>
</file>

<file path=ppt/theme/theme24.xml><?xml version="1.0" encoding="utf-8"?>
<a:theme xmlns:a="http://schemas.openxmlformats.org/drawingml/2006/main" name="24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Hololens_Fonts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2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7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2_Office Theme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3_5-50091_TR24_BO_CT_Template">
  <a:themeElements>
    <a:clrScheme name="TR24">
      <a:dk1>
        <a:srgbClr val="353535"/>
      </a:dk1>
      <a:lt1>
        <a:srgbClr val="FFFFFF"/>
      </a:lt1>
      <a:dk2>
        <a:srgbClr val="0078D7"/>
      </a:dk2>
      <a:lt2>
        <a:srgbClr val="E6E6E6"/>
      </a:lt2>
      <a:accent1>
        <a:srgbClr val="0078D7"/>
      </a:accent1>
      <a:accent2>
        <a:srgbClr val="00188F"/>
      </a:accent2>
      <a:accent3>
        <a:srgbClr val="002050"/>
      </a:accent3>
      <a:accent4>
        <a:srgbClr val="D83B01"/>
      </a:accent4>
      <a:accent5>
        <a:srgbClr val="737373"/>
      </a:accent5>
      <a:accent6>
        <a:srgbClr val="505050"/>
      </a:accent6>
      <a:hlink>
        <a:srgbClr val="00188F"/>
      </a:hlink>
      <a:folHlink>
        <a:srgbClr val="00188F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R24_BO_CT_Template.potx" id="{ACE1F860-A7C5-4F6A-9659-FD362B4E8CFA}" vid="{D991A258-702D-4C0C-9E71-E30025EE76B0}"/>
    </a:ext>
  </a:extLst>
</a:theme>
</file>

<file path=ppt/theme/theme7.xml><?xml version="1.0" encoding="utf-8"?>
<a:theme xmlns:a="http://schemas.openxmlformats.org/drawingml/2006/main" name="9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5_5-50109_Microsoft_Dark_Template">
  <a:themeElements>
    <a:clrScheme name="Microsoft 2017 Dark">
      <a:dk1>
        <a:srgbClr val="353535"/>
      </a:dk1>
      <a:lt1>
        <a:srgbClr val="FFFFFF"/>
      </a:lt1>
      <a:dk2>
        <a:srgbClr val="D83B01"/>
      </a:dk2>
      <a:lt2>
        <a:srgbClr val="CDF4FF"/>
      </a:lt2>
      <a:accent1>
        <a:srgbClr val="D83B01"/>
      </a:accent1>
      <a:accent2>
        <a:srgbClr val="FF8C00"/>
      </a:accent2>
      <a:accent3>
        <a:srgbClr val="FFB900"/>
      </a:accent3>
      <a:accent4>
        <a:srgbClr val="00BCF2"/>
      </a:accent4>
      <a:accent5>
        <a:srgbClr val="D2D2D2"/>
      </a:accent5>
      <a:accent6>
        <a:srgbClr val="737373"/>
      </a:accent6>
      <a:hlink>
        <a:srgbClr val="00BCF2"/>
      </a:hlink>
      <a:folHlink>
        <a:srgbClr val="00BCF2"/>
      </a:folHlink>
    </a:clrScheme>
    <a:fontScheme name="Segoe UI Light - Segoe UI Semilight">
      <a:majorFont>
        <a:latin typeface="Segoe UI Light"/>
        <a:ea typeface=""/>
        <a:cs typeface=""/>
      </a:majorFont>
      <a:minorFont>
        <a:latin typeface="Segoe UI Semilight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defTabSz="932472" fontAlgn="base">
          <a:lnSpc>
            <a:spcPct val="90000"/>
          </a:lnSpc>
          <a:spcBef>
            <a:spcPct val="0"/>
          </a:spcBef>
          <a:spcAft>
            <a:spcPct val="0"/>
          </a:spcAft>
          <a:defRPr sz="2400" dirty="0" err="1" smtClean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2017_16x9_Template.potx" id="{2A99AE01-A11F-4F2C-9BCC-4E42F4CE769C}" vid="{7C638A3A-D771-4183-8214-2AFBE384714F}"/>
    </a:ext>
  </a:extLst>
</a:theme>
</file>

<file path=ppt/theme/theme9.xml><?xml version="1.0" encoding="utf-8"?>
<a:theme xmlns:a="http://schemas.openxmlformats.org/drawingml/2006/main" name="copy+imag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Microsoft 2017 Dark">
    <a:dk1>
      <a:srgbClr val="353535"/>
    </a:dk1>
    <a:lt1>
      <a:srgbClr val="FFFFFF"/>
    </a:lt1>
    <a:dk2>
      <a:srgbClr val="D83B01"/>
    </a:dk2>
    <a:lt2>
      <a:srgbClr val="CDF4FF"/>
    </a:lt2>
    <a:accent1>
      <a:srgbClr val="D83B01"/>
    </a:accent1>
    <a:accent2>
      <a:srgbClr val="FF8C00"/>
    </a:accent2>
    <a:accent3>
      <a:srgbClr val="FFB900"/>
    </a:accent3>
    <a:accent4>
      <a:srgbClr val="00BCF2"/>
    </a:accent4>
    <a:accent5>
      <a:srgbClr val="D2D2D2"/>
    </a:accent5>
    <a:accent6>
      <a:srgbClr val="737373"/>
    </a:accent6>
    <a:hlink>
      <a:srgbClr val="00BCF2"/>
    </a:hlink>
    <a:folHlink>
      <a:srgbClr val="00BCF2"/>
    </a:folHlink>
  </a:clrScheme>
</a:themeOverride>
</file>

<file path=ppt/theme/themeOverride2.xml><?xml version="1.0" encoding="utf-8"?>
<a:themeOverride xmlns:a="http://schemas.openxmlformats.org/drawingml/2006/main">
  <a:clrScheme name="Microsoft 2017 Dark">
    <a:dk1>
      <a:srgbClr val="353535"/>
    </a:dk1>
    <a:lt1>
      <a:srgbClr val="FFFFFF"/>
    </a:lt1>
    <a:dk2>
      <a:srgbClr val="D83B01"/>
    </a:dk2>
    <a:lt2>
      <a:srgbClr val="CDF4FF"/>
    </a:lt2>
    <a:accent1>
      <a:srgbClr val="D83B01"/>
    </a:accent1>
    <a:accent2>
      <a:srgbClr val="FF8C00"/>
    </a:accent2>
    <a:accent3>
      <a:srgbClr val="FFB900"/>
    </a:accent3>
    <a:accent4>
      <a:srgbClr val="00BCF2"/>
    </a:accent4>
    <a:accent5>
      <a:srgbClr val="D2D2D2"/>
    </a:accent5>
    <a:accent6>
      <a:srgbClr val="737373"/>
    </a:accent6>
    <a:hlink>
      <a:srgbClr val="00BCF2"/>
    </a:hlink>
    <a:folHlink>
      <a:srgbClr val="00BCF2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F4E6D8D4556CD4FA245D940FCC8879F" ma:contentTypeVersion="36" ma:contentTypeDescription="Create a new document." ma:contentTypeScope="" ma:versionID="c117033314a34a5bf53d994822e2312c">
  <xsd:schema xmlns:xsd="http://www.w3.org/2001/XMLSchema" xmlns:xs="http://www.w3.org/2001/XMLSchema" xmlns:p="http://schemas.microsoft.com/office/2006/metadata/properties" xmlns:ns1="http://schemas.microsoft.com/sharepoint/v3" xmlns:ns3="8fdee2eb-28d1-4bc7-8cdf-42ac75901b14" xmlns:ns4="52f409fe-d408-48f9-9d01-f8c3dc2839c8" targetNamespace="http://schemas.microsoft.com/office/2006/metadata/properties" ma:root="true" ma:fieldsID="f0ea967276420b4986f2523dc4b60304" ns1:_="" ns3:_="" ns4:_="">
    <xsd:import namespace="http://schemas.microsoft.com/sharepoint/v3"/>
    <xsd:import namespace="8fdee2eb-28d1-4bc7-8cdf-42ac75901b14"/>
    <xsd:import namespace="52f409fe-d408-48f9-9d01-f8c3dc2839c8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4:SharedWithUsers" minOccurs="0"/>
                <xsd:element ref="ns4:SharedWithDetails" minOccurs="0"/>
                <xsd:element ref="ns4:SharingHintHash" minOccurs="0"/>
                <xsd:element ref="ns4:LastSharedByUser" minOccurs="0"/>
                <xsd:element ref="ns4:LastSharedByTime" minOccurs="0"/>
                <xsd:element ref="ns3:_STS_x0020_Hashtags" minOccurs="0"/>
                <xsd:element ref="ns4:_STS_x0020_AppliedHashtags" minOccurs="0"/>
                <xsd:element ref="ns3:MediaServiceAutoTags" minOccurs="0"/>
                <xsd:element ref="ns3:MediaServiceLocation" minOccurs="0"/>
                <xsd:element ref="ns3:MediaServiceOCR" minOccurs="0"/>
                <xsd:element ref="ns1:_ip_UnifiedCompliancePolicyProperties" minOccurs="0"/>
                <xsd:element ref="ns1:_ip_UnifiedCompliancePolicyUIAction" minOccurs="0"/>
                <xsd:element ref="ns3:NotebookType" minOccurs="0"/>
                <xsd:element ref="ns3:FolderType" minOccurs="0"/>
                <xsd:element ref="ns3:CultureName" minOccurs="0"/>
                <xsd:element ref="ns3:AppVersion" minOccurs="0"/>
                <xsd:element ref="ns3:TeamsChannelId" minOccurs="0"/>
                <xsd:element ref="ns3:Owner" minOccurs="0"/>
                <xsd:element ref="ns3:DefaultSectionNames" minOccurs="0"/>
                <xsd:element ref="ns3:Templates" minOccurs="0"/>
                <xsd:element ref="ns3:Teachers" minOccurs="0"/>
                <xsd:element ref="ns3:Students" minOccurs="0"/>
                <xsd:element ref="ns3:Student_Groups" minOccurs="0"/>
                <xsd:element ref="ns3:Invited_Teachers" minOccurs="0"/>
                <xsd:element ref="ns3:Invited_Students" minOccurs="0"/>
                <xsd:element ref="ns3:Self_Registration_Enabled" minOccurs="0"/>
                <xsd:element ref="ns3:Has_Teacher_Only_SectionGroup" minOccurs="0"/>
                <xsd:element ref="ns3:Is_Collaboration_Space_Locked" minOccurs="0"/>
                <xsd:element ref="ns3:IsNotebookLocked" minOccurs="0"/>
                <xsd:element ref="ns3:MediaServiceEventHashCode" minOccurs="0"/>
                <xsd:element ref="ns3:MediaServiceGenerationTim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1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2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fdee2eb-28d1-4bc7-8cdf-42ac75901b1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_STS_x0020_Hashtags" ma:index="16" nillable="true" ma:displayName="Hashtags" ma:description="" ma:list="{5cd01479-5ec2-471c-9b63-925aba5f2345}" ma:internalName="_STS_x0020_Hashtags" ma:readOnly="false" ma:showField="Titl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MediaServiceAutoTags" ma:index="18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9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20" nillable="true" ma:displayName="MediaServiceOCR" ma:description="" ma:internalName="MediaServiceOCR" ma:readOnly="true">
      <xsd:simpleType>
        <xsd:restriction base="dms:Note">
          <xsd:maxLength value="255"/>
        </xsd:restriction>
      </xsd:simpleType>
    </xsd:element>
    <xsd:element name="NotebookType" ma:index="23" nillable="true" ma:displayName="Notebook Type" ma:internalName="NotebookType">
      <xsd:simpleType>
        <xsd:restriction base="dms:Text"/>
      </xsd:simpleType>
    </xsd:element>
    <xsd:element name="FolderType" ma:index="24" nillable="true" ma:displayName="Folder Type" ma:internalName="FolderType">
      <xsd:simpleType>
        <xsd:restriction base="dms:Text"/>
      </xsd:simpleType>
    </xsd:element>
    <xsd:element name="CultureName" ma:index="25" nillable="true" ma:displayName="Culture Name" ma:internalName="CultureName">
      <xsd:simpleType>
        <xsd:restriction base="dms:Text"/>
      </xsd:simpleType>
    </xsd:element>
    <xsd:element name="AppVersion" ma:index="26" nillable="true" ma:displayName="App Version" ma:internalName="AppVersion">
      <xsd:simpleType>
        <xsd:restriction base="dms:Text"/>
      </xsd:simpleType>
    </xsd:element>
    <xsd:element name="TeamsChannelId" ma:index="27" nillable="true" ma:displayName="Teams Channel Id" ma:internalName="TeamsChannelId">
      <xsd:simpleType>
        <xsd:restriction base="dms:Text"/>
      </xsd:simpleType>
    </xsd:element>
    <xsd:element name="Owner" ma:index="28" nillable="true" ma:displayName="Owner" ma:internalName="Owner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DefaultSectionNames" ma:index="29" nillable="true" ma:displayName="Default Section Names" ma:internalName="DefaultSectionNames">
      <xsd:simpleType>
        <xsd:restriction base="dms:Note">
          <xsd:maxLength value="255"/>
        </xsd:restriction>
      </xsd:simpleType>
    </xsd:element>
    <xsd:element name="Templates" ma:index="30" nillable="true" ma:displayName="Templates" ma:internalName="Templates">
      <xsd:simpleType>
        <xsd:restriction base="dms:Note">
          <xsd:maxLength value="255"/>
        </xsd:restriction>
      </xsd:simpleType>
    </xsd:element>
    <xsd:element name="Teachers" ma:index="31" nillable="true" ma:displayName="Teachers" ma:internalName="Teachers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tudents" ma:index="32" nillable="true" ma:displayName="Students" ma:internalName="Students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tudent_Groups" ma:index="33" nillable="true" ma:displayName="Student Groups" ma:internalName="Student_Groups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Invited_Teachers" ma:index="34" nillable="true" ma:displayName="Invited Teachers" ma:internalName="Invited_Teachers">
      <xsd:simpleType>
        <xsd:restriction base="dms:Note">
          <xsd:maxLength value="255"/>
        </xsd:restriction>
      </xsd:simpleType>
    </xsd:element>
    <xsd:element name="Invited_Students" ma:index="35" nillable="true" ma:displayName="Invited Students" ma:internalName="Invited_Students">
      <xsd:simpleType>
        <xsd:restriction base="dms:Note">
          <xsd:maxLength value="255"/>
        </xsd:restriction>
      </xsd:simpleType>
    </xsd:element>
    <xsd:element name="Self_Registration_Enabled" ma:index="36" nillable="true" ma:displayName="Self Registration Enabled" ma:internalName="Self_Registration_Enabled">
      <xsd:simpleType>
        <xsd:restriction base="dms:Boolean"/>
      </xsd:simpleType>
    </xsd:element>
    <xsd:element name="Has_Teacher_Only_SectionGroup" ma:index="37" nillable="true" ma:displayName="Has Teacher Only SectionGroup" ma:internalName="Has_Teacher_Only_SectionGroup">
      <xsd:simpleType>
        <xsd:restriction base="dms:Boolean"/>
      </xsd:simpleType>
    </xsd:element>
    <xsd:element name="Is_Collaboration_Space_Locked" ma:index="38" nillable="true" ma:displayName="Is Collaboration Space Locked" ma:internalName="Is_Collaboration_Space_Locked">
      <xsd:simpleType>
        <xsd:restriction base="dms:Boolean"/>
      </xsd:simpleType>
    </xsd:element>
    <xsd:element name="IsNotebookLocked" ma:index="39" nillable="true" ma:displayName="Is Notebook Locked" ma:internalName="IsNotebookLocked">
      <xsd:simpleType>
        <xsd:restriction base="dms:Boolean"/>
      </xsd:simpleType>
    </xsd:element>
    <xsd:element name="MediaServiceEventHashCode" ma:index="4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4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4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43" nillable="true" ma:displayName="KeyPoints" ma:internalName="MediaServiceKeyPoints" ma:readOnly="fals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2f409fe-d408-48f9-9d01-f8c3dc2839c8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3" nillable="true" ma:displayName="Sharing Hint Hash" ma:description="" ma:hidden="true" ma:internalName="SharingHintHash" ma:readOnly="true">
      <xsd:simpleType>
        <xsd:restriction base="dms:Text"/>
      </xsd:simpleType>
    </xsd:element>
    <xsd:element name="LastSharedByUser" ma:index="14" nillable="true" ma:displayName="Last Shared By User" ma:description="" ma:hidden="true" ma:internalName="LastSharedByUser" ma:readOnly="true">
      <xsd:simpleType>
        <xsd:restriction base="dms:Note"/>
      </xsd:simpleType>
    </xsd:element>
    <xsd:element name="LastSharedByTime" ma:index="15" nillable="true" ma:displayName="Last Shared By Time" ma:description="" ma:hidden="true" ma:internalName="LastSharedByTime" ma:readOnly="true">
      <xsd:simpleType>
        <xsd:restriction base="dms:DateTime"/>
      </xsd:simpleType>
    </xsd:element>
    <xsd:element name="_STS_x0020_AppliedHashtags" ma:index="17" nillable="true" ma:displayName="Applied Hashtags" ma:description="" ma:internalName="_STS_x0020_AppliedHashtags" ma:readOnly="true" ma:showField="Titl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Teachers xmlns="8fdee2eb-28d1-4bc7-8cdf-42ac75901b14">
      <UserInfo>
        <DisplayName/>
        <AccountId xsi:nil="true"/>
        <AccountType/>
      </UserInfo>
    </Teachers>
    <Is_Collaboration_Space_Locked xmlns="8fdee2eb-28d1-4bc7-8cdf-42ac75901b14" xsi:nil="true"/>
    <NotebookType xmlns="8fdee2eb-28d1-4bc7-8cdf-42ac75901b14" xsi:nil="true"/>
    <IsNotebookLocked xmlns="8fdee2eb-28d1-4bc7-8cdf-42ac75901b14" xsi:nil="true"/>
    <FolderType xmlns="8fdee2eb-28d1-4bc7-8cdf-42ac75901b14" xsi:nil="true"/>
    <Owner xmlns="8fdee2eb-28d1-4bc7-8cdf-42ac75901b14">
      <UserInfo>
        <DisplayName/>
        <AccountId xsi:nil="true"/>
        <AccountType/>
      </UserInfo>
    </Owner>
    <Students xmlns="8fdee2eb-28d1-4bc7-8cdf-42ac75901b14">
      <UserInfo>
        <DisplayName/>
        <AccountId xsi:nil="true"/>
        <AccountType/>
      </UserInfo>
    </Students>
    <_ip_UnifiedCompliancePolicyProperties xmlns="http://schemas.microsoft.com/sharepoint/v3" xsi:nil="true"/>
    <TeamsChannelId xmlns="8fdee2eb-28d1-4bc7-8cdf-42ac75901b14" xsi:nil="true"/>
    <_STS_x0020_Hashtags xmlns="8fdee2eb-28d1-4bc7-8cdf-42ac75901b14"/>
    <Student_Groups xmlns="8fdee2eb-28d1-4bc7-8cdf-42ac75901b14">
      <UserInfo>
        <DisplayName/>
        <AccountId xsi:nil="true"/>
        <AccountType/>
      </UserInfo>
    </Student_Groups>
    <Invited_Teachers xmlns="8fdee2eb-28d1-4bc7-8cdf-42ac75901b14" xsi:nil="true"/>
    <MediaServiceKeyPoints xmlns="8fdee2eb-28d1-4bc7-8cdf-42ac75901b14" xsi:nil="true"/>
    <Templates xmlns="8fdee2eb-28d1-4bc7-8cdf-42ac75901b14" xsi:nil="true"/>
    <Self_Registration_Enabled xmlns="8fdee2eb-28d1-4bc7-8cdf-42ac75901b14" xsi:nil="true"/>
    <Has_Teacher_Only_SectionGroup xmlns="8fdee2eb-28d1-4bc7-8cdf-42ac75901b14" xsi:nil="true"/>
    <CultureName xmlns="8fdee2eb-28d1-4bc7-8cdf-42ac75901b14" xsi:nil="true"/>
    <AppVersion xmlns="8fdee2eb-28d1-4bc7-8cdf-42ac75901b14" xsi:nil="true"/>
    <Invited_Students xmlns="8fdee2eb-28d1-4bc7-8cdf-42ac75901b14" xsi:nil="true"/>
    <DefaultSectionNames xmlns="8fdee2eb-28d1-4bc7-8cdf-42ac75901b14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2DEA9ED-9263-47E7-8423-F130847422E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8fdee2eb-28d1-4bc7-8cdf-42ac75901b14"/>
    <ds:schemaRef ds:uri="52f409fe-d408-48f9-9d01-f8c3dc2839c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990F116-B58F-4255-B05B-DA3808E0E5C6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8fdee2eb-28d1-4bc7-8cdf-42ac75901b14"/>
    <ds:schemaRef ds:uri="http://schemas.microsoft.com/sharepoint/v3"/>
    <ds:schemaRef ds:uri="http://purl.org/dc/terms/"/>
    <ds:schemaRef ds:uri="http://schemas.openxmlformats.org/package/2006/metadata/core-properties"/>
    <ds:schemaRef ds:uri="http://purl.org/dc/dcmitype/"/>
    <ds:schemaRef ds:uri="52f409fe-d408-48f9-9d01-f8c3dc2839c8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758FDAC0-319D-4A54-8D8E-1D42CB1F8004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72f988bf-86f1-41af-91ab-2d7cd011db47}" enabled="0" method="" siteId="{72f988bf-86f1-41af-91ab-2d7cd011db47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965</Words>
  <Application>Microsoft Office PowerPoint</Application>
  <PresentationFormat>Custom</PresentationFormat>
  <Paragraphs>166</Paragraphs>
  <Slides>42</Slides>
  <Notes>36</Notes>
  <HiddenSlides>0</HiddenSlides>
  <MMClips>1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2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2</vt:i4>
      </vt:variant>
    </vt:vector>
  </HeadingPairs>
  <TitlesOfParts>
    <vt:vector size="84" baseType="lpstr">
      <vt:lpstr>ＭＳ Ｐゴシック</vt:lpstr>
      <vt:lpstr>Arial</vt:lpstr>
      <vt:lpstr>Avenir LT Pro 45 Book</vt:lpstr>
      <vt:lpstr>Calibri</vt:lpstr>
      <vt:lpstr>Calibri Light</vt:lpstr>
      <vt:lpstr>Consolas</vt:lpstr>
      <vt:lpstr>Lucida Grande</vt:lpstr>
      <vt:lpstr>PingFangSC-Regular</vt:lpstr>
      <vt:lpstr>Rockwell</vt:lpstr>
      <vt:lpstr>Segoe</vt:lpstr>
      <vt:lpstr>Segoe Light</vt:lpstr>
      <vt:lpstr>Segoe UI</vt:lpstr>
      <vt:lpstr>Segoe UI Light</vt:lpstr>
      <vt:lpstr>Segoe UI Semibold</vt:lpstr>
      <vt:lpstr>Segoe UI Semilight</vt:lpstr>
      <vt:lpstr>Wingdings</vt:lpstr>
      <vt:lpstr>5_Office Theme</vt:lpstr>
      <vt:lpstr>4_Photography</vt:lpstr>
      <vt:lpstr>7_Office Theme</vt:lpstr>
      <vt:lpstr>1_Office Theme</vt:lpstr>
      <vt:lpstr>12_Office Theme</vt:lpstr>
      <vt:lpstr>3_5-50091_TR24_BO_CT_Template</vt:lpstr>
      <vt:lpstr>9_Office Theme</vt:lpstr>
      <vt:lpstr>5_5-50109_Microsoft_Dark_Template</vt:lpstr>
      <vt:lpstr>copy+image</vt:lpstr>
      <vt:lpstr>COLOR TEMPLATE</vt:lpstr>
      <vt:lpstr>14_Office Theme</vt:lpstr>
      <vt:lpstr>6_5-50109_Microsoft_Dark_Template</vt:lpstr>
      <vt:lpstr>Orange</vt:lpstr>
      <vt:lpstr>3_5-30055_Office Template 2012 - 16x9 - White Background</vt:lpstr>
      <vt:lpstr>1_copy+image</vt:lpstr>
      <vt:lpstr>7_5-50109_Microsoft_Dark_Template</vt:lpstr>
      <vt:lpstr>1_Orange</vt:lpstr>
      <vt:lpstr>21_Office Theme</vt:lpstr>
      <vt:lpstr>6_MYR_2013_PPT_Template_8_5x14_final</vt:lpstr>
      <vt:lpstr>Black Template</vt:lpstr>
      <vt:lpstr>2_COLOR TEMPLATE</vt:lpstr>
      <vt:lpstr>22_Office Theme</vt:lpstr>
      <vt:lpstr>3_COLOR TEMPLATE</vt:lpstr>
      <vt:lpstr>24_Office Theme</vt:lpstr>
      <vt:lpstr>Office Theme</vt:lpstr>
      <vt:lpstr>think-cell Slide</vt:lpstr>
      <vt:lpstr>Inclusive Technology Design to Support Students with Print Disabilities </vt:lpstr>
      <vt:lpstr>"Our mission is to empower every person and every organisation on the planet to achieve more."  </vt:lpstr>
      <vt:lpstr>Building a foundation for success  </vt:lpstr>
      <vt:lpstr>Promoting independent learning</vt:lpstr>
      <vt:lpstr>Average Shoe size</vt:lpstr>
      <vt:lpstr>Missing what most people need</vt:lpstr>
      <vt:lpstr>The Myth of the Average</vt:lpstr>
      <vt:lpstr>We need various sizes and styles</vt:lpstr>
      <vt:lpstr>Differentiation</vt:lpstr>
      <vt:lpstr>Who has time to differentiate</vt:lpstr>
      <vt:lpstr>Personalisation</vt:lpstr>
      <vt:lpstr>Make your PC easier to use - Windows 10 Ease of Access</vt:lpstr>
      <vt:lpstr>Demo</vt:lpstr>
      <vt:lpstr>The Inclusive Classroom   Reading Support</vt:lpstr>
      <vt:lpstr>Word online</vt:lpstr>
      <vt:lpstr>Listening posts and independent reading stations</vt:lpstr>
      <vt:lpstr>Empowering</vt:lpstr>
      <vt:lpstr>High interest, low ability</vt:lpstr>
      <vt:lpstr>Study by the British Dyslexia Association and Knowl Hill </vt:lpstr>
      <vt:lpstr>Learning Tools 3rd party research study – RTI</vt:lpstr>
      <vt:lpstr>Immersive Reader is available in  Office 365, Office Online &amp; Teams</vt:lpstr>
      <vt:lpstr>OneNote</vt:lpstr>
      <vt:lpstr>OneNote for iPad &amp; OneNote for Mac</vt:lpstr>
      <vt:lpstr>Edge Browser</vt:lpstr>
      <vt:lpstr>Forms</vt:lpstr>
      <vt:lpstr>Outlook</vt:lpstr>
      <vt:lpstr>Minecraft</vt:lpstr>
      <vt:lpstr>Minecraft: Education Edition</vt:lpstr>
      <vt:lpstr>Immersive Reader in Minecraft</vt:lpstr>
      <vt:lpstr>Minecraft: Education Edition</vt:lpstr>
      <vt:lpstr>PowerPoint</vt:lpstr>
      <vt:lpstr>Microsoft Teams</vt:lpstr>
      <vt:lpstr>Everything in teams</vt:lpstr>
      <vt:lpstr>In 2018, Microsoft was the first company to sign the Made By Dyslexia pledge.</vt:lpstr>
      <vt:lpstr>Microsoft and Code Read Dyslexia Network</vt:lpstr>
      <vt:lpstr>https://education.microsoft.com/en-us/resource/9b010288</vt:lpstr>
      <vt:lpstr>aka.ms/AccessibilitySupport </vt:lpstr>
      <vt:lpstr>CodeJumper.com </vt:lpstr>
      <vt:lpstr>Get the videos: aka.ms/TroyYT</vt:lpstr>
      <vt:lpstr> education.microsoft.com  </vt:lpstr>
      <vt:lpstr>aka.ms/MECAccessibility</vt:lpstr>
      <vt:lpstr>Stay connected…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lease read this carefully</dc:title>
  <dc:creator>Troy Waller</dc:creator>
  <cp:lastModifiedBy>Marjorie Hawkings</cp:lastModifiedBy>
  <cp:revision>3</cp:revision>
  <dcterms:created xsi:type="dcterms:W3CDTF">2020-09-08T04:27:37Z</dcterms:created>
  <dcterms:modified xsi:type="dcterms:W3CDTF">2021-05-07T09:27:36Z</dcterms:modified>
</cp:coreProperties>
</file>